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4"/>
  </p:notesMasterIdLst>
  <p:sldIdLst>
    <p:sldId id="2147482321" r:id="rId5"/>
    <p:sldId id="464" r:id="rId6"/>
    <p:sldId id="465" r:id="rId7"/>
    <p:sldId id="2147483390" r:id="rId8"/>
    <p:sldId id="2147483156" r:id="rId9"/>
    <p:sldId id="470" r:id="rId10"/>
    <p:sldId id="514" r:id="rId11"/>
    <p:sldId id="473" r:id="rId12"/>
    <p:sldId id="509" r:id="rId13"/>
    <p:sldId id="2147483381" r:id="rId14"/>
    <p:sldId id="2147483154" r:id="rId15"/>
    <p:sldId id="479" r:id="rId16"/>
    <p:sldId id="2147483319" r:id="rId17"/>
    <p:sldId id="482" r:id="rId18"/>
    <p:sldId id="2147483393" r:id="rId19"/>
    <p:sldId id="2147482354" r:id="rId20"/>
    <p:sldId id="487" r:id="rId21"/>
    <p:sldId id="2147483398" r:id="rId22"/>
    <p:sldId id="2147482326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08"/>
    <a:srgbClr val="BCE0EA"/>
    <a:srgbClr val="C2E3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37819B-B87C-4E40-9330-CB2C7C84DA82}" v="1174" dt="2025-01-22T08:32:14.294"/>
  </p1510:revLst>
</p1510:revInfo>
</file>

<file path=ppt/tableStyles.xml><?xml version="1.0" encoding="utf-8"?>
<a:tblStyleLst xmlns:a="http://schemas.openxmlformats.org/drawingml/2006/main" def="{5C22544A-7EE6-4342-B048-85BDC9FD1C3A}">
  <a:tblStyle styleId="{FABFCF23-3B69-468F-B69F-88F6DE6A72F2}" styleName="Medium Style 1 –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–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301B821-A1FF-4177-AEE7-76D212191A09}" styleName="Medium Style 1 –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75" autoAdjust="0"/>
    <p:restoredTop sz="94690"/>
  </p:normalViewPr>
  <p:slideViewPr>
    <p:cSldViewPr snapToGrid="0">
      <p:cViewPr varScale="1">
        <p:scale>
          <a:sx n="56" d="100"/>
          <a:sy n="56" d="100"/>
        </p:scale>
        <p:origin x="84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ravikumar_garchar\AppData\Local\Microsoft\Windows\INetCache\Content.Outlook\AN4IK7N6\Reserves-Conti%20Reso%20table%20REC%202024_updated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Country Wise</a:t>
            </a:r>
          </a:p>
        </c:rich>
      </c:tx>
      <c:layout>
        <c:manualLayout>
          <c:xMode val="edge"/>
          <c:yMode val="edge"/>
          <c:x val="0.36160890205243873"/>
          <c:y val="0.926522764589524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02F-467F-A726-53F10C7034C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02F-467F-A726-53F10C7034C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802F-467F-A726-53F10C7034C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802F-467F-A726-53F10C7034C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802F-467F-A726-53F10C7034C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802F-467F-A726-53F10C7034C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802F-467F-A726-53F10C7034C8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F-802F-467F-A726-53F10C7034C8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1-802F-467F-A726-53F10C7034C8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3-802F-467F-A726-53F10C7034C8}"/>
              </c:ext>
            </c:extLst>
          </c:dPt>
          <c:dLbls>
            <c:dLbl>
              <c:idx val="0"/>
              <c:layout>
                <c:manualLayout>
                  <c:x val="0"/>
                  <c:y val="-0.1085984071521030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02F-467F-A726-53F10C7034C8}"/>
                </c:ext>
              </c:extLst>
            </c:dLbl>
            <c:dLbl>
              <c:idx val="1"/>
              <c:layout>
                <c:manualLayout>
                  <c:x val="0"/>
                  <c:y val="9.049867262675247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02F-467F-A726-53F10C7034C8}"/>
                </c:ext>
              </c:extLst>
            </c:dLbl>
            <c:dLbl>
              <c:idx val="2"/>
              <c:layout>
                <c:manualLayout>
                  <c:x val="-0.15195530726256984"/>
                  <c:y val="0.1017083702685211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02F-467F-A726-53F10C7034C8}"/>
                </c:ext>
              </c:extLst>
            </c:dLbl>
            <c:dLbl>
              <c:idx val="3"/>
              <c:layout>
                <c:manualLayout>
                  <c:x val="-0.24283054003724394"/>
                  <c:y val="6.992450455960826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02F-467F-A726-53F10C7034C8}"/>
                </c:ext>
              </c:extLst>
            </c:dLbl>
            <c:dLbl>
              <c:idx val="4"/>
              <c:layout>
                <c:manualLayout>
                  <c:x val="-0.24581005586592181"/>
                  <c:y val="3.17838657089128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02F-467F-A726-53F10C7034C8}"/>
                </c:ext>
              </c:extLst>
            </c:dLbl>
            <c:dLbl>
              <c:idx val="5"/>
              <c:layout>
                <c:manualLayout>
                  <c:x val="-0.25769964836793163"/>
                  <c:y val="-5.036892460854870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02F-467F-A726-53F10C7034C8}"/>
                </c:ext>
              </c:extLst>
            </c:dLbl>
            <c:dLbl>
              <c:idx val="6"/>
              <c:layout>
                <c:manualLayout>
                  <c:x val="-0.20111731843575423"/>
                  <c:y val="-8.899482398495597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02F-467F-A726-53F10C7034C8}"/>
                </c:ext>
              </c:extLst>
            </c:dLbl>
            <c:dLbl>
              <c:idx val="7"/>
              <c:layout>
                <c:manualLayout>
                  <c:x val="0"/>
                  <c:y val="-9.193750657976149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02F-467F-A726-53F10C7034C8}"/>
                </c:ext>
              </c:extLst>
            </c:dLbl>
            <c:dLbl>
              <c:idx val="8"/>
              <c:layout>
                <c:manualLayout>
                  <c:x val="0.15917537597614562"/>
                  <c:y val="-6.30276936627057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02F-467F-A726-53F10C7034C8}"/>
                </c:ext>
              </c:extLst>
            </c:dLbl>
            <c:dLbl>
              <c:idx val="9"/>
              <c:layout>
                <c:manualLayout>
                  <c:x val="0.28036437800571651"/>
                  <c:y val="-1.13123340783440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802F-467F-A726-53F10C7034C8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Reserves &amp; Conti Resource 2023'!$G$39:$G$48</c:f>
              <c:strCache>
                <c:ptCount val="10"/>
                <c:pt idx="0">
                  <c:v>Russia</c:v>
                </c:pt>
                <c:pt idx="1">
                  <c:v>Mozambique</c:v>
                </c:pt>
                <c:pt idx="2">
                  <c:v>Venezuela</c:v>
                </c:pt>
                <c:pt idx="3">
                  <c:v>UAE</c:v>
                </c:pt>
                <c:pt idx="4">
                  <c:v>South Sudan</c:v>
                </c:pt>
                <c:pt idx="5">
                  <c:v>Myanmar</c:v>
                </c:pt>
                <c:pt idx="6">
                  <c:v>Azerbaijan</c:v>
                </c:pt>
                <c:pt idx="7">
                  <c:v>Colombia</c:v>
                </c:pt>
                <c:pt idx="8">
                  <c:v>Brazil</c:v>
                </c:pt>
                <c:pt idx="9">
                  <c:v>Vietnam</c:v>
                </c:pt>
              </c:strCache>
            </c:strRef>
          </c:cat>
          <c:val>
            <c:numRef>
              <c:f>'Reserves &amp; Conti Resource 2023'!$H$39:$H$48</c:f>
              <c:numCache>
                <c:formatCode>0.00</c:formatCode>
                <c:ptCount val="10"/>
                <c:pt idx="0">
                  <c:v>214.93721965800006</c:v>
                </c:pt>
                <c:pt idx="1">
                  <c:v>200.70791448393032</c:v>
                </c:pt>
                <c:pt idx="2">
                  <c:v>16.91501797930615</c:v>
                </c:pt>
                <c:pt idx="3">
                  <c:v>16.130223761154859</c:v>
                </c:pt>
                <c:pt idx="4">
                  <c:v>8.3022602889070605</c:v>
                </c:pt>
                <c:pt idx="5">
                  <c:v>7.1276259994299931</c:v>
                </c:pt>
                <c:pt idx="6">
                  <c:v>6.2361376402962261</c:v>
                </c:pt>
                <c:pt idx="7">
                  <c:v>3.8248965430031756</c:v>
                </c:pt>
                <c:pt idx="8">
                  <c:v>1.2685556100894342</c:v>
                </c:pt>
                <c:pt idx="9">
                  <c:v>0.87899762826610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802F-467F-A726-53F10C7034C8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ysClr val="windowText" lastClr="000000"/>
      </a:solidFill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IN">
                <a:solidFill>
                  <a:schemeClr val="tx1"/>
                </a:solidFill>
              </a:rPr>
              <a:t>Project Wise</a:t>
            </a:r>
          </a:p>
        </c:rich>
      </c:tx>
      <c:layout>
        <c:manualLayout>
          <c:xMode val="edge"/>
          <c:yMode val="edge"/>
          <c:x val="0.39581551033859247"/>
          <c:y val="0.930925682658372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1DB-4323-9F63-812F250F0E9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1DB-4323-9F63-812F250F0E9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1DB-4323-9F63-812F250F0E9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F1DB-4323-9F63-812F250F0E9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F1DB-4323-9F63-812F250F0E9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F1DB-4323-9F63-812F250F0E9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F1DB-4323-9F63-812F250F0E9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F-F1DB-4323-9F63-812F250F0E9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1-F1DB-4323-9F63-812F250F0E9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3-F1DB-4323-9F63-812F250F0E9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5-F1DB-4323-9F63-812F250F0E90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7-F1DB-4323-9F63-812F250F0E90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9-F1DB-4323-9F63-812F250F0E90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B-F1DB-4323-9F63-812F250F0E90}"/>
              </c:ext>
            </c:extLst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D-F1DB-4323-9F63-812F250F0E90}"/>
              </c:ext>
            </c:extLst>
          </c:dPt>
          <c:dLbls>
            <c:dLbl>
              <c:idx val="0"/>
              <c:layout>
                <c:manualLayout>
                  <c:x val="-5.6570805249948904E-2"/>
                  <c:y val="0.411433948019313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1DB-4323-9F63-812F250F0E90}"/>
                </c:ext>
              </c:extLst>
            </c:dLbl>
            <c:dLbl>
              <c:idx val="1"/>
              <c:layout>
                <c:manualLayout>
                  <c:x val="-0.18026007836649829"/>
                  <c:y val="5.798246651905188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DB-4323-9F63-812F250F0E90}"/>
                </c:ext>
              </c:extLst>
            </c:dLbl>
            <c:dLbl>
              <c:idx val="2"/>
              <c:layout>
                <c:manualLayout>
                  <c:x val="0"/>
                  <c:y val="0.2057169740096569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DB-4323-9F63-812F250F0E90}"/>
                </c:ext>
              </c:extLst>
            </c:dLbl>
            <c:dLbl>
              <c:idx val="3"/>
              <c:layout>
                <c:manualLayout>
                  <c:x val="-1.1844950427733834E-2"/>
                  <c:y val="4.82862504168763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873981421407441"/>
                      <c:h val="5.037829809171271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F1DB-4323-9F63-812F250F0E90}"/>
                </c:ext>
              </c:extLst>
            </c:dLbl>
            <c:dLbl>
              <c:idx val="4"/>
              <c:layout>
                <c:manualLayout>
                  <c:x val="-8.4207408239909562E-2"/>
                  <c:y val="0.1094164638371955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1DB-4323-9F63-812F250F0E90}"/>
                </c:ext>
              </c:extLst>
            </c:dLbl>
            <c:dLbl>
              <c:idx val="5"/>
              <c:layout>
                <c:manualLayout>
                  <c:x val="-0.17086878760473745"/>
                  <c:y val="9.859557722736454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1DB-4323-9F63-812F250F0E90}"/>
                </c:ext>
              </c:extLst>
            </c:dLbl>
            <c:dLbl>
              <c:idx val="6"/>
              <c:layout>
                <c:manualLayout>
                  <c:x val="-0.2247961985935969"/>
                  <c:y val="4.815132841336407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1DB-4323-9F63-812F250F0E90}"/>
                </c:ext>
              </c:extLst>
            </c:dLbl>
            <c:dLbl>
              <c:idx val="7"/>
              <c:layout>
                <c:manualLayout>
                  <c:x val="-0.20403464626534568"/>
                  <c:y val="4.4837174928241703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1DB-4323-9F63-812F250F0E90}"/>
                </c:ext>
              </c:extLst>
            </c:dLbl>
            <c:dLbl>
              <c:idx val="8"/>
              <c:layout>
                <c:manualLayout>
                  <c:x val="-0.27253566785004607"/>
                  <c:y val="-3.327807238139339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1DB-4323-9F63-812F250F0E90}"/>
                </c:ext>
              </c:extLst>
            </c:dLbl>
            <c:dLbl>
              <c:idx val="9"/>
              <c:layout>
                <c:manualLayout>
                  <c:x val="-0.24985553200627794"/>
                  <c:y val="-7.790236296333857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1DB-4323-9F63-812F250F0E90}"/>
                </c:ext>
              </c:extLst>
            </c:dLbl>
            <c:dLbl>
              <c:idx val="10"/>
              <c:layout>
                <c:manualLayout>
                  <c:x val="-6.2908590072930329E-2"/>
                  <c:y val="-7.819535209457884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F1DB-4323-9F63-812F250F0E90}"/>
                </c:ext>
              </c:extLst>
            </c:dLbl>
            <c:dLbl>
              <c:idx val="11"/>
              <c:layout>
                <c:manualLayout>
                  <c:x val="0.12699366722623107"/>
                  <c:y val="-7.694611170119446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F1DB-4323-9F63-812F250F0E90}"/>
                </c:ext>
              </c:extLst>
            </c:dLbl>
            <c:dLbl>
              <c:idx val="12"/>
              <c:layout>
                <c:manualLayout>
                  <c:x val="0.33268685318901475"/>
                  <c:y val="-7.108053241972792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F1DB-4323-9F63-812F250F0E90}"/>
                </c:ext>
              </c:extLst>
            </c:dLbl>
            <c:dLbl>
              <c:idx val="13"/>
              <c:layout>
                <c:manualLayout>
                  <c:x val="0.40853256065179516"/>
                  <c:y val="-1.834336320509107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F1DB-4323-9F63-812F250F0E90}"/>
                </c:ext>
              </c:extLst>
            </c:dLbl>
            <c:dLbl>
              <c:idx val="14"/>
              <c:layout>
                <c:manualLayout>
                  <c:x val="0.30109871057282994"/>
                  <c:y val="3.68573897537312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F1DB-4323-9F63-812F250F0E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Reserves &amp; Conti Resource 2023'!$G$78:$G$92</c:f>
              <c:strCache>
                <c:ptCount val="15"/>
                <c:pt idx="0">
                  <c:v>Area-1, Mozambique</c:v>
                </c:pt>
                <c:pt idx="1">
                  <c:v>Sakhalin-1, Russia</c:v>
                </c:pt>
                <c:pt idx="2">
                  <c:v>Vankor, Russia</c:v>
                </c:pt>
                <c:pt idx="3">
                  <c:v>Imperial,  Russia</c:v>
                </c:pt>
                <c:pt idx="4">
                  <c:v>Lower Zakum, UAE</c:v>
                </c:pt>
                <c:pt idx="5">
                  <c:v>Carabobo-1, Venezuela</c:v>
                </c:pt>
                <c:pt idx="6">
                  <c:v>Blocks A1, A3 Myanmar</c:v>
                </c:pt>
                <c:pt idx="7">
                  <c:v>ACG, Azerbaijan</c:v>
                </c:pt>
                <c:pt idx="8">
                  <c:v>GPOC, South Sudan</c:v>
                </c:pt>
                <c:pt idx="9">
                  <c:v>PIVSA, Venezuela</c:v>
                </c:pt>
                <c:pt idx="10">
                  <c:v>SPOC, South Sudan</c:v>
                </c:pt>
                <c:pt idx="11">
                  <c:v>CPO-5, Colombia</c:v>
                </c:pt>
                <c:pt idx="12">
                  <c:v>Block BC-10, Brazil</c:v>
                </c:pt>
                <c:pt idx="13">
                  <c:v>MECL, Colombia</c:v>
                </c:pt>
                <c:pt idx="14">
                  <c:v>Block 06.1, Vietnam</c:v>
                </c:pt>
              </c:strCache>
            </c:strRef>
          </c:cat>
          <c:val>
            <c:numRef>
              <c:f>'Reserves &amp; Conti Resource 2023'!$H$78:$H$92</c:f>
              <c:numCache>
                <c:formatCode>0.00</c:formatCode>
                <c:ptCount val="15"/>
                <c:pt idx="0">
                  <c:v>200.70791448393032</c:v>
                </c:pt>
                <c:pt idx="1">
                  <c:v>113.04259213000003</c:v>
                </c:pt>
                <c:pt idx="2">
                  <c:v>63.065579999999997</c:v>
                </c:pt>
                <c:pt idx="3">
                  <c:v>38.829047528000004</c:v>
                </c:pt>
                <c:pt idx="4">
                  <c:v>16.130223761154859</c:v>
                </c:pt>
                <c:pt idx="5">
                  <c:v>13.45398</c:v>
                </c:pt>
                <c:pt idx="6">
                  <c:v>7.1276259994299931</c:v>
                </c:pt>
                <c:pt idx="7">
                  <c:v>6.2361376402962261</c:v>
                </c:pt>
                <c:pt idx="8">
                  <c:v>5.1482602889070606</c:v>
                </c:pt>
                <c:pt idx="9">
                  <c:v>3.4610379793061492</c:v>
                </c:pt>
                <c:pt idx="10">
                  <c:v>3.1539999999999999</c:v>
                </c:pt>
                <c:pt idx="11">
                  <c:v>2.7788965430031753</c:v>
                </c:pt>
                <c:pt idx="12">
                  <c:v>1.2685556100894342</c:v>
                </c:pt>
                <c:pt idx="13">
                  <c:v>1.046</c:v>
                </c:pt>
                <c:pt idx="14">
                  <c:v>0.87899762826610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F1DB-4323-9F63-812F250F0E90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400">
                <a:solidFill>
                  <a:schemeClr val="tx1"/>
                </a:solidFill>
              </a:rPr>
              <a:t>Oil &amp; Gas</a:t>
            </a:r>
          </a:p>
        </c:rich>
      </c:tx>
      <c:layout>
        <c:manualLayout>
          <c:xMode val="edge"/>
          <c:yMode val="edge"/>
          <c:x val="6.0462649430575159E-2"/>
          <c:y val="3.7551035287255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912335958005251"/>
          <c:y val="6.0048483522892972E-2"/>
          <c:w val="0.7149348206474192"/>
          <c:h val="0.377957130358705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a - Domestic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5:$A$18</c:f>
              <c:strCache>
                <c:ptCount val="14"/>
                <c:pt idx="0">
                  <c:v>FY ’11</c:v>
                </c:pt>
                <c:pt idx="1">
                  <c:v>FY '12</c:v>
                </c:pt>
                <c:pt idx="2">
                  <c:v>FY '13</c:v>
                </c:pt>
                <c:pt idx="3">
                  <c:v>FY'14</c:v>
                </c:pt>
                <c:pt idx="4">
                  <c:v>FY '15</c:v>
                </c:pt>
                <c:pt idx="5">
                  <c:v>FY '16</c:v>
                </c:pt>
                <c:pt idx="6">
                  <c:v>FY'17</c:v>
                </c:pt>
                <c:pt idx="7">
                  <c:v>FY'18</c:v>
                </c:pt>
                <c:pt idx="8">
                  <c:v>FY'19</c:v>
                </c:pt>
                <c:pt idx="9">
                  <c:v>FY'20</c:v>
                </c:pt>
                <c:pt idx="10">
                  <c:v>FY'21</c:v>
                </c:pt>
                <c:pt idx="11">
                  <c:v>FY'22</c:v>
                </c:pt>
                <c:pt idx="12">
                  <c:v>FY'23</c:v>
                </c:pt>
                <c:pt idx="13">
                  <c:v>FY'24</c:v>
                </c:pt>
              </c:strCache>
            </c:strRef>
          </c:cat>
          <c:val>
            <c:numRef>
              <c:f>Sheet1!$B$5:$B$18</c:f>
              <c:numCache>
                <c:formatCode>0.00</c:formatCode>
                <c:ptCount val="14"/>
                <c:pt idx="0">
                  <c:v>89.93</c:v>
                </c:pt>
                <c:pt idx="1">
                  <c:v>85.64</c:v>
                </c:pt>
                <c:pt idx="2">
                  <c:v>78.540000000000006</c:v>
                </c:pt>
                <c:pt idx="3">
                  <c:v>73.17</c:v>
                </c:pt>
                <c:pt idx="4">
                  <c:v>71.12</c:v>
                </c:pt>
                <c:pt idx="5">
                  <c:v>69.2</c:v>
                </c:pt>
                <c:pt idx="6">
                  <c:v>67.900000000000006</c:v>
                </c:pt>
                <c:pt idx="7">
                  <c:v>68.347999999999999</c:v>
                </c:pt>
                <c:pt idx="8">
                  <c:v>67.094999999999999</c:v>
                </c:pt>
                <c:pt idx="9">
                  <c:v>63.4</c:v>
                </c:pt>
                <c:pt idx="10">
                  <c:v>59.2</c:v>
                </c:pt>
                <c:pt idx="11">
                  <c:v>63.7</c:v>
                </c:pt>
                <c:pt idx="12">
                  <c:v>63.6</c:v>
                </c:pt>
                <c:pt idx="13">
                  <c:v>65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5B-4BE8-BB09-7C4BE9E6037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NGC Videsh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5:$A$18</c:f>
              <c:strCache>
                <c:ptCount val="14"/>
                <c:pt idx="0">
                  <c:v>FY ’11</c:v>
                </c:pt>
                <c:pt idx="1">
                  <c:v>FY '12</c:v>
                </c:pt>
                <c:pt idx="2">
                  <c:v>FY '13</c:v>
                </c:pt>
                <c:pt idx="3">
                  <c:v>FY'14</c:v>
                </c:pt>
                <c:pt idx="4">
                  <c:v>FY '15</c:v>
                </c:pt>
                <c:pt idx="5">
                  <c:v>FY '16</c:v>
                </c:pt>
                <c:pt idx="6">
                  <c:v>FY'17</c:v>
                </c:pt>
                <c:pt idx="7">
                  <c:v>FY'18</c:v>
                </c:pt>
                <c:pt idx="8">
                  <c:v>FY'19</c:v>
                </c:pt>
                <c:pt idx="9">
                  <c:v>FY'20</c:v>
                </c:pt>
                <c:pt idx="10">
                  <c:v>FY'21</c:v>
                </c:pt>
                <c:pt idx="11">
                  <c:v>FY'22</c:v>
                </c:pt>
                <c:pt idx="12">
                  <c:v>FY'23</c:v>
                </c:pt>
                <c:pt idx="13">
                  <c:v>FY'24</c:v>
                </c:pt>
              </c:strCache>
            </c:strRef>
          </c:cat>
          <c:val>
            <c:numRef>
              <c:f>Sheet1!$C$5:$C$18</c:f>
              <c:numCache>
                <c:formatCode>0.00</c:formatCode>
                <c:ptCount val="14"/>
                <c:pt idx="0">
                  <c:v>9.4499999999999993</c:v>
                </c:pt>
                <c:pt idx="1">
                  <c:v>8.75</c:v>
                </c:pt>
                <c:pt idx="2">
                  <c:v>7.26</c:v>
                </c:pt>
                <c:pt idx="3">
                  <c:v>8.36</c:v>
                </c:pt>
                <c:pt idx="4">
                  <c:v>8.8699999999999992</c:v>
                </c:pt>
                <c:pt idx="5">
                  <c:v>8.92</c:v>
                </c:pt>
                <c:pt idx="6">
                  <c:v>12.803000000000001</c:v>
                </c:pt>
                <c:pt idx="7">
                  <c:v>14.164</c:v>
                </c:pt>
                <c:pt idx="8">
                  <c:v>14.833</c:v>
                </c:pt>
                <c:pt idx="9">
                  <c:v>14.981</c:v>
                </c:pt>
                <c:pt idx="10">
                  <c:v>13.039</c:v>
                </c:pt>
                <c:pt idx="11">
                  <c:v>12.33</c:v>
                </c:pt>
                <c:pt idx="12">
                  <c:v>10.170999999999999</c:v>
                </c:pt>
                <c:pt idx="13">
                  <c:v>10.518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5B-4BE8-BB09-7C4BE9E603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67371920"/>
        <c:axId val="8673778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ONGC Videsh Production (%)</c:v>
                </c:pt>
              </c:strCache>
            </c:strRef>
          </c:tx>
          <c:spPr>
            <a:ln w="34925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1!$A$5:$A$18</c:f>
              <c:strCache>
                <c:ptCount val="14"/>
                <c:pt idx="0">
                  <c:v>FY ’11</c:v>
                </c:pt>
                <c:pt idx="1">
                  <c:v>FY '12</c:v>
                </c:pt>
                <c:pt idx="2">
                  <c:v>FY '13</c:v>
                </c:pt>
                <c:pt idx="3">
                  <c:v>FY'14</c:v>
                </c:pt>
                <c:pt idx="4">
                  <c:v>FY '15</c:v>
                </c:pt>
                <c:pt idx="5">
                  <c:v>FY '16</c:v>
                </c:pt>
                <c:pt idx="6">
                  <c:v>FY'17</c:v>
                </c:pt>
                <c:pt idx="7">
                  <c:v>FY'18</c:v>
                </c:pt>
                <c:pt idx="8">
                  <c:v>FY'19</c:v>
                </c:pt>
                <c:pt idx="9">
                  <c:v>FY'20</c:v>
                </c:pt>
                <c:pt idx="10">
                  <c:v>FY'21</c:v>
                </c:pt>
                <c:pt idx="11">
                  <c:v>FY'22</c:v>
                </c:pt>
                <c:pt idx="12">
                  <c:v>FY'23</c:v>
                </c:pt>
                <c:pt idx="13">
                  <c:v>FY'24</c:v>
                </c:pt>
              </c:strCache>
            </c:strRef>
          </c:cat>
          <c:val>
            <c:numRef>
              <c:f>Sheet1!$D$5:$D$18</c:f>
              <c:numCache>
                <c:formatCode>0.0</c:formatCode>
                <c:ptCount val="14"/>
                <c:pt idx="0">
                  <c:v>10.508173023462691</c:v>
                </c:pt>
                <c:pt idx="1">
                  <c:v>10.217188229799159</c:v>
                </c:pt>
                <c:pt idx="2">
                  <c:v>9.2436974789915958</c:v>
                </c:pt>
                <c:pt idx="3">
                  <c:v>11.425447587809211</c:v>
                </c:pt>
                <c:pt idx="4">
                  <c:v>12.471878515185599</c:v>
                </c:pt>
                <c:pt idx="5">
                  <c:v>12.890173410404623</c:v>
                </c:pt>
                <c:pt idx="6">
                  <c:v>18.855670103092784</c:v>
                </c:pt>
                <c:pt idx="7">
                  <c:v>20.723356938023059</c:v>
                </c:pt>
                <c:pt idx="8">
                  <c:v>22.107459572248306</c:v>
                </c:pt>
                <c:pt idx="9">
                  <c:v>23.629337539432179</c:v>
                </c:pt>
                <c:pt idx="10">
                  <c:v>22.025337837837835</c:v>
                </c:pt>
                <c:pt idx="11">
                  <c:v>19.356357927786501</c:v>
                </c:pt>
                <c:pt idx="12">
                  <c:v>15.992138364779873</c:v>
                </c:pt>
                <c:pt idx="13">
                  <c:v>15.977517849005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95B-4BE8-BB09-7C4BE9E603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7371920"/>
        <c:axId val="867377800"/>
      </c:lineChart>
      <c:catAx>
        <c:axId val="86737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377800"/>
        <c:crosses val="autoZero"/>
        <c:auto val="1"/>
        <c:lblAlgn val="ctr"/>
        <c:lblOffset val="100"/>
        <c:noMultiLvlLbl val="0"/>
      </c:catAx>
      <c:valAx>
        <c:axId val="86737780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chemeClr val="tx1"/>
                    </a:solidFill>
                  </a:rPr>
                  <a:t>MMTOE</a:t>
                </a:r>
              </a:p>
            </c:rich>
          </c:tx>
          <c:layout>
            <c:manualLayout>
              <c:xMode val="edge"/>
              <c:yMode val="edge"/>
              <c:x val="0.18044860017497813"/>
              <c:y val="0.203266987459900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371920"/>
        <c:crosses val="autoZero"/>
        <c:crossBetween val="between"/>
        <c:majorUnit val="25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400">
                <a:solidFill>
                  <a:schemeClr val="tx1"/>
                </a:solidFill>
              </a:rPr>
              <a:t>Oil</a:t>
            </a:r>
          </a:p>
        </c:rich>
      </c:tx>
      <c:layout>
        <c:manualLayout>
          <c:xMode val="edge"/>
          <c:yMode val="edge"/>
          <c:x val="0.123076976662992"/>
          <c:y val="0.140394587511001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912335958005251"/>
          <c:y val="7.5632837561971408E-2"/>
          <c:w val="0.7149348206474192"/>
          <c:h val="0.362372411781860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ia - Domestic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5:$A$18</c:f>
              <c:strCache>
                <c:ptCount val="14"/>
                <c:pt idx="0">
                  <c:v>FY ’11</c:v>
                </c:pt>
                <c:pt idx="1">
                  <c:v>FY '12</c:v>
                </c:pt>
                <c:pt idx="2">
                  <c:v>FY '13</c:v>
                </c:pt>
                <c:pt idx="3">
                  <c:v>FY'14</c:v>
                </c:pt>
                <c:pt idx="4">
                  <c:v>FY '15</c:v>
                </c:pt>
                <c:pt idx="5">
                  <c:v>FY '16</c:v>
                </c:pt>
                <c:pt idx="6">
                  <c:v>FY'17</c:v>
                </c:pt>
                <c:pt idx="7">
                  <c:v>FY'18</c:v>
                </c:pt>
                <c:pt idx="8">
                  <c:v>FY'19</c:v>
                </c:pt>
                <c:pt idx="9">
                  <c:v>FY'20</c:v>
                </c:pt>
                <c:pt idx="10">
                  <c:v>FY'21</c:v>
                </c:pt>
                <c:pt idx="11">
                  <c:v>FY'22</c:v>
                </c:pt>
                <c:pt idx="12">
                  <c:v>FY'23</c:v>
                </c:pt>
                <c:pt idx="13">
                  <c:v>FY'24</c:v>
                </c:pt>
              </c:strCache>
            </c:strRef>
          </c:cat>
          <c:val>
            <c:numRef>
              <c:f>Sheet1!$B$5:$B$18</c:f>
              <c:numCache>
                <c:formatCode>0.00</c:formatCode>
                <c:ptCount val="14"/>
                <c:pt idx="0">
                  <c:v>37.71</c:v>
                </c:pt>
                <c:pt idx="1">
                  <c:v>38.090000000000003</c:v>
                </c:pt>
                <c:pt idx="2">
                  <c:v>37.86</c:v>
                </c:pt>
                <c:pt idx="3">
                  <c:v>37.78</c:v>
                </c:pt>
                <c:pt idx="4">
                  <c:v>37.46</c:v>
                </c:pt>
                <c:pt idx="5">
                  <c:v>36.9</c:v>
                </c:pt>
                <c:pt idx="6">
                  <c:v>36</c:v>
                </c:pt>
                <c:pt idx="7">
                  <c:v>35.700000000000003</c:v>
                </c:pt>
                <c:pt idx="8">
                  <c:v>34.200000000000003</c:v>
                </c:pt>
                <c:pt idx="9">
                  <c:v>32.200000000000003</c:v>
                </c:pt>
                <c:pt idx="10">
                  <c:v>30.5</c:v>
                </c:pt>
                <c:pt idx="11">
                  <c:v>29.7</c:v>
                </c:pt>
                <c:pt idx="12">
                  <c:v>29.2</c:v>
                </c:pt>
                <c:pt idx="13">
                  <c:v>2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79-4792-8D1F-A3079069C2D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NGC Videsh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strRef>
              <c:f>Sheet1!$A$5:$A$18</c:f>
              <c:strCache>
                <c:ptCount val="14"/>
                <c:pt idx="0">
                  <c:v>FY ’11</c:v>
                </c:pt>
                <c:pt idx="1">
                  <c:v>FY '12</c:v>
                </c:pt>
                <c:pt idx="2">
                  <c:v>FY '13</c:v>
                </c:pt>
                <c:pt idx="3">
                  <c:v>FY'14</c:v>
                </c:pt>
                <c:pt idx="4">
                  <c:v>FY '15</c:v>
                </c:pt>
                <c:pt idx="5">
                  <c:v>FY '16</c:v>
                </c:pt>
                <c:pt idx="6">
                  <c:v>FY'17</c:v>
                </c:pt>
                <c:pt idx="7">
                  <c:v>FY'18</c:v>
                </c:pt>
                <c:pt idx="8">
                  <c:v>FY'19</c:v>
                </c:pt>
                <c:pt idx="9">
                  <c:v>FY'20</c:v>
                </c:pt>
                <c:pt idx="10">
                  <c:v>FY'21</c:v>
                </c:pt>
                <c:pt idx="11">
                  <c:v>FY'22</c:v>
                </c:pt>
                <c:pt idx="12">
                  <c:v>FY'23</c:v>
                </c:pt>
                <c:pt idx="13">
                  <c:v>FY'24</c:v>
                </c:pt>
              </c:strCache>
            </c:strRef>
          </c:cat>
          <c:val>
            <c:numRef>
              <c:f>Sheet1!$C$5:$C$18</c:f>
              <c:numCache>
                <c:formatCode>0.00</c:formatCode>
                <c:ptCount val="14"/>
                <c:pt idx="0">
                  <c:v>6.76</c:v>
                </c:pt>
                <c:pt idx="1">
                  <c:v>6.21</c:v>
                </c:pt>
                <c:pt idx="2">
                  <c:v>4.34</c:v>
                </c:pt>
                <c:pt idx="3">
                  <c:v>5.49</c:v>
                </c:pt>
                <c:pt idx="4">
                  <c:v>5.53</c:v>
                </c:pt>
                <c:pt idx="5">
                  <c:v>5.51</c:v>
                </c:pt>
                <c:pt idx="6">
                  <c:v>8.4339999999999993</c:v>
                </c:pt>
                <c:pt idx="7">
                  <c:v>9.3529999999999998</c:v>
                </c:pt>
                <c:pt idx="8">
                  <c:v>10.097</c:v>
                </c:pt>
                <c:pt idx="9">
                  <c:v>9.7550000000000008</c:v>
                </c:pt>
                <c:pt idx="10">
                  <c:v>8.51</c:v>
                </c:pt>
                <c:pt idx="11">
                  <c:v>8.0990000000000002</c:v>
                </c:pt>
                <c:pt idx="12">
                  <c:v>6.3490000000000002</c:v>
                </c:pt>
                <c:pt idx="13">
                  <c:v>7.17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79-4792-8D1F-A3079069C2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67372704"/>
        <c:axId val="867378192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ONGC Videsh Production (%)</c:v>
                </c:pt>
              </c:strCache>
            </c:strRef>
          </c:tx>
          <c:spPr>
            <a:ln w="34925" cap="rnd">
              <a:noFill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strRef>
              <c:f>Sheet1!$A$5:$A$18</c:f>
              <c:strCache>
                <c:ptCount val="14"/>
                <c:pt idx="0">
                  <c:v>FY ’11</c:v>
                </c:pt>
                <c:pt idx="1">
                  <c:v>FY '12</c:v>
                </c:pt>
                <c:pt idx="2">
                  <c:v>FY '13</c:v>
                </c:pt>
                <c:pt idx="3">
                  <c:v>FY'14</c:v>
                </c:pt>
                <c:pt idx="4">
                  <c:v>FY '15</c:v>
                </c:pt>
                <c:pt idx="5">
                  <c:v>FY '16</c:v>
                </c:pt>
                <c:pt idx="6">
                  <c:v>FY'17</c:v>
                </c:pt>
                <c:pt idx="7">
                  <c:v>FY'18</c:v>
                </c:pt>
                <c:pt idx="8">
                  <c:v>FY'19</c:v>
                </c:pt>
                <c:pt idx="9">
                  <c:v>FY'20</c:v>
                </c:pt>
                <c:pt idx="10">
                  <c:v>FY'21</c:v>
                </c:pt>
                <c:pt idx="11">
                  <c:v>FY'22</c:v>
                </c:pt>
                <c:pt idx="12">
                  <c:v>FY'23</c:v>
                </c:pt>
                <c:pt idx="13">
                  <c:v>FY'24</c:v>
                </c:pt>
              </c:strCache>
            </c:strRef>
          </c:cat>
          <c:val>
            <c:numRef>
              <c:f>Sheet1!$D$5:$D$18</c:f>
              <c:numCache>
                <c:formatCode>0.0</c:formatCode>
                <c:ptCount val="14"/>
                <c:pt idx="0">
                  <c:v>17.926279501458499</c:v>
                </c:pt>
                <c:pt idx="1">
                  <c:v>16.303491730112889</c:v>
                </c:pt>
                <c:pt idx="2">
                  <c:v>11.463285789751716</c:v>
                </c:pt>
                <c:pt idx="3">
                  <c:v>14.531498147167815</c:v>
                </c:pt>
                <c:pt idx="4">
                  <c:v>14.762413240790176</c:v>
                </c:pt>
                <c:pt idx="5">
                  <c:v>14.932249322493224</c:v>
                </c:pt>
                <c:pt idx="6">
                  <c:v>23.427777777777774</c:v>
                </c:pt>
                <c:pt idx="7">
                  <c:v>26.198879551820724</c:v>
                </c:pt>
                <c:pt idx="8">
                  <c:v>29.523391812865498</c:v>
                </c:pt>
                <c:pt idx="9">
                  <c:v>30.295031055900623</c:v>
                </c:pt>
                <c:pt idx="10">
                  <c:v>27.901639344262296</c:v>
                </c:pt>
                <c:pt idx="11">
                  <c:v>27.26936026936027</c:v>
                </c:pt>
                <c:pt idx="12">
                  <c:v>21.743150684931507</c:v>
                </c:pt>
                <c:pt idx="13">
                  <c:v>24.414965986394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E79-4792-8D1F-A3079069C2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67372704"/>
        <c:axId val="867378192"/>
      </c:lineChart>
      <c:catAx>
        <c:axId val="867372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378192"/>
        <c:crosses val="autoZero"/>
        <c:auto val="1"/>
        <c:lblAlgn val="ctr"/>
        <c:lblOffset val="100"/>
        <c:noMultiLvlLbl val="0"/>
      </c:catAx>
      <c:valAx>
        <c:axId val="86737819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b="1">
                    <a:solidFill>
                      <a:schemeClr val="tx1"/>
                    </a:solidFill>
                  </a:rPr>
                  <a:t>MMT</a:t>
                </a:r>
              </a:p>
            </c:rich>
          </c:tx>
          <c:layout>
            <c:manualLayout>
              <c:xMode val="edge"/>
              <c:yMode val="edge"/>
              <c:x val="0.17994356955380578"/>
              <c:y val="0.208153616214639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372704"/>
        <c:crosses val="autoZero"/>
        <c:crossBetween val="between"/>
        <c:majorUnit val="10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993333123454667"/>
          <c:y val="0.17732793817439488"/>
          <c:w val="0.66626628275015309"/>
          <c:h val="0.60176290463692028"/>
        </c:manualLayout>
      </c:layout>
      <c:pieChart>
        <c:varyColors val="1"/>
        <c:ser>
          <c:idx val="0"/>
          <c:order val="0"/>
          <c:tx>
            <c:strRef>
              <c:f>Sheet1!$D$4</c:f>
              <c:strCache>
                <c:ptCount val="1"/>
                <c:pt idx="0">
                  <c:v>Oil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88-48F6-81E5-370F94905170}"/>
              </c:ext>
            </c:extLst>
          </c:dPt>
          <c:dPt>
            <c:idx val="1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88-48F6-81E5-370F9490517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D88-48F6-81E5-370F94905170}"/>
                </c:ext>
              </c:extLst>
            </c:dLbl>
            <c:dLbl>
              <c:idx val="1"/>
              <c:layout>
                <c:manualLayout>
                  <c:x val="0.18368116686080443"/>
                  <c:y val="0.12736293379994168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D88-48F6-81E5-370F9490517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C$5:$C$6</c:f>
              <c:strCache>
                <c:ptCount val="2"/>
                <c:pt idx="1">
                  <c:v>ONGC Videsh</c:v>
                </c:pt>
              </c:strCache>
            </c:strRef>
          </c:cat>
          <c:val>
            <c:numRef>
              <c:f>Sheet1!$D$5:$D$6</c:f>
              <c:numCache>
                <c:formatCode>General</c:formatCode>
                <c:ptCount val="2"/>
                <c:pt idx="0">
                  <c:v>22.22</c:v>
                </c:pt>
                <c:pt idx="1">
                  <c:v>7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D88-48F6-81E5-370F94905170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78931904345290171"/>
          <c:w val="1"/>
          <c:h val="0.18290317876932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109192604844484"/>
          <c:y val="0.2047253936743022"/>
          <c:w val="0.56243849949669478"/>
          <c:h val="0.60480577345574904"/>
        </c:manualLayout>
      </c:layout>
      <c:pieChart>
        <c:varyColors val="1"/>
        <c:ser>
          <c:idx val="0"/>
          <c:order val="0"/>
          <c:tx>
            <c:strRef>
              <c:f>Sheet1!$D$9</c:f>
              <c:strCache>
                <c:ptCount val="1"/>
                <c:pt idx="0">
                  <c:v>Oil and Gas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39B-4643-8EE9-12B4FE8AAF9E}"/>
              </c:ext>
            </c:extLst>
          </c:dPt>
          <c:dPt>
            <c:idx val="1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39B-4643-8EE9-12B4FE8AAF9E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39B-4643-8EE9-12B4FE8AAF9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C$10:$C$11</c:f>
              <c:strCache>
                <c:ptCount val="2"/>
                <c:pt idx="1">
                  <c:v>ONGC Videsh</c:v>
                </c:pt>
              </c:strCache>
            </c:strRef>
          </c:cat>
          <c:val>
            <c:numRef>
              <c:f>Sheet1!$D$10:$D$11</c:f>
              <c:numCache>
                <c:formatCode>General</c:formatCode>
                <c:ptCount val="2"/>
                <c:pt idx="0">
                  <c:v>55.308</c:v>
                </c:pt>
                <c:pt idx="1">
                  <c:v>1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39B-4643-8EE9-12B4FE8AAF9E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398230088495575E-2"/>
          <c:y val="0.10200279459711226"/>
          <c:w val="0.92920353982300885"/>
          <c:h val="0.7959944108057754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E6F73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.13070115724982981"/>
                  <c:y val="-1.8630647414997672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0BF-455C-BC99-3217BD0CAA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0</c:v>
                </c:pt>
                <c:pt idx="1">
                  <c:v>10.52</c:v>
                </c:pt>
                <c:pt idx="2">
                  <c:v>1.3</c:v>
                </c:pt>
                <c:pt idx="3">
                  <c:v>4.25</c:v>
                </c:pt>
                <c:pt idx="4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BF-455C-BC99-3217BD0CAA4F}"/>
            </c:ext>
          </c:extLst>
        </c:ser>
        <c:ser>
          <c:idx val="1"/>
          <c:order val="1"/>
          <c:spPr>
            <a:solidFill>
              <a:srgbClr val="C8C8C8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95E7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0BF-455C-BC99-3217BD0CAA4F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41.8</c:v>
                </c:pt>
                <c:pt idx="1">
                  <c:v>0</c:v>
                </c:pt>
                <c:pt idx="2">
                  <c:v>7.4000000000000012</c:v>
                </c:pt>
                <c:pt idx="4">
                  <c:v>4.000000000000003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0BF-455C-BC99-3217BD0CAA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2008923984"/>
        <c:axId val="1"/>
      </c:barChart>
      <c:catAx>
        <c:axId val="20089239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1.8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2008923984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911969940955447E-2"/>
          <c:y val="8.9476124246638852E-2"/>
          <c:w val="0.94417606011808908"/>
          <c:h val="0.8210477515067222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B69-4E87-BB76-130ACCE8E05C}"/>
                </c:ext>
              </c:extLst>
            </c:dLbl>
            <c:dLbl>
              <c:idx val="1"/>
              <c:layout>
                <c:manualLayout>
                  <c:x val="-5.3676865271068169E-4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B69-4E87-BB76-130ACCE8E05C}"/>
                </c:ext>
              </c:extLst>
            </c:dLbl>
            <c:dLbl>
              <c:idx val="2"/>
              <c:layout>
                <c:manualLayout>
                  <c:x val="0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B69-4E87-BB76-130ACCE8E05C}"/>
                </c:ext>
              </c:extLst>
            </c:dLbl>
            <c:dLbl>
              <c:idx val="3"/>
              <c:layout>
                <c:manualLayout>
                  <c:x val="0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B69-4E87-BB76-130ACCE8E05C}"/>
                </c:ext>
              </c:extLst>
            </c:dLbl>
            <c:dLbl>
              <c:idx val="4"/>
              <c:layout>
                <c:manualLayout>
                  <c:x val="-5.3676865271068169E-4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B69-4E87-BB76-130ACCE8E05C}"/>
                </c:ext>
              </c:extLst>
            </c:dLbl>
            <c:dLbl>
              <c:idx val="5"/>
              <c:layout>
                <c:manualLayout>
                  <c:x val="0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B69-4E87-BB76-130ACCE8E0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40</c:v>
                </c:pt>
                <c:pt idx="1">
                  <c:v>40.5</c:v>
                </c:pt>
                <c:pt idx="2">
                  <c:v>44.6</c:v>
                </c:pt>
                <c:pt idx="3">
                  <c:v>45.8</c:v>
                </c:pt>
                <c:pt idx="4">
                  <c:v>43.5</c:v>
                </c:pt>
                <c:pt idx="5">
                  <c:v>4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B69-4E87-BB76-130ACCE8E05C}"/>
            </c:ext>
          </c:extLst>
        </c:ser>
        <c:ser>
          <c:idx val="1"/>
          <c:order val="1"/>
          <c:spPr>
            <a:solidFill>
              <a:srgbClr val="007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5.3676865271068169E-4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B69-4E87-BB76-130ACCE8E05C}"/>
                </c:ext>
              </c:extLst>
            </c:dLbl>
            <c:dLbl>
              <c:idx val="1"/>
              <c:layout>
                <c:manualLayout>
                  <c:x val="-5.3676865271068169E-4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B69-4E87-BB76-130ACCE8E05C}"/>
                </c:ext>
              </c:extLst>
            </c:dLbl>
            <c:dLbl>
              <c:idx val="2"/>
              <c:layout>
                <c:manualLayout>
                  <c:x val="0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B69-4E87-BB76-130ACCE8E05C}"/>
                </c:ext>
              </c:extLst>
            </c:dLbl>
            <c:dLbl>
              <c:idx val="3"/>
              <c:layout>
                <c:manualLayout>
                  <c:x val="0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B69-4E87-BB76-130ACCE8E05C}"/>
                </c:ext>
              </c:extLst>
            </c:dLbl>
            <c:dLbl>
              <c:idx val="4"/>
              <c:layout>
                <c:manualLayout>
                  <c:x val="-5.3676865271068169E-4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B69-4E87-BB76-130ACCE8E05C}"/>
                </c:ext>
              </c:extLst>
            </c:dLbl>
            <c:dLbl>
              <c:idx val="5"/>
              <c:layout>
                <c:manualLayout>
                  <c:x val="0"/>
                  <c:y val="-1.3908205841446453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B69-4E87-BB76-130ACCE8E05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0.5</c:v>
                </c:pt>
                <c:pt idx="1">
                  <c:v>12.299999999999997</c:v>
                </c:pt>
                <c:pt idx="2">
                  <c:v>15</c:v>
                </c:pt>
                <c:pt idx="3">
                  <c:v>14.200000000000003</c:v>
                </c:pt>
                <c:pt idx="4">
                  <c:v>8.8999999999999986</c:v>
                </c:pt>
                <c:pt idx="5">
                  <c:v>8.39999999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B69-4E87-BB76-130ACCE8E0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001709472"/>
        <c:axId val="1"/>
      </c:barChart>
      <c:catAx>
        <c:axId val="10017094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001709472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267753201396973E-2"/>
          <c:y val="8.6698337292161518E-2"/>
          <c:w val="0.81722933643771822"/>
          <c:h val="0.8266033254156769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9A9A9A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295E7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5C1-47A8-8CB5-903ACDBB8483}"/>
              </c:ext>
            </c:extLst>
          </c:dPt>
          <c:dLbls>
            <c:dLbl>
              <c:idx val="0"/>
              <c:layout>
                <c:manualLayout>
                  <c:x val="0.48544819557625146"/>
                  <c:y val="-1.583531274742676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5C1-47A8-8CB5-903ACDBB8483}"/>
                </c:ext>
              </c:extLst>
            </c:dLbl>
            <c:dLbl>
              <c:idx val="1"/>
              <c:layout>
                <c:manualLayout>
                  <c:x val="0.35273573923166474"/>
                  <c:y val="-1.583531274742676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5C1-47A8-8CB5-903ACDBB8483}"/>
                </c:ext>
              </c:extLst>
            </c:dLbl>
            <c:dLbl>
              <c:idx val="2"/>
              <c:layout>
                <c:manualLayout>
                  <c:x val="0.21653084982537835"/>
                  <c:y val="-1.583531274742676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5C1-47A8-8CB5-903ACDBB8483}"/>
                </c:ext>
              </c:extLst>
            </c:dLbl>
            <c:dLbl>
              <c:idx val="3"/>
              <c:layout>
                <c:manualLayout>
                  <c:x val="0.10651920838183934"/>
                  <c:y val="-1.583531274742676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5C1-47A8-8CB5-903ACDBB8483}"/>
                </c:ext>
              </c:extLst>
            </c:dLbl>
            <c:dLbl>
              <c:idx val="4"/>
              <c:layout>
                <c:manualLayout>
                  <c:x val="3.667054714784633E-2"/>
                  <c:y val="-1.583531274742676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5C1-47A8-8CB5-903ACDBB84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704</c:v>
                </c:pt>
                <c:pt idx="1">
                  <c:v>476</c:v>
                </c:pt>
                <c:pt idx="2">
                  <c:v>240</c:v>
                </c:pt>
                <c:pt idx="3">
                  <c:v>84</c:v>
                </c:pt>
                <c:pt idx="4">
                  <c:v>4</c:v>
                </c:pt>
                <c:pt idx="5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5C1-47A8-8CB5-903ACDBB84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88364911"/>
        <c:axId val="1"/>
      </c:barChart>
      <c:catAx>
        <c:axId val="883649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7F7F7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4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88364911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7AE150-FF3E-4132-89D9-ECE88D9C3C4B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ECA30D8-B67C-4DB8-9123-1D5E11D09E33}">
      <dgm:prSet/>
      <dgm:spPr/>
      <dgm:t>
        <a:bodyPr/>
        <a:lstStyle/>
        <a:p>
          <a:r>
            <a:rPr lang="en-US" dirty="0"/>
            <a:t>Permission to hold Participating Interests</a:t>
          </a:r>
          <a:endParaRPr lang="en-IN" dirty="0"/>
        </a:p>
      </dgm:t>
    </dgm:pt>
    <dgm:pt modelId="{D5DE5704-C2B0-4A17-AF90-DB7E616CE811}" type="parTrans" cxnId="{64AD8405-30BF-4BF9-8003-2EDB28EB54A0}">
      <dgm:prSet/>
      <dgm:spPr/>
      <dgm:t>
        <a:bodyPr/>
        <a:lstStyle/>
        <a:p>
          <a:endParaRPr lang="en-IN"/>
        </a:p>
      </dgm:t>
    </dgm:pt>
    <dgm:pt modelId="{2B31C6BB-53DB-4BAE-BF44-6A63C543F3DC}" type="sibTrans" cxnId="{64AD8405-30BF-4BF9-8003-2EDB28EB54A0}">
      <dgm:prSet/>
      <dgm:spPr/>
      <dgm:t>
        <a:bodyPr/>
        <a:lstStyle/>
        <a:p>
          <a:endParaRPr lang="en-IN"/>
        </a:p>
      </dgm:t>
    </dgm:pt>
    <dgm:pt modelId="{C34227B5-5A3C-49DC-947B-50E9AEFDD930}">
      <dgm:prSet/>
      <dgm:spPr/>
      <dgm:t>
        <a:bodyPr/>
        <a:lstStyle/>
        <a:p>
          <a:r>
            <a:rPr lang="en-US" dirty="0"/>
            <a:t>Aligning tax regime with global financial </a:t>
          </a:r>
          <a:r>
            <a:rPr lang="en-US" dirty="0" err="1"/>
            <a:t>centres</a:t>
          </a:r>
          <a:endParaRPr lang="en-IN" dirty="0"/>
        </a:p>
      </dgm:t>
    </dgm:pt>
    <dgm:pt modelId="{8B5AD3DD-3929-4FCA-8A45-0A2DB044532A}" type="parTrans" cxnId="{5EB17D32-420B-4951-9170-670A7D0D9914}">
      <dgm:prSet/>
      <dgm:spPr/>
      <dgm:t>
        <a:bodyPr/>
        <a:lstStyle/>
        <a:p>
          <a:endParaRPr lang="en-IN"/>
        </a:p>
      </dgm:t>
    </dgm:pt>
    <dgm:pt modelId="{2AC9005B-69BB-4D39-A698-9B575F367C88}" type="sibTrans" cxnId="{5EB17D32-420B-4951-9170-670A7D0D9914}">
      <dgm:prSet/>
      <dgm:spPr/>
      <dgm:t>
        <a:bodyPr/>
        <a:lstStyle/>
        <a:p>
          <a:endParaRPr lang="en-IN"/>
        </a:p>
      </dgm:t>
    </dgm:pt>
    <dgm:pt modelId="{B30E908F-8682-499C-8594-3368CDCA4892}">
      <dgm:prSet/>
      <dgm:spPr/>
      <dgm:t>
        <a:bodyPr/>
        <a:lstStyle/>
        <a:p>
          <a:r>
            <a:rPr lang="en-US" dirty="0"/>
            <a:t>PSU subsidiaries not to be Government companies</a:t>
          </a:r>
        </a:p>
      </dgm:t>
    </dgm:pt>
    <dgm:pt modelId="{7058AF0E-E724-442D-967F-741BC0BB7B3B}" type="parTrans" cxnId="{613742AA-919F-40E2-9C2D-2DEA3A2DB91B}">
      <dgm:prSet/>
      <dgm:spPr/>
      <dgm:t>
        <a:bodyPr/>
        <a:lstStyle/>
        <a:p>
          <a:endParaRPr lang="en-IN"/>
        </a:p>
      </dgm:t>
    </dgm:pt>
    <dgm:pt modelId="{2F8B3DFE-6CBD-4956-8529-DFF50BF5B9D6}" type="sibTrans" cxnId="{613742AA-919F-40E2-9C2D-2DEA3A2DB91B}">
      <dgm:prSet/>
      <dgm:spPr/>
      <dgm:t>
        <a:bodyPr/>
        <a:lstStyle/>
        <a:p>
          <a:endParaRPr lang="en-IN"/>
        </a:p>
      </dgm:t>
    </dgm:pt>
    <dgm:pt modelId="{C7E4EEB5-D836-4197-8BCD-131F4323784E}">
      <dgm:prSet/>
      <dgm:spPr/>
      <dgm:t>
        <a:bodyPr/>
        <a:lstStyle/>
        <a:p>
          <a:r>
            <a:rPr lang="en-US" dirty="0"/>
            <a:t>Exemption from large borrower framework</a:t>
          </a:r>
        </a:p>
      </dgm:t>
    </dgm:pt>
    <dgm:pt modelId="{8E178A8E-D3A8-4E0B-937F-4D2475BE5E24}" type="parTrans" cxnId="{8E696A5D-8EF4-4054-9742-E4E32E1E751A}">
      <dgm:prSet/>
      <dgm:spPr/>
      <dgm:t>
        <a:bodyPr/>
        <a:lstStyle/>
        <a:p>
          <a:endParaRPr lang="en-IN"/>
        </a:p>
      </dgm:t>
    </dgm:pt>
    <dgm:pt modelId="{BCEE4F1F-8763-4EFA-A780-6689E1B8B40E}" type="sibTrans" cxnId="{8E696A5D-8EF4-4054-9742-E4E32E1E751A}">
      <dgm:prSet/>
      <dgm:spPr/>
      <dgm:t>
        <a:bodyPr/>
        <a:lstStyle/>
        <a:p>
          <a:endParaRPr lang="en-IN"/>
        </a:p>
      </dgm:t>
    </dgm:pt>
    <dgm:pt modelId="{6754C395-DDCA-4820-A2D8-885191CD8FCE}">
      <dgm:prSet/>
      <dgm:spPr/>
      <dgm:t>
        <a:bodyPr/>
        <a:lstStyle/>
        <a:p>
          <a:r>
            <a:rPr lang="en-US" dirty="0"/>
            <a:t>Inapplicability of ECB guidelines to borrowings by Indian entity from  treasury </a:t>
          </a:r>
          <a:r>
            <a:rPr lang="en-US" dirty="0" err="1"/>
            <a:t>centre</a:t>
          </a:r>
          <a:r>
            <a:rPr lang="en-US" dirty="0"/>
            <a:t> in GIFT IFSC</a:t>
          </a:r>
        </a:p>
      </dgm:t>
    </dgm:pt>
    <dgm:pt modelId="{A09EA070-047B-42C7-853D-9C881AD1039B}" type="parTrans" cxnId="{2D9E54AE-E549-41F2-A829-D116AE8D052C}">
      <dgm:prSet/>
      <dgm:spPr/>
      <dgm:t>
        <a:bodyPr/>
        <a:lstStyle/>
        <a:p>
          <a:endParaRPr lang="en-IN"/>
        </a:p>
      </dgm:t>
    </dgm:pt>
    <dgm:pt modelId="{47958A5D-8AE7-41EC-9D9A-A858C28E94DF}" type="sibTrans" cxnId="{2D9E54AE-E549-41F2-A829-D116AE8D052C}">
      <dgm:prSet/>
      <dgm:spPr/>
      <dgm:t>
        <a:bodyPr/>
        <a:lstStyle/>
        <a:p>
          <a:endParaRPr lang="en-IN"/>
        </a:p>
      </dgm:t>
    </dgm:pt>
    <dgm:pt modelId="{08A95C4C-230C-43E5-AA79-48963C4E9AC9}">
      <dgm:prSet/>
      <dgm:spPr/>
      <dgm:t>
        <a:bodyPr/>
        <a:lstStyle/>
        <a:p>
          <a:r>
            <a:rPr lang="en-IN" dirty="0"/>
            <a:t>Relocating Indian entities carrying on overseas businesses to GIFT IFSC</a:t>
          </a:r>
          <a:endParaRPr lang="en-US" dirty="0"/>
        </a:p>
      </dgm:t>
    </dgm:pt>
    <dgm:pt modelId="{D769FD88-4F13-42A2-BEB8-E556BCA1E657}" type="parTrans" cxnId="{A34713D7-1288-45CB-9C11-5B08781B4F65}">
      <dgm:prSet/>
      <dgm:spPr/>
      <dgm:t>
        <a:bodyPr/>
        <a:lstStyle/>
        <a:p>
          <a:endParaRPr lang="en-US"/>
        </a:p>
      </dgm:t>
    </dgm:pt>
    <dgm:pt modelId="{50D3B668-0EC2-4988-95AC-1FCD8A7C9CE3}" type="sibTrans" cxnId="{A34713D7-1288-45CB-9C11-5B08781B4F65}">
      <dgm:prSet/>
      <dgm:spPr/>
      <dgm:t>
        <a:bodyPr/>
        <a:lstStyle/>
        <a:p>
          <a:endParaRPr lang="en-US"/>
        </a:p>
      </dgm:t>
    </dgm:pt>
    <dgm:pt modelId="{91DC6FD1-0CA9-4B82-B880-846943803081}" type="pres">
      <dgm:prSet presAssocID="{137AE150-FF3E-4132-89D9-ECE88D9C3C4B}" presName="diagram" presStyleCnt="0">
        <dgm:presLayoutVars>
          <dgm:dir/>
          <dgm:resizeHandles val="exact"/>
        </dgm:presLayoutVars>
      </dgm:prSet>
      <dgm:spPr/>
    </dgm:pt>
    <dgm:pt modelId="{43D11E91-FD99-4236-829C-7FB2BC7E0CD3}" type="pres">
      <dgm:prSet presAssocID="{CECA30D8-B67C-4DB8-9123-1D5E11D09E33}" presName="node" presStyleLbl="node1" presStyleIdx="0" presStyleCnt="6">
        <dgm:presLayoutVars>
          <dgm:bulletEnabled val="1"/>
        </dgm:presLayoutVars>
      </dgm:prSet>
      <dgm:spPr/>
    </dgm:pt>
    <dgm:pt modelId="{74B9814D-36B4-4D9F-9E6D-BE1CA96C1A80}" type="pres">
      <dgm:prSet presAssocID="{2B31C6BB-53DB-4BAE-BF44-6A63C543F3DC}" presName="sibTrans" presStyleCnt="0"/>
      <dgm:spPr/>
    </dgm:pt>
    <dgm:pt modelId="{C585DA6D-FC1D-4B1E-B7FE-1697D04AF922}" type="pres">
      <dgm:prSet presAssocID="{C34227B5-5A3C-49DC-947B-50E9AEFDD930}" presName="node" presStyleLbl="node1" presStyleIdx="1" presStyleCnt="6">
        <dgm:presLayoutVars>
          <dgm:bulletEnabled val="1"/>
        </dgm:presLayoutVars>
      </dgm:prSet>
      <dgm:spPr/>
    </dgm:pt>
    <dgm:pt modelId="{3C768BCD-9B1B-4BCA-946A-99A70C087D92}" type="pres">
      <dgm:prSet presAssocID="{2AC9005B-69BB-4D39-A698-9B575F367C88}" presName="sibTrans" presStyleCnt="0"/>
      <dgm:spPr/>
    </dgm:pt>
    <dgm:pt modelId="{C15901A6-0CF7-4997-B91F-861C8B4B3898}" type="pres">
      <dgm:prSet presAssocID="{B30E908F-8682-499C-8594-3368CDCA4892}" presName="node" presStyleLbl="node1" presStyleIdx="2" presStyleCnt="6">
        <dgm:presLayoutVars>
          <dgm:bulletEnabled val="1"/>
        </dgm:presLayoutVars>
      </dgm:prSet>
      <dgm:spPr/>
    </dgm:pt>
    <dgm:pt modelId="{A63622AE-609A-4105-B3E9-DA943C86B1CA}" type="pres">
      <dgm:prSet presAssocID="{2F8B3DFE-6CBD-4956-8529-DFF50BF5B9D6}" presName="sibTrans" presStyleCnt="0"/>
      <dgm:spPr/>
    </dgm:pt>
    <dgm:pt modelId="{5F6349D1-E88B-4963-A71A-E869F5A1291F}" type="pres">
      <dgm:prSet presAssocID="{08A95C4C-230C-43E5-AA79-48963C4E9AC9}" presName="node" presStyleLbl="node1" presStyleIdx="3" presStyleCnt="6">
        <dgm:presLayoutVars>
          <dgm:bulletEnabled val="1"/>
        </dgm:presLayoutVars>
      </dgm:prSet>
      <dgm:spPr/>
    </dgm:pt>
    <dgm:pt modelId="{110B82B4-D30B-485B-8296-5FD9CB116C75}" type="pres">
      <dgm:prSet presAssocID="{50D3B668-0EC2-4988-95AC-1FCD8A7C9CE3}" presName="sibTrans" presStyleCnt="0"/>
      <dgm:spPr/>
    </dgm:pt>
    <dgm:pt modelId="{73497FAB-C1C3-40F0-9BB9-AA2FD1E3AEF3}" type="pres">
      <dgm:prSet presAssocID="{6754C395-DDCA-4820-A2D8-885191CD8FCE}" presName="node" presStyleLbl="node1" presStyleIdx="4" presStyleCnt="6">
        <dgm:presLayoutVars>
          <dgm:bulletEnabled val="1"/>
        </dgm:presLayoutVars>
      </dgm:prSet>
      <dgm:spPr/>
    </dgm:pt>
    <dgm:pt modelId="{19783ABD-A267-4187-9D90-9C6BAE5A9A48}" type="pres">
      <dgm:prSet presAssocID="{47958A5D-8AE7-41EC-9D9A-A858C28E94DF}" presName="sibTrans" presStyleCnt="0"/>
      <dgm:spPr/>
    </dgm:pt>
    <dgm:pt modelId="{A93D5194-4E48-4DB3-80F9-B0DD19B3828B}" type="pres">
      <dgm:prSet presAssocID="{C7E4EEB5-D836-4197-8BCD-131F4323784E}" presName="node" presStyleLbl="node1" presStyleIdx="5" presStyleCnt="6">
        <dgm:presLayoutVars>
          <dgm:bulletEnabled val="1"/>
        </dgm:presLayoutVars>
      </dgm:prSet>
      <dgm:spPr/>
    </dgm:pt>
  </dgm:ptLst>
  <dgm:cxnLst>
    <dgm:cxn modelId="{64AD8405-30BF-4BF9-8003-2EDB28EB54A0}" srcId="{137AE150-FF3E-4132-89D9-ECE88D9C3C4B}" destId="{CECA30D8-B67C-4DB8-9123-1D5E11D09E33}" srcOrd="0" destOrd="0" parTransId="{D5DE5704-C2B0-4A17-AF90-DB7E616CE811}" sibTransId="{2B31C6BB-53DB-4BAE-BF44-6A63C543F3DC}"/>
    <dgm:cxn modelId="{0B9E3C2D-D810-4940-9AF6-E9CF6E09875E}" type="presOf" srcId="{137AE150-FF3E-4132-89D9-ECE88D9C3C4B}" destId="{91DC6FD1-0CA9-4B82-B880-846943803081}" srcOrd="0" destOrd="0" presId="urn:microsoft.com/office/officeart/2005/8/layout/default"/>
    <dgm:cxn modelId="{5EB17D32-420B-4951-9170-670A7D0D9914}" srcId="{137AE150-FF3E-4132-89D9-ECE88D9C3C4B}" destId="{C34227B5-5A3C-49DC-947B-50E9AEFDD930}" srcOrd="1" destOrd="0" parTransId="{8B5AD3DD-3929-4FCA-8A45-0A2DB044532A}" sibTransId="{2AC9005B-69BB-4D39-A698-9B575F367C88}"/>
    <dgm:cxn modelId="{0A08A33F-897C-4F0D-A8AA-9C79D0638EDB}" type="presOf" srcId="{C7E4EEB5-D836-4197-8BCD-131F4323784E}" destId="{A93D5194-4E48-4DB3-80F9-B0DD19B3828B}" srcOrd="0" destOrd="0" presId="urn:microsoft.com/office/officeart/2005/8/layout/default"/>
    <dgm:cxn modelId="{8E696A5D-8EF4-4054-9742-E4E32E1E751A}" srcId="{137AE150-FF3E-4132-89D9-ECE88D9C3C4B}" destId="{C7E4EEB5-D836-4197-8BCD-131F4323784E}" srcOrd="5" destOrd="0" parTransId="{8E178A8E-D3A8-4E0B-937F-4D2475BE5E24}" sibTransId="{BCEE4F1F-8763-4EFA-A780-6689E1B8B40E}"/>
    <dgm:cxn modelId="{018FD843-15E0-4672-8BBC-93EA6DFC451C}" type="presOf" srcId="{C34227B5-5A3C-49DC-947B-50E9AEFDD930}" destId="{C585DA6D-FC1D-4B1E-B7FE-1697D04AF922}" srcOrd="0" destOrd="0" presId="urn:microsoft.com/office/officeart/2005/8/layout/default"/>
    <dgm:cxn modelId="{16FFA966-D979-4D18-91F2-C1AE2EE3B8B3}" type="presOf" srcId="{08A95C4C-230C-43E5-AA79-48963C4E9AC9}" destId="{5F6349D1-E88B-4963-A71A-E869F5A1291F}" srcOrd="0" destOrd="0" presId="urn:microsoft.com/office/officeart/2005/8/layout/default"/>
    <dgm:cxn modelId="{66FF424F-05BD-4A7A-9B60-854C2FA120EC}" type="presOf" srcId="{CECA30D8-B67C-4DB8-9123-1D5E11D09E33}" destId="{43D11E91-FD99-4236-829C-7FB2BC7E0CD3}" srcOrd="0" destOrd="0" presId="urn:microsoft.com/office/officeart/2005/8/layout/default"/>
    <dgm:cxn modelId="{613742AA-919F-40E2-9C2D-2DEA3A2DB91B}" srcId="{137AE150-FF3E-4132-89D9-ECE88D9C3C4B}" destId="{B30E908F-8682-499C-8594-3368CDCA4892}" srcOrd="2" destOrd="0" parTransId="{7058AF0E-E724-442D-967F-741BC0BB7B3B}" sibTransId="{2F8B3DFE-6CBD-4956-8529-DFF50BF5B9D6}"/>
    <dgm:cxn modelId="{2D9E54AE-E549-41F2-A829-D116AE8D052C}" srcId="{137AE150-FF3E-4132-89D9-ECE88D9C3C4B}" destId="{6754C395-DDCA-4820-A2D8-885191CD8FCE}" srcOrd="4" destOrd="0" parTransId="{A09EA070-047B-42C7-853D-9C881AD1039B}" sibTransId="{47958A5D-8AE7-41EC-9D9A-A858C28E94DF}"/>
    <dgm:cxn modelId="{79264BB5-0137-42D4-B032-DADD4EF648E6}" type="presOf" srcId="{B30E908F-8682-499C-8594-3368CDCA4892}" destId="{C15901A6-0CF7-4997-B91F-861C8B4B3898}" srcOrd="0" destOrd="0" presId="urn:microsoft.com/office/officeart/2005/8/layout/default"/>
    <dgm:cxn modelId="{A34713D7-1288-45CB-9C11-5B08781B4F65}" srcId="{137AE150-FF3E-4132-89D9-ECE88D9C3C4B}" destId="{08A95C4C-230C-43E5-AA79-48963C4E9AC9}" srcOrd="3" destOrd="0" parTransId="{D769FD88-4F13-42A2-BEB8-E556BCA1E657}" sibTransId="{50D3B668-0EC2-4988-95AC-1FCD8A7C9CE3}"/>
    <dgm:cxn modelId="{4810F9E8-8790-45A3-A861-0F52118638C7}" type="presOf" srcId="{6754C395-DDCA-4820-A2D8-885191CD8FCE}" destId="{73497FAB-C1C3-40F0-9BB9-AA2FD1E3AEF3}" srcOrd="0" destOrd="0" presId="urn:microsoft.com/office/officeart/2005/8/layout/default"/>
    <dgm:cxn modelId="{419B0E7E-4E3A-441C-A412-D3ABCEB2A988}" type="presParOf" srcId="{91DC6FD1-0CA9-4B82-B880-846943803081}" destId="{43D11E91-FD99-4236-829C-7FB2BC7E0CD3}" srcOrd="0" destOrd="0" presId="urn:microsoft.com/office/officeart/2005/8/layout/default"/>
    <dgm:cxn modelId="{7226A607-FE16-4E81-B087-8699CA985BE4}" type="presParOf" srcId="{91DC6FD1-0CA9-4B82-B880-846943803081}" destId="{74B9814D-36B4-4D9F-9E6D-BE1CA96C1A80}" srcOrd="1" destOrd="0" presId="urn:microsoft.com/office/officeart/2005/8/layout/default"/>
    <dgm:cxn modelId="{B4D66665-2C5C-4756-BB38-C90BB6EC55C8}" type="presParOf" srcId="{91DC6FD1-0CA9-4B82-B880-846943803081}" destId="{C585DA6D-FC1D-4B1E-B7FE-1697D04AF922}" srcOrd="2" destOrd="0" presId="urn:microsoft.com/office/officeart/2005/8/layout/default"/>
    <dgm:cxn modelId="{7A5F2620-8CBC-4BB5-A9D6-7740ABCF45D0}" type="presParOf" srcId="{91DC6FD1-0CA9-4B82-B880-846943803081}" destId="{3C768BCD-9B1B-4BCA-946A-99A70C087D92}" srcOrd="3" destOrd="0" presId="urn:microsoft.com/office/officeart/2005/8/layout/default"/>
    <dgm:cxn modelId="{63A8FE79-10CB-4A85-9F35-87C96FE23C93}" type="presParOf" srcId="{91DC6FD1-0CA9-4B82-B880-846943803081}" destId="{C15901A6-0CF7-4997-B91F-861C8B4B3898}" srcOrd="4" destOrd="0" presId="urn:microsoft.com/office/officeart/2005/8/layout/default"/>
    <dgm:cxn modelId="{4AF4747A-94C4-4ED7-81FA-621E46317F37}" type="presParOf" srcId="{91DC6FD1-0CA9-4B82-B880-846943803081}" destId="{A63622AE-609A-4105-B3E9-DA943C86B1CA}" srcOrd="5" destOrd="0" presId="urn:microsoft.com/office/officeart/2005/8/layout/default"/>
    <dgm:cxn modelId="{E479D7B4-5136-4AE2-A7AB-B8E4A0C6C868}" type="presParOf" srcId="{91DC6FD1-0CA9-4B82-B880-846943803081}" destId="{5F6349D1-E88B-4963-A71A-E869F5A1291F}" srcOrd="6" destOrd="0" presId="urn:microsoft.com/office/officeart/2005/8/layout/default"/>
    <dgm:cxn modelId="{3EABA080-BAF5-4EF0-8E9F-CCB8AC554B5E}" type="presParOf" srcId="{91DC6FD1-0CA9-4B82-B880-846943803081}" destId="{110B82B4-D30B-485B-8296-5FD9CB116C75}" srcOrd="7" destOrd="0" presId="urn:microsoft.com/office/officeart/2005/8/layout/default"/>
    <dgm:cxn modelId="{68EBDA16-2B27-44DE-AC72-1EEBE8340328}" type="presParOf" srcId="{91DC6FD1-0CA9-4B82-B880-846943803081}" destId="{73497FAB-C1C3-40F0-9BB9-AA2FD1E3AEF3}" srcOrd="8" destOrd="0" presId="urn:microsoft.com/office/officeart/2005/8/layout/default"/>
    <dgm:cxn modelId="{646B3F04-9FED-489A-B7B8-AF6047434376}" type="presParOf" srcId="{91DC6FD1-0CA9-4B82-B880-846943803081}" destId="{19783ABD-A267-4187-9D90-9C6BAE5A9A48}" srcOrd="9" destOrd="0" presId="urn:microsoft.com/office/officeart/2005/8/layout/default"/>
    <dgm:cxn modelId="{AF2641EC-582E-4B12-AFEA-6B3F9A34BF51}" type="presParOf" srcId="{91DC6FD1-0CA9-4B82-B880-846943803081}" destId="{A93D5194-4E48-4DB3-80F9-B0DD19B3828B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D11E91-FD99-4236-829C-7FB2BC7E0CD3}">
      <dsp:nvSpPr>
        <dsp:cNvPr id="0" name=""/>
        <dsp:cNvSpPr/>
      </dsp:nvSpPr>
      <dsp:spPr>
        <a:xfrm>
          <a:off x="0" y="346074"/>
          <a:ext cx="3365499" cy="20193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Permission to hold Participating Interests</a:t>
          </a:r>
          <a:endParaRPr lang="en-IN" sz="2600" kern="1200" dirty="0"/>
        </a:p>
      </dsp:txBody>
      <dsp:txXfrm>
        <a:off x="0" y="346074"/>
        <a:ext cx="3365499" cy="2019300"/>
      </dsp:txXfrm>
    </dsp:sp>
    <dsp:sp modelId="{C585DA6D-FC1D-4B1E-B7FE-1697D04AF922}">
      <dsp:nvSpPr>
        <dsp:cNvPr id="0" name=""/>
        <dsp:cNvSpPr/>
      </dsp:nvSpPr>
      <dsp:spPr>
        <a:xfrm>
          <a:off x="3702050" y="346074"/>
          <a:ext cx="3365499" cy="20193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Aligning tax regime with global financial </a:t>
          </a:r>
          <a:r>
            <a:rPr lang="en-US" sz="2600" kern="1200" dirty="0" err="1"/>
            <a:t>centres</a:t>
          </a:r>
          <a:endParaRPr lang="en-IN" sz="2600" kern="1200" dirty="0"/>
        </a:p>
      </dsp:txBody>
      <dsp:txXfrm>
        <a:off x="3702050" y="346074"/>
        <a:ext cx="3365499" cy="2019300"/>
      </dsp:txXfrm>
    </dsp:sp>
    <dsp:sp modelId="{C15901A6-0CF7-4997-B91F-861C8B4B3898}">
      <dsp:nvSpPr>
        <dsp:cNvPr id="0" name=""/>
        <dsp:cNvSpPr/>
      </dsp:nvSpPr>
      <dsp:spPr>
        <a:xfrm>
          <a:off x="7404099" y="346074"/>
          <a:ext cx="3365499" cy="20193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PSU subsidiaries not to be Government companies</a:t>
          </a:r>
        </a:p>
      </dsp:txBody>
      <dsp:txXfrm>
        <a:off x="7404099" y="346074"/>
        <a:ext cx="3365499" cy="2019300"/>
      </dsp:txXfrm>
    </dsp:sp>
    <dsp:sp modelId="{5F6349D1-E88B-4963-A71A-E869F5A1291F}">
      <dsp:nvSpPr>
        <dsp:cNvPr id="0" name=""/>
        <dsp:cNvSpPr/>
      </dsp:nvSpPr>
      <dsp:spPr>
        <a:xfrm>
          <a:off x="0" y="2701924"/>
          <a:ext cx="3365499" cy="20193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2600" kern="1200" dirty="0"/>
            <a:t>Relocating Indian entities carrying on overseas businesses to GIFT IFSC</a:t>
          </a:r>
          <a:endParaRPr lang="en-US" sz="2600" kern="1200" dirty="0"/>
        </a:p>
      </dsp:txBody>
      <dsp:txXfrm>
        <a:off x="0" y="2701924"/>
        <a:ext cx="3365499" cy="2019300"/>
      </dsp:txXfrm>
    </dsp:sp>
    <dsp:sp modelId="{73497FAB-C1C3-40F0-9BB9-AA2FD1E3AEF3}">
      <dsp:nvSpPr>
        <dsp:cNvPr id="0" name=""/>
        <dsp:cNvSpPr/>
      </dsp:nvSpPr>
      <dsp:spPr>
        <a:xfrm>
          <a:off x="3702050" y="2701925"/>
          <a:ext cx="3365499" cy="20193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Inapplicability of ECB guidelines to borrowings by Indian entity from  treasury </a:t>
          </a:r>
          <a:r>
            <a:rPr lang="en-US" sz="2600" kern="1200" dirty="0" err="1"/>
            <a:t>centre</a:t>
          </a:r>
          <a:r>
            <a:rPr lang="en-US" sz="2600" kern="1200" dirty="0"/>
            <a:t> in GIFT IFSC</a:t>
          </a:r>
        </a:p>
      </dsp:txBody>
      <dsp:txXfrm>
        <a:off x="3702050" y="2701925"/>
        <a:ext cx="3365499" cy="2019300"/>
      </dsp:txXfrm>
    </dsp:sp>
    <dsp:sp modelId="{A93D5194-4E48-4DB3-80F9-B0DD19B3828B}">
      <dsp:nvSpPr>
        <dsp:cNvPr id="0" name=""/>
        <dsp:cNvSpPr/>
      </dsp:nvSpPr>
      <dsp:spPr>
        <a:xfrm>
          <a:off x="7404099" y="2701925"/>
          <a:ext cx="3365499" cy="20193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/>
            <a:t>Exemption from large borrower framework</a:t>
          </a:r>
        </a:p>
      </dsp:txBody>
      <dsp:txXfrm>
        <a:off x="7404099" y="2701925"/>
        <a:ext cx="3365499" cy="20193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B14DCA-DEDC-4C50-9C1F-0DA56116128B}" type="datetimeFigureOut">
              <a:rPr lang="en-IN" smtClean="0"/>
              <a:t>30-01-2025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BE34C7-76C4-4D32-809F-81FA54CAC72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668080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/>
              <a:t>Notes view: </a:t>
            </a:r>
            <a:fld id="{128CEAFE-FA94-43E5-B0FF-D47E1CCDD1B4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9741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0825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8113" y="1347788"/>
            <a:ext cx="6462712" cy="3636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105D6F-95D4-468C-B407-A68C0BE8909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7563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askirat\Shared\2015\OVL\August\27\template_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708151"/>
            <a:ext cx="10363200" cy="1470025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tx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10000"/>
            <a:ext cx="85344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6" name="Picture 2" descr="ONGC VIDESH Limited (@ongcvideshltd) / Twitter">
            <a:extLst>
              <a:ext uri="{FF2B5EF4-FFF2-40B4-BE49-F238E27FC236}">
                <a16:creationId xmlns:a16="http://schemas.microsoft.com/office/drawing/2014/main" id="{4E2A1ADB-17BC-E022-3BCB-12D555A7A1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" y="136522"/>
            <a:ext cx="1282700" cy="12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79905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9168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296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302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 txBox="1">
            <a:spLocks/>
          </p:cNvSpPr>
          <p:nvPr userDrawn="1"/>
        </p:nvSpPr>
        <p:spPr>
          <a:xfrm>
            <a:off x="1524000" y="1835831"/>
            <a:ext cx="91440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4400" b="1">
              <a:solidFill>
                <a:srgbClr val="5A2781"/>
              </a:solidFill>
              <a:latin typeface="Candara" panose="020E0502030303020204" pitchFamily="34" charset="0"/>
            </a:endParaRPr>
          </a:p>
        </p:txBody>
      </p:sp>
      <p:sp>
        <p:nvSpPr>
          <p:cNvPr id="12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11778488" y="6501365"/>
            <a:ext cx="413512" cy="356635"/>
          </a:xfrm>
          <a:prstGeom prst="rect">
            <a:avLst/>
          </a:prstGeom>
        </p:spPr>
        <p:txBody>
          <a:bodyPr vert="horz" anchor="ctr"/>
          <a:lstStyle>
            <a:lvl1pPr algn="ctr" eaLnBrk="1" latinLnBrk="0" hangingPunct="1">
              <a:defRPr kumimoji="0" sz="1200" b="0">
                <a:solidFill>
                  <a:schemeClr val="tx1"/>
                </a:solidFill>
              </a:defRPr>
            </a:lvl1pPr>
          </a:lstStyle>
          <a:p>
            <a:fld id="{03D9EA4B-A161-4483-89F9-6F4160F155F1}" type="slidenum">
              <a:rPr lang="en-IN" smtClean="0">
                <a:solidFill>
                  <a:prstClr val="black"/>
                </a:solidFill>
              </a:rPr>
              <a:pPr/>
              <a:t>‹#›</a:t>
            </a:fld>
            <a:endParaRPr lang="en-IN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" y="650788"/>
            <a:ext cx="12191999" cy="32952"/>
          </a:xfrm>
          <a:prstGeom prst="line">
            <a:avLst/>
          </a:prstGeom>
          <a:noFill/>
          <a:ln w="55000" cap="flat" cmpd="thickThin" algn="ctr">
            <a:solidFill>
              <a:srgbClr val="C0392B">
                <a:tint val="90000"/>
                <a:satMod val="130000"/>
              </a:srgbClr>
            </a:solidFill>
            <a:prstDash val="solid"/>
          </a:ln>
          <a:effectLst>
            <a:outerShdw blurRad="50800" dist="38100" dir="5400000" rotWithShape="0">
              <a:srgbClr val="000000">
                <a:alpha val="35000"/>
              </a:srgbClr>
            </a:outerShdw>
          </a:effectLst>
        </p:spPr>
      </p:cxnSp>
      <p:pic>
        <p:nvPicPr>
          <p:cNvPr id="3" name="Picture 2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8A8AFC6A-5463-04FE-5952-79E46EF103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653013" cy="653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6905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" name="Picture 1" descr="A blu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5FF8E884-8CDD-CF7B-61C5-13C9940C750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47" y="17093"/>
            <a:ext cx="640934" cy="64093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940F44E-486C-505D-823B-19149CDF36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7936" y="-419737"/>
            <a:ext cx="1577227" cy="164214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D3194AB-AC81-9EC5-0698-C0E922E3259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1536" y="189399"/>
            <a:ext cx="749389" cy="423873"/>
          </a:xfrm>
          <a:prstGeom prst="rect">
            <a:avLst/>
          </a:prstGeom>
        </p:spPr>
      </p:pic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1BFBF00-6E3A-2457-F1F0-F0D122190C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709EAAFA-83AC-6349-FAA4-3514D3C15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675BBF4-A29C-036A-45AF-4917E8016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EB0BCC-F855-FD46-96BF-E40D1E3EA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632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Picture 6" descr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08"/>
            <a:ext cx="12182941" cy="6856395"/>
          </a:xfrm>
          <a:prstGeom prst="rect">
            <a:avLst/>
          </a:prstGeom>
          <a:ln w="12700">
            <a:miter lim="400000"/>
          </a:ln>
        </p:spPr>
      </p:pic>
      <p:sp>
        <p:nvSpPr>
          <p:cNvPr id="81" name="Title Text"/>
          <p:cNvSpPr txBox="1">
            <a:spLocks noGrp="1"/>
          </p:cNvSpPr>
          <p:nvPr>
            <p:ph type="title"/>
          </p:nvPr>
        </p:nvSpPr>
        <p:spPr>
          <a:xfrm>
            <a:off x="839789" y="457200"/>
            <a:ext cx="3932239" cy="1600200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8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83187" y="987427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ClrTx/>
              <a:buSzTx/>
              <a:buNone/>
              <a:defRPr sz="1600"/>
            </a:lvl1pPr>
          </a:lstStyle>
          <a:p>
            <a:pPr marL="0" indent="0">
              <a:buClrTx/>
              <a:buSzTx/>
              <a:buNone/>
              <a:defRPr sz="1600"/>
            </a:pPr>
            <a:endParaRPr/>
          </a:p>
        </p:txBody>
      </p:sp>
      <p:sp>
        <p:nvSpPr>
          <p:cNvPr id="8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485987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9336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\\jaskirat\Shared\2015\OVL\August\template\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35" t="1764" r="73529" b="83138"/>
          <a:stretch/>
        </p:blipFill>
        <p:spPr bwMode="auto">
          <a:xfrm>
            <a:off x="11074402" y="195263"/>
            <a:ext cx="1068780" cy="68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\\jaskirat\Shared\2015\OVL\August\template\2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824" t="61569"/>
          <a:stretch/>
        </p:blipFill>
        <p:spPr bwMode="auto">
          <a:xfrm>
            <a:off x="10923037" y="5562600"/>
            <a:ext cx="1268963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76200"/>
            <a:ext cx="10363200" cy="757892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914400"/>
            <a:ext cx="10769600" cy="5067300"/>
          </a:xfrm>
        </p:spPr>
        <p:txBody>
          <a:bodyPr>
            <a:normAutofit/>
          </a:bodyPr>
          <a:lstStyle>
            <a:lvl1pPr marL="342900" indent="-342900">
              <a:buClr>
                <a:schemeClr val="tx2"/>
              </a:buClr>
              <a:buFont typeface="Webdings" panose="05030102010509060703" pitchFamily="18" charset="2"/>
              <a:buChar char=""/>
              <a:defRPr sz="2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2"/>
              </a:buClr>
              <a:buFont typeface="Wingdings" panose="05000000000000000000" pitchFamily="2" charset="2"/>
              <a:buChar char="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6450" indent="-228600">
              <a:tabLst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806450" indent="-228600">
              <a:tabLst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06450" indent="-228600">
              <a:tabLst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srgbClr val="1F497D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1F497D">
                  <a:lumMod val="50000"/>
                </a:srgbClr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016000" y="838200"/>
            <a:ext cx="10058400" cy="0"/>
          </a:xfrm>
          <a:prstGeom prst="line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ONGC VIDESH Limited (@ongcvideshltd) / Twitter">
            <a:extLst>
              <a:ext uri="{FF2B5EF4-FFF2-40B4-BE49-F238E27FC236}">
                <a16:creationId xmlns:a16="http://schemas.microsoft.com/office/drawing/2014/main" id="{5750C956-BAF7-8527-27FC-216C9F37A3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18" y="63500"/>
            <a:ext cx="800097" cy="800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8142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\\jaskirat\Shared\2015\OVL\August\template\2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074" name="Picture 2" descr="ONGC VIDESH Limited (@ongcvideshltd) / Twitter">
            <a:extLst>
              <a:ext uri="{FF2B5EF4-FFF2-40B4-BE49-F238E27FC236}">
                <a16:creationId xmlns:a16="http://schemas.microsoft.com/office/drawing/2014/main" id="{6DA36FA7-B0E4-3201-3694-73D0B61A69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00" y="136522"/>
            <a:ext cx="1231900" cy="1231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173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733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40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1566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674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974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0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980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slideLayout" Target="../slideLayouts/slideLayout13.xml"/><Relationship Id="rId47" Type="http://schemas.openxmlformats.org/officeDocument/2006/relationships/chart" Target="../charts/chart8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image" Target="../media/image22.emf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oleObject" Target="../embeddings/oleObject2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notesSlide" Target="../notesSlides/notesSlide2.xml"/><Relationship Id="rId48" Type="http://schemas.openxmlformats.org/officeDocument/2006/relationships/chart" Target="../charts/chart9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chart" Target="../charts/chart7.xml"/><Relationship Id="rId20" Type="http://schemas.openxmlformats.org/officeDocument/2006/relationships/tags" Target="../tags/tag20.xml"/><Relationship Id="rId41" Type="http://schemas.openxmlformats.org/officeDocument/2006/relationships/tags" Target="../tags/tag4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5.png"/><Relationship Id="rId3" Type="http://schemas.openxmlformats.org/officeDocument/2006/relationships/image" Target="../media/image32.png"/><Relationship Id="rId21" Type="http://schemas.openxmlformats.org/officeDocument/2006/relationships/image" Target="../media/image50.jpe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jpeg"/><Relationship Id="rId25" Type="http://schemas.openxmlformats.org/officeDocument/2006/relationships/image" Target="../media/image54.png"/><Relationship Id="rId2" Type="http://schemas.openxmlformats.org/officeDocument/2006/relationships/image" Target="../media/image31.png"/><Relationship Id="rId16" Type="http://schemas.openxmlformats.org/officeDocument/2006/relationships/image" Target="../media/image45.jpeg"/><Relationship Id="rId20" Type="http://schemas.openxmlformats.org/officeDocument/2006/relationships/image" Target="../media/image49.png"/><Relationship Id="rId29" Type="http://schemas.openxmlformats.org/officeDocument/2006/relationships/image" Target="../media/image5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24" Type="http://schemas.openxmlformats.org/officeDocument/2006/relationships/image" Target="../media/image53.jpeg"/><Relationship Id="rId32" Type="http://schemas.openxmlformats.org/officeDocument/2006/relationships/image" Target="../media/image61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28" Type="http://schemas.openxmlformats.org/officeDocument/2006/relationships/image" Target="../media/image57.pn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31" Type="http://schemas.openxmlformats.org/officeDocument/2006/relationships/image" Target="../media/image60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jpeg"/><Relationship Id="rId27" Type="http://schemas.openxmlformats.org/officeDocument/2006/relationships/image" Target="../media/image56.png"/><Relationship Id="rId30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2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5.png"/><Relationship Id="rId14" Type="http://schemas.openxmlformats.org/officeDocument/2006/relationships/image" Target="../media/image30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D81EBFFF-3CA9-FA49-0F8B-83D0293F238B}"/>
              </a:ext>
            </a:extLst>
          </p:cNvPr>
          <p:cNvGrpSpPr/>
          <p:nvPr/>
        </p:nvGrpSpPr>
        <p:grpSpPr>
          <a:xfrm>
            <a:off x="150206" y="3255924"/>
            <a:ext cx="11854951" cy="1777697"/>
            <a:chOff x="7600" y="2968079"/>
            <a:chExt cx="9136400" cy="914400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823B863-6A64-13CD-A35B-67B4E9AF4F76}"/>
                </a:ext>
              </a:extLst>
            </p:cNvPr>
            <p:cNvSpPr/>
            <p:nvPr/>
          </p:nvSpPr>
          <p:spPr>
            <a:xfrm>
              <a:off x="7600" y="2968079"/>
              <a:ext cx="9136400" cy="914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998380A-8CB0-D501-34EF-4D9009B919DE}"/>
                </a:ext>
              </a:extLst>
            </p:cNvPr>
            <p:cNvSpPr txBox="1"/>
            <p:nvPr/>
          </p:nvSpPr>
          <p:spPr>
            <a:xfrm>
              <a:off x="662257" y="3021585"/>
              <a:ext cx="8290419" cy="807391"/>
            </a:xfrm>
            <a:prstGeom prst="rect">
              <a:avLst/>
            </a:prstGeom>
            <a:solidFill>
              <a:srgbClr val="002060"/>
            </a:solidFill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spAutoFit/>
            </a:bodyPr>
            <a:lstStyle>
              <a:defPPr>
                <a:defRPr lang="en-US"/>
              </a:defPPr>
              <a:lvl1pPr algn="ctr">
                <a:defRPr sz="2000" b="1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FSCA CPSE Summit 2.0: Opportunities in GIFT IFSC</a:t>
              </a:r>
            </a:p>
            <a:p>
              <a:pPr>
                <a:defRPr/>
              </a:pP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xperience Sharing by ONGC </a:t>
              </a:r>
              <a:r>
                <a:rPr kumimoji="0" lang="en-US" sz="3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desh</a:t>
              </a: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Limited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7E85C78-B720-3214-155D-88416A2931DC}"/>
              </a:ext>
            </a:extLst>
          </p:cNvPr>
          <p:cNvGrpSpPr/>
          <p:nvPr/>
        </p:nvGrpSpPr>
        <p:grpSpPr>
          <a:xfrm>
            <a:off x="1350400" y="5282217"/>
            <a:ext cx="9945281" cy="1128581"/>
            <a:chOff x="1295400" y="4062699"/>
            <a:chExt cx="6477000" cy="1128581"/>
          </a:xfrm>
        </p:grpSpPr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DAAC6D21-75A4-A582-2879-1D62F56911BC}"/>
                </a:ext>
              </a:extLst>
            </p:cNvPr>
            <p:cNvCxnSpPr/>
            <p:nvPr/>
          </p:nvCxnSpPr>
          <p:spPr>
            <a:xfrm>
              <a:off x="1295400" y="4062699"/>
              <a:ext cx="6477000" cy="0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BA517F9A-6830-B061-91F9-9A7AEEF786A2}"/>
                </a:ext>
              </a:extLst>
            </p:cNvPr>
            <p:cNvCxnSpPr/>
            <p:nvPr/>
          </p:nvCxnSpPr>
          <p:spPr>
            <a:xfrm>
              <a:off x="1295400" y="5191280"/>
              <a:ext cx="6477000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ight Triangle 25">
            <a:extLst>
              <a:ext uri="{FF2B5EF4-FFF2-40B4-BE49-F238E27FC236}">
                <a16:creationId xmlns:a16="http://schemas.microsoft.com/office/drawing/2014/main" id="{7FBFE3D8-9D7F-E93C-AACE-736DD4EB6ECC}"/>
              </a:ext>
            </a:extLst>
          </p:cNvPr>
          <p:cNvSpPr/>
          <p:nvPr/>
        </p:nvSpPr>
        <p:spPr>
          <a:xfrm flipV="1">
            <a:off x="7600" y="1129661"/>
            <a:ext cx="566425" cy="616226"/>
          </a:xfrm>
          <a:prstGeom prst="rtTriangle">
            <a:avLst/>
          </a:prstGeom>
          <a:solidFill>
            <a:srgbClr val="E7781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8453151-FABF-266A-F8DE-3B7801695C0B}"/>
              </a:ext>
            </a:extLst>
          </p:cNvPr>
          <p:cNvSpPr txBox="1"/>
          <p:nvPr/>
        </p:nvSpPr>
        <p:spPr>
          <a:xfrm>
            <a:off x="391886" y="371789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B4DB8E5-2C9C-4CC2-BD4C-E335D0EA4D87}"/>
              </a:ext>
            </a:extLst>
          </p:cNvPr>
          <p:cNvSpPr txBox="1"/>
          <p:nvPr/>
        </p:nvSpPr>
        <p:spPr>
          <a:xfrm>
            <a:off x="1366576" y="401934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5642F3-8063-6381-E365-2659B218FC0A}"/>
              </a:ext>
            </a:extLst>
          </p:cNvPr>
          <p:cNvSpPr txBox="1"/>
          <p:nvPr/>
        </p:nvSpPr>
        <p:spPr>
          <a:xfrm>
            <a:off x="23657" y="5661842"/>
            <a:ext cx="1216834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b="1" dirty="0">
                <a:solidFill>
                  <a:srgbClr val="0000CC"/>
                </a:solidFill>
                <a:latin typeface="Arial"/>
                <a:cs typeface="Arial"/>
              </a:rPr>
              <a:t>February 2025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6BFE146-A28F-2295-178C-B0B3714E6504}"/>
              </a:ext>
            </a:extLst>
          </p:cNvPr>
          <p:cNvGrpSpPr/>
          <p:nvPr/>
        </p:nvGrpSpPr>
        <p:grpSpPr>
          <a:xfrm>
            <a:off x="-1" y="1089209"/>
            <a:ext cx="12250803" cy="1640552"/>
            <a:chOff x="0" y="854886"/>
            <a:chExt cx="12250803" cy="16405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2DAC9B9-506F-4CFC-F5CA-6EECEB673B6C}"/>
                </a:ext>
              </a:extLst>
            </p:cNvPr>
            <p:cNvGrpSpPr/>
            <p:nvPr/>
          </p:nvGrpSpPr>
          <p:grpSpPr>
            <a:xfrm>
              <a:off x="0" y="854886"/>
              <a:ext cx="9857646" cy="1640552"/>
              <a:chOff x="-20901" y="852272"/>
              <a:chExt cx="9857646" cy="1640552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0883FABD-7943-A168-D9FD-10976B72255A}"/>
                  </a:ext>
                </a:extLst>
              </p:cNvPr>
              <p:cNvGrpSpPr/>
              <p:nvPr/>
            </p:nvGrpSpPr>
            <p:grpSpPr>
              <a:xfrm>
                <a:off x="4370665" y="862504"/>
                <a:ext cx="3204692" cy="1630319"/>
                <a:chOff x="3298671" y="1129660"/>
                <a:chExt cx="2406688" cy="1366684"/>
              </a:xfrm>
            </p:grpSpPr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4F9DA929-D6E8-B498-9464-A260DD7F443B}"/>
                    </a:ext>
                  </a:extLst>
                </p:cNvPr>
                <p:cNvSpPr/>
                <p:nvPr/>
              </p:nvSpPr>
              <p:spPr>
                <a:xfrm>
                  <a:off x="3298671" y="1129660"/>
                  <a:ext cx="2406688" cy="1366684"/>
                </a:xfrm>
                <a:prstGeom prst="rect">
                  <a:avLst/>
                </a:prstGeom>
                <a:solidFill>
                  <a:srgbClr val="004990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6E1515D0-151B-3102-464C-EC59C0A3BDE1}"/>
                    </a:ext>
                  </a:extLst>
                </p:cNvPr>
                <p:cNvSpPr/>
                <p:nvPr/>
              </p:nvSpPr>
              <p:spPr>
                <a:xfrm>
                  <a:off x="4647422" y="1430768"/>
                  <a:ext cx="234924" cy="234924"/>
                </a:xfrm>
                <a:prstGeom prst="ellipse">
                  <a:avLst/>
                </a:prstGeom>
                <a:solidFill>
                  <a:srgbClr val="E5DB19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9FE32EB5-6F9C-2427-FFF9-002E2AD7B2D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038600" y="1467755"/>
                  <a:ext cx="910034" cy="863497"/>
                </a:xfrm>
                <a:prstGeom prst="rect">
                  <a:avLst/>
                </a:prstGeom>
              </p:spPr>
            </p:pic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38379B8F-E409-E190-5B4A-3F2BABCE9190}"/>
                  </a:ext>
                </a:extLst>
              </p:cNvPr>
              <p:cNvGrpSpPr/>
              <p:nvPr/>
            </p:nvGrpSpPr>
            <p:grpSpPr>
              <a:xfrm>
                <a:off x="-20901" y="852272"/>
                <a:ext cx="2130176" cy="1640552"/>
                <a:chOff x="-20901" y="852272"/>
                <a:chExt cx="2130176" cy="1640552"/>
              </a:xfrm>
            </p:grpSpPr>
            <p:pic>
              <p:nvPicPr>
                <p:cNvPr id="8" name="Picture 7" descr="An aerial view of a well in the snow&#10;&#10;Description automatically generated">
                  <a:extLst>
                    <a:ext uri="{FF2B5EF4-FFF2-40B4-BE49-F238E27FC236}">
                      <a16:creationId xmlns:a16="http://schemas.microsoft.com/office/drawing/2014/main" id="{FA1BDA81-C107-11F1-3DD4-DCAF04C4FA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0901" y="852272"/>
                  <a:ext cx="2130176" cy="1640552"/>
                </a:xfrm>
                <a:prstGeom prst="rect">
                  <a:avLst/>
                </a:prstGeom>
              </p:spPr>
            </p:pic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2DAE8EFB-4604-7C13-6CFD-760072A8E700}"/>
                    </a:ext>
                  </a:extLst>
                </p:cNvPr>
                <p:cNvSpPr txBox="1"/>
                <p:nvPr/>
              </p:nvSpPr>
              <p:spPr>
                <a:xfrm>
                  <a:off x="129307" y="2232052"/>
                  <a:ext cx="1791039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900" err="1"/>
                    <a:t>Vankorneft</a:t>
                  </a:r>
                  <a:r>
                    <a:rPr lang="en-US" sz="900"/>
                    <a:t> Drill Site</a:t>
                  </a:r>
                  <a:endParaRPr lang="en-IN" sz="900"/>
                </a:p>
              </p:txBody>
            </p:sp>
          </p:grp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BE92BD73-1481-1613-084B-ED0FB373364F}"/>
                  </a:ext>
                </a:extLst>
              </p:cNvPr>
              <p:cNvGrpSpPr/>
              <p:nvPr/>
            </p:nvGrpSpPr>
            <p:grpSpPr>
              <a:xfrm>
                <a:off x="7561846" y="863341"/>
                <a:ext cx="2274899" cy="1629482"/>
                <a:chOff x="7764284" y="862505"/>
                <a:chExt cx="2274899" cy="1629482"/>
              </a:xfrm>
            </p:grpSpPr>
            <p:pic>
              <p:nvPicPr>
                <p:cNvPr id="4" name="Picture 3" descr="A group of people looking at oil rigs&#10;&#10;Description automatically generated">
                  <a:extLst>
                    <a:ext uri="{FF2B5EF4-FFF2-40B4-BE49-F238E27FC236}">
                      <a16:creationId xmlns:a16="http://schemas.microsoft.com/office/drawing/2014/main" id="{4185DAD9-AEF3-8CDF-5137-F085379E51C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764284" y="870353"/>
                  <a:ext cx="2274899" cy="1621634"/>
                </a:xfrm>
                <a:prstGeom prst="rect">
                  <a:avLst/>
                </a:prstGeom>
              </p:spPr>
            </p:pic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3B9B9589-DD10-B1F1-A070-D6A4158646E8}"/>
                    </a:ext>
                  </a:extLst>
                </p:cNvPr>
                <p:cNvSpPr txBox="1"/>
                <p:nvPr/>
              </p:nvSpPr>
              <p:spPr>
                <a:xfrm>
                  <a:off x="7963933" y="862505"/>
                  <a:ext cx="1791039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900"/>
                    <a:t>MECL Field </a:t>
                  </a:r>
                  <a:endParaRPr lang="en-IN" sz="900"/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CB503F3D-99CB-18EF-AE10-80C11F4791D6}"/>
                  </a:ext>
                </a:extLst>
              </p:cNvPr>
              <p:cNvGrpSpPr/>
              <p:nvPr/>
            </p:nvGrpSpPr>
            <p:grpSpPr>
              <a:xfrm>
                <a:off x="2099618" y="852272"/>
                <a:ext cx="2281335" cy="1640552"/>
                <a:chOff x="2099618" y="852272"/>
                <a:chExt cx="2281335" cy="1640552"/>
              </a:xfrm>
            </p:grpSpPr>
            <p:pic>
              <p:nvPicPr>
                <p:cNvPr id="14" name="Picture 13" descr="A oil rig in the middle of the ocean&#10;&#10;Description automatically generated">
                  <a:extLst>
                    <a:ext uri="{FF2B5EF4-FFF2-40B4-BE49-F238E27FC236}">
                      <a16:creationId xmlns:a16="http://schemas.microsoft.com/office/drawing/2014/main" id="{5B6D49B4-CF62-3714-A8B8-582AF18C94A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099618" y="852272"/>
                  <a:ext cx="2281335" cy="1640552"/>
                </a:xfrm>
                <a:prstGeom prst="rect">
                  <a:avLst/>
                </a:prstGeom>
              </p:spPr>
            </p:pic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60DBB183-A80E-52C7-7826-AA057B2FFA6E}"/>
                    </a:ext>
                  </a:extLst>
                </p:cNvPr>
                <p:cNvSpPr txBox="1"/>
                <p:nvPr/>
              </p:nvSpPr>
              <p:spPr>
                <a:xfrm>
                  <a:off x="2447279" y="2251115"/>
                  <a:ext cx="1453485" cy="2308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900">
                      <a:solidFill>
                        <a:schemeClr val="bg1"/>
                      </a:solidFill>
                    </a:rPr>
                    <a:t>ACG Platform</a:t>
                  </a:r>
                  <a:endParaRPr lang="en-IN" sz="900">
                    <a:solidFill>
                      <a:schemeClr val="bg1"/>
                    </a:solidFill>
                  </a:endParaRPr>
                </a:p>
              </p:txBody>
            </p:sp>
          </p:grpSp>
        </p:grpSp>
        <p:pic>
          <p:nvPicPr>
            <p:cNvPr id="20" name="Picture 19" descr="An aerial view of a platform in the ocean&#10;&#10;Description automatically generated">
              <a:extLst>
                <a:ext uri="{FF2B5EF4-FFF2-40B4-BE49-F238E27FC236}">
                  <a16:creationId xmlns:a16="http://schemas.microsoft.com/office/drawing/2014/main" id="{860050C4-24DD-28BC-A694-06E4B278F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36745" y="870352"/>
              <a:ext cx="2355255" cy="1611595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3AB7045-B707-928F-59ED-3F4889107B1B}"/>
                </a:ext>
              </a:extLst>
            </p:cNvPr>
            <p:cNvSpPr txBox="1"/>
            <p:nvPr/>
          </p:nvSpPr>
          <p:spPr>
            <a:xfrm>
              <a:off x="10092383" y="859476"/>
              <a:ext cx="215842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>
                  <a:solidFill>
                    <a:schemeClr val="bg1"/>
                  </a:solidFill>
                </a:rPr>
                <a:t>Lower </a:t>
              </a:r>
              <a:r>
                <a:rPr lang="en-US" sz="900" err="1">
                  <a:solidFill>
                    <a:schemeClr val="bg1"/>
                  </a:solidFill>
                </a:rPr>
                <a:t>Zakum</a:t>
              </a:r>
              <a:r>
                <a:rPr lang="en-US" sz="900">
                  <a:solidFill>
                    <a:schemeClr val="bg1"/>
                  </a:solidFill>
                </a:rPr>
                <a:t> Offshore Complex</a:t>
              </a:r>
              <a:endParaRPr lang="en-IN" sz="9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10224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/>
          <p:cNvGraphicFramePr/>
          <p:nvPr/>
        </p:nvGraphicFramePr>
        <p:xfrm>
          <a:off x="-367344" y="3848012"/>
          <a:ext cx="10081722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>
                <a:solidFill>
                  <a:srgbClr val="1F497D">
                    <a:lumMod val="50000"/>
                  </a:srgbClr>
                </a:solidFill>
                <a:latin typeface="Calibri"/>
              </a:rPr>
              <a:pPr/>
              <a:t>10</a:t>
            </a:fld>
            <a:endParaRPr lang="en-US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47182" y="0"/>
            <a:ext cx="12192000" cy="584775"/>
          </a:xfr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 dirty="0">
                <a:latin typeface="Calibri"/>
                <a:ea typeface="+mn-ea"/>
                <a:cs typeface="Calibri"/>
              </a:rPr>
              <a:t>Production vis-à-vis National Production</a:t>
            </a:r>
          </a:p>
        </p:txBody>
      </p:sp>
      <p:sp>
        <p:nvSpPr>
          <p:cNvPr id="13" name="TextBox 9"/>
          <p:cNvSpPr txBox="1">
            <a:spLocks noChangeArrowheads="1"/>
          </p:cNvSpPr>
          <p:nvPr/>
        </p:nvSpPr>
        <p:spPr bwMode="auto">
          <a:xfrm>
            <a:off x="8747125" y="6347651"/>
            <a:ext cx="140335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2" tIns="45701" rIns="91402" bIns="45701">
            <a:spAutoFit/>
          </a:bodyPr>
          <a:lstStyle>
            <a:lvl1pPr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  <a:defRPr sz="26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 eaLnBrk="0" hangingPunct="0">
              <a:spcBef>
                <a:spcPts val="500"/>
              </a:spcBef>
              <a:buClr>
                <a:schemeClr val="accent2"/>
              </a:buClr>
              <a:buSzPct val="76000"/>
              <a:buFont typeface="Wingdings 3" pitchFamily="18" charset="2"/>
              <a:buChar char=""/>
              <a:defRPr sz="2300">
                <a:solidFill>
                  <a:schemeClr val="tx2"/>
                </a:solidFill>
                <a:latin typeface="Gill Sans MT" pitchFamily="34" charset="0"/>
              </a:defRPr>
            </a:lvl2pPr>
            <a:lvl3pPr marL="1143000" indent="-228600" eaLnBrk="0" hangingPunct="0">
              <a:spcBef>
                <a:spcPts val="500"/>
              </a:spcBef>
              <a:buClr>
                <a:srgbClr val="BCBCBC"/>
              </a:buClr>
              <a:buSzPct val="76000"/>
              <a:buFont typeface="Wingdings 3" pitchFamily="18" charset="2"/>
              <a:buChar char=""/>
              <a:defRPr sz="20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 eaLnBrk="0" hangingPunct="0">
              <a:spcBef>
                <a:spcPts val="400"/>
              </a:spcBef>
              <a:buClr>
                <a:srgbClr val="000057"/>
              </a:buClr>
              <a:buSzPct val="70000"/>
              <a:buFont typeface="Wingdings" pitchFamily="2" charset="2"/>
              <a:buChar char=""/>
              <a:defRPr sz="20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 eaLnBrk="0" hangingPunct="0">
              <a:spcBef>
                <a:spcPts val="300"/>
              </a:spcBef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1281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" pitchFamily="2" charset="2"/>
              <a:buChar char=""/>
              <a:defRPr sz="16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None/>
            </a:pPr>
            <a:r>
              <a:rPr lang="en-US" altLang="en-US" sz="11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 : PPAC</a:t>
            </a:r>
            <a:endParaRPr lang="en-IN" altLang="en-US" sz="11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Chart 14"/>
          <p:cNvGraphicFramePr/>
          <p:nvPr/>
        </p:nvGraphicFramePr>
        <p:xfrm>
          <a:off x="-833509" y="905303"/>
          <a:ext cx="10644259" cy="2927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9FB4A19-44EF-9CE0-8BE9-CF572EF2A0EE}"/>
              </a:ext>
            </a:extLst>
          </p:cNvPr>
          <p:cNvGraphicFramePr>
            <a:graphicFrameLocks/>
          </p:cNvGraphicFramePr>
          <p:nvPr/>
        </p:nvGraphicFramePr>
        <p:xfrm>
          <a:off x="9714378" y="905304"/>
          <a:ext cx="2477622" cy="2304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A8D63CC-8296-26D9-A75C-BC9D5AC040DF}"/>
              </a:ext>
            </a:extLst>
          </p:cNvPr>
          <p:cNvGraphicFramePr>
            <a:graphicFrameLocks/>
          </p:cNvGraphicFramePr>
          <p:nvPr/>
        </p:nvGraphicFramePr>
        <p:xfrm>
          <a:off x="9714379" y="3819349"/>
          <a:ext cx="2477622" cy="2304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4236571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66382B1-AC97-FC4D-5F74-698F07C9C3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4" imgW="404" imgH="405" progId="TCLayout.ActiveDocument.1">
                  <p:embed/>
                </p:oleObj>
              </mc:Choice>
              <mc:Fallback>
                <p:oleObj name="think-cell Slide" r:id="rId44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6382B1-AC97-FC4D-5F74-698F07C9C3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F20D11-CAEF-7218-F9BE-88CDC534CF1D}"/>
              </a:ext>
            </a:extLst>
          </p:cNvPr>
          <p:cNvCxnSpPr/>
          <p:nvPr/>
        </p:nvCxnSpPr>
        <p:spPr>
          <a:xfrm>
            <a:off x="4247724" y="886478"/>
            <a:ext cx="0" cy="484730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0F2D3D35-451D-0F1E-F428-2576CB9AAE2F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316538" y="2076450"/>
          <a:ext cx="2332037" cy="3408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EF743D7-C6A6-D483-CB53-D6062C4BE3F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822825" y="2578100"/>
            <a:ext cx="4587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5C4EAC0-0158-4300-806E-34D0D8C3BD9E}" type="datetime'''''''''O''''''''''''''''''''''''N''G''''C''''''''''''''''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ONGC</a:t>
            </a:fld>
            <a:endParaRPr lang="en-US" sz="1400"/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5F84A0BD-8FA5-5B0F-4FB6-3F6E1603D9F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967288" y="3121025"/>
            <a:ext cx="3143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9C07F16-9181-48FA-8248-679BFA0A7001}" type="datetime'''''O''''''''''''''''''''''VL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OVL</a:t>
            </a:fld>
            <a:endParaRPr lang="en-US" sz="1400"/>
          </a:p>
        </p:txBody>
      </p:sp>
      <p:sp>
        <p:nvSpPr>
          <p:cNvPr id="112" name="Text Placeholder 3">
            <a:extLst>
              <a:ext uri="{FF2B5EF4-FFF2-40B4-BE49-F238E27FC236}">
                <a16:creationId xmlns:a16="http://schemas.microsoft.com/office/drawing/2014/main" id="{BBC86332-AAE8-2F6F-331D-994D872DC3C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022850" y="3662363"/>
            <a:ext cx="2587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F14E1FF7-A1E0-4E85-8B71-A040891E56F2}" type="datetime'''''''''''''''''''''''''''''O''I''''''''''''''L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OIL</a:t>
            </a:fld>
            <a:endParaRPr lang="en-US" sz="1400"/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F3BD523E-D45B-9007-1E23-413019BD55C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16488" y="4205288"/>
            <a:ext cx="3651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BEF7020-6DA6-4795-862C-E80855E25047}" type="datetime'''''''''''''''''''''I''''''''''''''''''''''''O''CL''''''''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IOCL</a:t>
            </a:fld>
            <a:endParaRPr lang="en-US" sz="1400"/>
          </a:p>
        </p:txBody>
      </p:sp>
      <p:sp>
        <p:nvSpPr>
          <p:cNvPr id="54" name="Text Placeholder 3">
            <a:extLst>
              <a:ext uri="{FF2B5EF4-FFF2-40B4-BE49-F238E27FC236}">
                <a16:creationId xmlns:a16="http://schemas.microsoft.com/office/drawing/2014/main" id="{7D37F5D4-F11D-9C46-7951-6C181584CC9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889500" y="4748213"/>
            <a:ext cx="39211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4A419BD6-AA3F-410F-ABAE-9FB2A9883F56}" type="datetime'''''B''''''P''''''''''''R''''''''''''''L''''''''''''''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BPRL</a:t>
            </a:fld>
            <a:endParaRPr lang="en-US" sz="1400"/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6F2F85B6-074E-C423-3349-3B69934FB0C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591424" y="2562225"/>
            <a:ext cx="44450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83858BA2-FA65-4671-86DC-81539BDD7BAF}" type="datetime'''''''''''''''''''''''''4''''''''1''''''''.''8'''''''''''''''">
              <a:rPr lang="en-US" altLang="en-US" sz="1600" smtClean="0"/>
              <a:pPr/>
              <a:t>41.8</a:t>
            </a:fld>
            <a:endParaRPr lang="en-US" sz="1600"/>
          </a:p>
        </p:txBody>
      </p:sp>
      <p:sp>
        <p:nvSpPr>
          <p:cNvPr id="86" name="Text Placeholder 3">
            <a:extLst>
              <a:ext uri="{FF2B5EF4-FFF2-40B4-BE49-F238E27FC236}">
                <a16:creationId xmlns:a16="http://schemas.microsoft.com/office/drawing/2014/main" id="{DF3D721A-A54C-9FAB-EC6D-37062A8641B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970588" y="3105150"/>
            <a:ext cx="44450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3313F29-890E-4BE3-8F81-41B7302E42B9}" type="datetime'''10''''''''''''''''''''''''''''.''5'''''''''">
              <a:rPr lang="en-US" altLang="en-US" sz="1600" smtClean="0"/>
              <a:pPr/>
              <a:t>10.5</a:t>
            </a:fld>
            <a:endParaRPr lang="en-US" sz="1600"/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7A8F8C62-E164-838D-E29F-0573685BCA3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875338" y="3646488"/>
            <a:ext cx="338138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D5A42EE3-BA3D-4048-A2AE-DB39D3CC6BC9}" type="datetime'''''''''''''''''''''''''''''8''''''.''''''''7'''''''">
              <a:rPr lang="en-US" altLang="en-US" sz="1600" smtClean="0"/>
              <a:pPr/>
              <a:t>8.7</a:t>
            </a:fld>
            <a:endParaRPr lang="en-US" sz="160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54CFF46-BC2E-9158-4CAA-2D851B23B1E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561013" y="4732338"/>
            <a:ext cx="338138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B8D1662-E625-454A-98EE-E12FEDEE590E}" type="datetime'''''''''''''''''''''''''2''''''''''''''''''''''.''6'''''">
              <a:rPr lang="en-US" altLang="en-US" sz="1600" smtClean="0"/>
              <a:pPr/>
              <a:t>2.6</a:t>
            </a:fld>
            <a:endParaRPr lang="en-US" sz="1600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CB6B90B5-355F-A57A-5465-C5702E665E7C}"/>
              </a:ext>
            </a:extLst>
          </p:cNvPr>
          <p:cNvGraphicFramePr/>
          <p:nvPr>
            <p:custDataLst>
              <p:tags r:id="rId13"/>
            </p:custDataLst>
          </p:nvPr>
        </p:nvGraphicFramePr>
        <p:xfrm>
          <a:off x="939800" y="2117725"/>
          <a:ext cx="2957513" cy="3424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55" name="Text Placeholder 3">
            <a:extLst>
              <a:ext uri="{FF2B5EF4-FFF2-40B4-BE49-F238E27FC236}">
                <a16:creationId xmlns:a16="http://schemas.microsoft.com/office/drawing/2014/main" id="{BC9F05E5-1879-2ADE-20AA-31208DEED6BC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81025" y="2565400"/>
            <a:ext cx="3492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16CD3466-A5D9-4982-844D-2F581F29D344}" type="datetime'''''''''''''''F''''''''''Y’''''''''2''''''4'''">
              <a:rPr lang="en-US" altLang="en-US" sz="11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FY’24</a:t>
            </a:fld>
            <a:endParaRPr lang="en-US" sz="1100" dirty="0"/>
          </a:p>
        </p:txBody>
      </p:sp>
      <p:sp>
        <p:nvSpPr>
          <p:cNvPr id="153" name="Text Placeholder 3">
            <a:extLst>
              <a:ext uri="{FF2B5EF4-FFF2-40B4-BE49-F238E27FC236}">
                <a16:creationId xmlns:a16="http://schemas.microsoft.com/office/drawing/2014/main" id="{BB7F7A40-473D-A194-1AB8-931ADDF49DD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81025" y="3033713"/>
            <a:ext cx="3492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5070BDC-56F7-49B7-9D7F-801236A9BD3B}" type="datetime'''F''''''Y''''''''''''''''''''''''''’''2''''''''''''''2'''''''">
              <a:rPr lang="en-US" altLang="en-US" sz="11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FY’22</a:t>
            </a:fld>
            <a:endParaRPr lang="en-US" sz="1100"/>
          </a:p>
        </p:txBody>
      </p:sp>
      <p:sp>
        <p:nvSpPr>
          <p:cNvPr id="151" name="Text Placeholder 3">
            <a:extLst>
              <a:ext uri="{FF2B5EF4-FFF2-40B4-BE49-F238E27FC236}">
                <a16:creationId xmlns:a16="http://schemas.microsoft.com/office/drawing/2014/main" id="{ADBF990E-C462-BE44-8D3B-8D41B1FD63D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81025" y="3502025"/>
            <a:ext cx="3492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E0FB4E58-11D3-4734-9C8F-F7A36631AB8D}" type="datetime'''F''''''Y''''''''’''''''''''20'''''''''''''''''">
              <a:rPr lang="en-US" altLang="en-US" sz="11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FY’20</a:t>
            </a:fld>
            <a:endParaRPr lang="en-US" sz="1100"/>
          </a:p>
        </p:txBody>
      </p:sp>
      <p:sp>
        <p:nvSpPr>
          <p:cNvPr id="149" name="Text Placeholder 3">
            <a:extLst>
              <a:ext uri="{FF2B5EF4-FFF2-40B4-BE49-F238E27FC236}">
                <a16:creationId xmlns:a16="http://schemas.microsoft.com/office/drawing/2014/main" id="{04319F43-2108-AA45-9B37-0B01754DE07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81025" y="3971925"/>
            <a:ext cx="3492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9B80EF2E-817E-4021-BE8F-C355600F16AD}" type="datetime'F''''Y''''’''''''''''''''''''''''''1''''''''8'''''''">
              <a:rPr lang="en-US" altLang="en-US" sz="11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FY’18</a:t>
            </a:fld>
            <a:endParaRPr lang="en-US" sz="1100"/>
          </a:p>
        </p:txBody>
      </p:sp>
      <p:sp>
        <p:nvSpPr>
          <p:cNvPr id="146" name="Text Placeholder 3">
            <a:extLst>
              <a:ext uri="{FF2B5EF4-FFF2-40B4-BE49-F238E27FC236}">
                <a16:creationId xmlns:a16="http://schemas.microsoft.com/office/drawing/2014/main" id="{C7BAA8B2-6E7D-E92D-B07E-1BB8442DB39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81025" y="4440238"/>
            <a:ext cx="3492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3E35C4C-02F3-4E97-92FA-38B6414C5658}" type="datetime'''F''''Y''''''''''''’''''''''''''''''''''1''6'''">
              <a:rPr lang="en-US" altLang="en-US" sz="11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FY’16</a:t>
            </a:fld>
            <a:endParaRPr lang="en-US" sz="1100"/>
          </a:p>
        </p:txBody>
      </p:sp>
      <p:sp>
        <p:nvSpPr>
          <p:cNvPr id="143" name="Text Placeholder 3">
            <a:extLst>
              <a:ext uri="{FF2B5EF4-FFF2-40B4-BE49-F238E27FC236}">
                <a16:creationId xmlns:a16="http://schemas.microsoft.com/office/drawing/2014/main" id="{AE5936DD-C50E-2498-696C-EDBACE05460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81025" y="4908550"/>
            <a:ext cx="34925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63678A45-02FC-44D8-96D8-748A9BBF0588}" type="datetime'''''''''''''F''''Y''’''''''''1''''''4'''''''''''''">
              <a:rPr lang="en-US" altLang="en-US" sz="1100" smtClean="0">
                <a:effectLst/>
              </a:rPr>
              <a:pPr lvl="0" algn="r">
                <a:spcBef>
                  <a:spcPct val="0"/>
                </a:spcBef>
                <a:spcAft>
                  <a:spcPct val="0"/>
                </a:spcAft>
              </a:pPr>
              <a:t>FY’14</a:t>
            </a:fld>
            <a:endParaRPr lang="en-US" sz="1100"/>
          </a:p>
        </p:txBody>
      </p:sp>
      <p:sp>
        <p:nvSpPr>
          <p:cNvPr id="171" name="Text Placeholder 3">
            <a:extLst>
              <a:ext uri="{FF2B5EF4-FFF2-40B4-BE49-F238E27FC236}">
                <a16:creationId xmlns:a16="http://schemas.microsoft.com/office/drawing/2014/main" id="{3F25738E-041B-F49A-B679-14457A6913A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397250" y="2565400"/>
            <a:ext cx="3048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91356CF-602F-407A-BE02-AD6150CE6541}" type="datetime'''''''''''''''5''''''''''''0''''''.''5'''''">
              <a:rPr lang="en-US" altLang="en-US" sz="1100" smtClean="0"/>
              <a:pPr/>
              <a:t>50.5</a:t>
            </a:fld>
            <a:endParaRPr lang="en-US" sz="1100"/>
          </a:p>
        </p:txBody>
      </p:sp>
      <p:sp>
        <p:nvSpPr>
          <p:cNvPr id="169" name="Text Placeholder 3">
            <a:extLst>
              <a:ext uri="{FF2B5EF4-FFF2-40B4-BE49-F238E27FC236}">
                <a16:creationId xmlns:a16="http://schemas.microsoft.com/office/drawing/2014/main" id="{B3A446B7-2BF4-5E01-BEBB-012E3801651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505200" y="3033713"/>
            <a:ext cx="3048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3AAA9BAC-C4F7-472C-B5C6-2D7DC87C86C3}" type="datetime'''''''''''''''''''''''''''''''''''''5''''''2''''.''8'">
              <a:rPr lang="en-US" altLang="en-US" sz="1100" smtClean="0"/>
              <a:pPr/>
              <a:t>52.8</a:t>
            </a:fld>
            <a:endParaRPr lang="en-US" sz="1100"/>
          </a:p>
        </p:txBody>
      </p:sp>
      <p:sp>
        <p:nvSpPr>
          <p:cNvPr id="167" name="Text Placeholder 3">
            <a:extLst>
              <a:ext uri="{FF2B5EF4-FFF2-40B4-BE49-F238E27FC236}">
                <a16:creationId xmlns:a16="http://schemas.microsoft.com/office/drawing/2014/main" id="{3F4F9AED-02DF-7166-9040-D03C8B3B7BB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821113" y="3502025"/>
            <a:ext cx="3048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31F87A1-69F5-4564-BE24-3A04304005C1}" type="datetime'''''''''''''''5''''''''''''''9''''''.''6'''''''''''''">
              <a:rPr lang="en-US" altLang="en-US" sz="1100" smtClean="0"/>
              <a:pPr/>
              <a:t>59.6</a:t>
            </a:fld>
            <a:endParaRPr lang="en-US" sz="1100"/>
          </a:p>
        </p:txBody>
      </p:sp>
      <p:sp>
        <p:nvSpPr>
          <p:cNvPr id="165" name="Text Placeholder 3">
            <a:extLst>
              <a:ext uri="{FF2B5EF4-FFF2-40B4-BE49-F238E27FC236}">
                <a16:creationId xmlns:a16="http://schemas.microsoft.com/office/drawing/2014/main" id="{43D21D85-BA92-D149-D4FD-E31C11B7361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840163" y="3971925"/>
            <a:ext cx="3048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157815E1-FD02-48BB-AC6F-261C41164D3B}" type="datetime'''''''''6''''''''''''0''''''.0'''''''''''''''''''''''''">
              <a:rPr lang="en-US" altLang="en-US" sz="1100" smtClean="0"/>
              <a:pPr/>
              <a:t>60.0</a:t>
            </a:fld>
            <a:endParaRPr lang="en-US" sz="1100"/>
          </a:p>
        </p:txBody>
      </p:sp>
      <p:sp>
        <p:nvSpPr>
          <p:cNvPr id="162" name="Text Placeholder 3">
            <a:extLst>
              <a:ext uri="{FF2B5EF4-FFF2-40B4-BE49-F238E27FC236}">
                <a16:creationId xmlns:a16="http://schemas.microsoft.com/office/drawing/2014/main" id="{1B2B9578-FEC6-F749-DB48-F154FD9E4AF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486150" y="4440238"/>
            <a:ext cx="3048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6BDC4A0-DB7F-44F0-8CC9-DD1DFDA64690}" type="datetime'''''''5''''2''''''''''''''.''''''''''''''''''''''4'''''">
              <a:rPr lang="en-US" altLang="en-US" sz="1100" smtClean="0"/>
              <a:pPr/>
              <a:t>52.4</a:t>
            </a:fld>
            <a:endParaRPr lang="en-US" sz="1100"/>
          </a:p>
        </p:txBody>
      </p:sp>
      <p:sp>
        <p:nvSpPr>
          <p:cNvPr id="159" name="Text Placeholder 3">
            <a:extLst>
              <a:ext uri="{FF2B5EF4-FFF2-40B4-BE49-F238E27FC236}">
                <a16:creationId xmlns:a16="http://schemas.microsoft.com/office/drawing/2014/main" id="{5D4C7427-E23D-1600-3245-79C18F6A1C9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556000" y="4908550"/>
            <a:ext cx="304800" cy="184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B4075629-54A3-404B-AE59-CAE2B8A92BD2}" type="datetime'''''''''''''''''''''''5''''''3''''''''''''''''''''.9'">
              <a:rPr lang="en-US" altLang="en-US" sz="1100" smtClean="0"/>
              <a:pPr/>
              <a:t>53.9</a:t>
            </a:fld>
            <a:endParaRPr lang="en-US" sz="11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9A904E2-9C46-3558-996E-114571BD4B44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1584326" y="5484813"/>
            <a:ext cx="250825" cy="187325"/>
          </a:xfrm>
          <a:prstGeom prst="rect">
            <a:avLst/>
          </a:prstGeom>
          <a:solidFill>
            <a:srgbClr val="0070C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2088F190-1C89-21F3-9BD7-6FBBF4A4852E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2301876" y="5484813"/>
            <a:ext cx="250825" cy="187325"/>
          </a:xfrm>
          <a:prstGeom prst="rect">
            <a:avLst/>
          </a:prstGeom>
          <a:solidFill>
            <a:srgbClr val="93CDDD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594E7CC-4307-6EE5-226C-DBCCE0591CE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885950" y="5464175"/>
            <a:ext cx="3143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A310384-529E-4044-9672-A1A924D4C0EA}" type="datetime'''''''''''''''''O''''''''''''''V''''''''''''''''''''''L'">
              <a:rPr lang="en-US" altLang="en-US" sz="1400" smtClean="0"/>
              <a:pPr/>
              <a:t>OVL</a:t>
            </a:fld>
            <a:endParaRPr lang="en-US" sz="1400"/>
          </a:p>
        </p:txBody>
      </p:sp>
      <p:sp>
        <p:nvSpPr>
          <p:cNvPr id="160" name="Text Placeholder 3">
            <a:extLst>
              <a:ext uri="{FF2B5EF4-FFF2-40B4-BE49-F238E27FC236}">
                <a16:creationId xmlns:a16="http://schemas.microsoft.com/office/drawing/2014/main" id="{B7B1B9EE-5836-36B3-A68B-58427A11D35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603500" y="5464175"/>
            <a:ext cx="4587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5DC96B3F-0AFD-4FC7-8DDF-D96639DBC0E1}" type="datetime'''O''''''''''''''''''''''''''N''G''''''''''''''''''''''''C'''">
              <a:rPr lang="en-US" altLang="en-US" sz="1400" smtClean="0"/>
              <a:pPr/>
              <a:t>ONGC</a:t>
            </a:fld>
            <a:endParaRPr lang="en-US" sz="1400"/>
          </a:p>
        </p:txBody>
      </p:sp>
      <p:sp>
        <p:nvSpPr>
          <p:cNvPr id="158" name="object 41">
            <a:extLst>
              <a:ext uri="{FF2B5EF4-FFF2-40B4-BE49-F238E27FC236}">
                <a16:creationId xmlns:a16="http://schemas.microsoft.com/office/drawing/2014/main" id="{E1C09A56-8CD9-B31C-7D0D-9CAFA0853343}"/>
              </a:ext>
            </a:extLst>
          </p:cNvPr>
          <p:cNvSpPr txBox="1"/>
          <p:nvPr/>
        </p:nvSpPr>
        <p:spPr>
          <a:xfrm>
            <a:off x="551605" y="2060893"/>
            <a:ext cx="1630464" cy="1968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200" dirty="0">
                <a:solidFill>
                  <a:srgbClr val="0070C0"/>
                </a:solidFill>
                <a:latin typeface="Trebuchet MS"/>
                <a:cs typeface="Trebuchet MS"/>
              </a:rPr>
              <a:t>Production</a:t>
            </a:r>
            <a:r>
              <a:rPr sz="1200" spc="-25" dirty="0">
                <a:solidFill>
                  <a:srgbClr val="0070C0"/>
                </a:solidFill>
                <a:latin typeface="Trebuchet MS"/>
                <a:cs typeface="Trebuchet MS"/>
              </a:rPr>
              <a:t> </a:t>
            </a:r>
            <a:r>
              <a:rPr sz="1200" dirty="0">
                <a:solidFill>
                  <a:srgbClr val="0070C0"/>
                </a:solidFill>
                <a:latin typeface="Trebuchet MS"/>
                <a:cs typeface="Trebuchet MS"/>
              </a:rPr>
              <a:t>in</a:t>
            </a:r>
            <a:r>
              <a:rPr sz="1200" spc="-45" dirty="0">
                <a:solidFill>
                  <a:srgbClr val="0070C0"/>
                </a:solidFill>
                <a:latin typeface="Trebuchet MS"/>
                <a:cs typeface="Trebuchet MS"/>
              </a:rPr>
              <a:t> </a:t>
            </a:r>
            <a:r>
              <a:rPr sz="1200" spc="-10" dirty="0">
                <a:solidFill>
                  <a:srgbClr val="0070C0"/>
                </a:solidFill>
                <a:latin typeface="Trebuchet MS"/>
                <a:cs typeface="Trebuchet MS"/>
              </a:rPr>
              <a:t>MMTOE</a:t>
            </a:r>
            <a:endParaRPr sz="1200" dirty="0">
              <a:solidFill>
                <a:srgbClr val="0070C0"/>
              </a:solidFill>
              <a:latin typeface="Trebuchet MS"/>
              <a:cs typeface="Trebuchet MS"/>
            </a:endParaRPr>
          </a:p>
        </p:txBody>
      </p:sp>
      <p:sp>
        <p:nvSpPr>
          <p:cNvPr id="176" name="object 41">
            <a:extLst>
              <a:ext uri="{FF2B5EF4-FFF2-40B4-BE49-F238E27FC236}">
                <a16:creationId xmlns:a16="http://schemas.microsoft.com/office/drawing/2014/main" id="{39F58C32-F3C3-656B-47F7-EE31FEFD2CBF}"/>
              </a:ext>
            </a:extLst>
          </p:cNvPr>
          <p:cNvSpPr txBox="1"/>
          <p:nvPr/>
        </p:nvSpPr>
        <p:spPr>
          <a:xfrm>
            <a:off x="4731713" y="2060893"/>
            <a:ext cx="3450692" cy="1968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200" dirty="0">
                <a:solidFill>
                  <a:srgbClr val="0070C0"/>
                </a:solidFill>
                <a:latin typeface="Trebuchet MS"/>
                <a:cs typeface="Trebuchet MS"/>
              </a:rPr>
              <a:t>Production</a:t>
            </a:r>
            <a:r>
              <a:rPr sz="1200" spc="-25" dirty="0">
                <a:solidFill>
                  <a:srgbClr val="0070C0"/>
                </a:solidFill>
                <a:latin typeface="Trebuchet MS"/>
                <a:cs typeface="Trebuchet MS"/>
              </a:rPr>
              <a:t> </a:t>
            </a:r>
            <a:r>
              <a:rPr sz="1200" dirty="0">
                <a:solidFill>
                  <a:srgbClr val="0070C0"/>
                </a:solidFill>
                <a:latin typeface="Trebuchet MS"/>
                <a:cs typeface="Trebuchet MS"/>
              </a:rPr>
              <a:t>in</a:t>
            </a:r>
            <a:r>
              <a:rPr sz="1200" spc="-45" dirty="0">
                <a:solidFill>
                  <a:srgbClr val="0070C0"/>
                </a:solidFill>
                <a:latin typeface="Trebuchet MS"/>
                <a:cs typeface="Trebuchet MS"/>
              </a:rPr>
              <a:t> </a:t>
            </a:r>
            <a:r>
              <a:rPr lang="en-US" sz="1200" spc="-10" dirty="0">
                <a:solidFill>
                  <a:srgbClr val="0070C0"/>
                </a:solidFill>
                <a:latin typeface="Trebuchet MS"/>
                <a:cs typeface="Trebuchet MS"/>
              </a:rPr>
              <a:t>MMTOE</a:t>
            </a:r>
            <a:endParaRPr sz="1200" dirty="0">
              <a:solidFill>
                <a:srgbClr val="0070C0"/>
              </a:solidFill>
              <a:latin typeface="Trebuchet MS"/>
              <a:cs typeface="Trebuchet MS"/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96B902DB-4365-CF7E-32C2-E70DD761658B}"/>
              </a:ext>
            </a:extLst>
          </p:cNvPr>
          <p:cNvSpPr txBox="1"/>
          <p:nvPr/>
        </p:nvSpPr>
        <p:spPr>
          <a:xfrm>
            <a:off x="551605" y="1136699"/>
            <a:ext cx="3352745" cy="6463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solidFill>
                  <a:srgbClr val="0070C0"/>
                </a:solidFill>
              </a:rPr>
              <a:t>Contributes ~21% of ONGC's total O&amp;G production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029549F1-9877-2BA5-26CD-1E63D5817162}"/>
              </a:ext>
            </a:extLst>
          </p:cNvPr>
          <p:cNvSpPr txBox="1"/>
          <p:nvPr/>
        </p:nvSpPr>
        <p:spPr>
          <a:xfrm>
            <a:off x="4522392" y="1136699"/>
            <a:ext cx="3352745" cy="6463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0070C0"/>
                </a:solidFill>
              </a:rPr>
              <a:t>2</a:t>
            </a:r>
            <a:r>
              <a:rPr lang="en-US" baseline="30000">
                <a:solidFill>
                  <a:srgbClr val="0070C0"/>
                </a:solidFill>
              </a:rPr>
              <a:t>nd</a:t>
            </a:r>
            <a:r>
              <a:rPr lang="en-US">
                <a:solidFill>
                  <a:srgbClr val="0070C0"/>
                </a:solidFill>
              </a:rPr>
              <a:t> largest Indian upstream company after parent …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69C31E64-5049-83F9-D945-43FE2A433A80}"/>
              </a:ext>
            </a:extLst>
          </p:cNvPr>
          <p:cNvGraphicFramePr/>
          <p:nvPr>
            <p:custDataLst>
              <p:tags r:id="rId30"/>
            </p:custDataLst>
          </p:nvPr>
        </p:nvGraphicFramePr>
        <p:xfrm>
          <a:off x="8970963" y="2076450"/>
          <a:ext cx="2727325" cy="4010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2B77AE79-453E-B288-EA7A-E6AD62FA61A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477249" y="2582863"/>
            <a:ext cx="45878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56D118F6-6FDE-4147-81FC-9E95AD5D16BB}" type="datetime'''''''''''''''''O''N''''G''''''''''''C''''''''''''''''''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ONGC</a:t>
            </a:fld>
            <a:endParaRPr lang="en-US" sz="140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4E5B9111-14F4-B35D-E4B2-6337208AD70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621713" y="3135313"/>
            <a:ext cx="3143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DDE0B133-B223-4FC9-B6B5-FD1C470DF3E6}" type="datetime'''''''OV''''L''''''''''''''''''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OVL</a:t>
            </a:fld>
            <a:endParaRPr lang="en-US" sz="140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1CCF6AF-57AD-37B3-C631-63ABA3E45DD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677275" y="3687763"/>
            <a:ext cx="2587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067593E1-C512-43EB-BEF4-77284E64579D}" type="datetime'''''''''OIL''''''''''''''''''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OIL</a:t>
            </a:fld>
            <a:endParaRPr lang="en-US" sz="1400"/>
          </a:p>
        </p:txBody>
      </p:sp>
      <p:sp>
        <p:nvSpPr>
          <p:cNvPr id="114" name="Text Placeholder 3">
            <a:extLst>
              <a:ext uri="{FF2B5EF4-FFF2-40B4-BE49-F238E27FC236}">
                <a16:creationId xmlns:a16="http://schemas.microsoft.com/office/drawing/2014/main" id="{2B745238-B5A3-FCCB-C439-9CDD7BDF11B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570913" y="4240213"/>
            <a:ext cx="3651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870CA889-66BC-4711-90B2-5E0A8C679B9C}" type="datetime'''''''''''''I''''''''''''O''''''CL''''''''''''''''''''''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IOCL</a:t>
            </a:fld>
            <a:endParaRPr lang="en-US" sz="140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C043A4-374C-606F-3A5E-E9B28643740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8570913" y="4792663"/>
            <a:ext cx="36512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A0BF50C2-919B-43A8-ACC5-591ADF6C0F5C}" type="datetime'''''''''''''G''''''''A''''''''''''I''''''''''''''''''''''L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GAIL</a:t>
            </a:fld>
            <a:endParaRPr lang="en-US" sz="140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C5405ECF-BA34-5CD7-1EF0-B247D036553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524875" y="5345113"/>
            <a:ext cx="411163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 algn="r">
              <a:spcBef>
                <a:spcPct val="0"/>
              </a:spcBef>
              <a:spcAft>
                <a:spcPct val="0"/>
              </a:spcAft>
            </a:pPr>
            <a:fld id="{23D3F70C-C305-43B7-94B6-DFD1306332F2}" type="datetime'''''''''''''''''''H''P''''''''''''''''''''''''CL'''">
              <a:rPr lang="en-US" altLang="en-US" sz="1400" smtClean="0"/>
              <a:pPr lvl="0" algn="r">
                <a:spcBef>
                  <a:spcPct val="0"/>
                </a:spcBef>
                <a:spcAft>
                  <a:spcPct val="0"/>
                </a:spcAft>
              </a:pPr>
              <a:t>HPCL</a:t>
            </a:fld>
            <a:endParaRPr lang="en-US" sz="140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0805ACA-3999-11C7-08F8-491FA6A6922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078914" y="5329238"/>
            <a:ext cx="157163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2DFD533D-3437-41A8-BB93-2527DA02FB96}" type="datetime'''''''''''''''''0'''''''''''''''''''''''''''''''''''''">
              <a:rPr lang="en-US" altLang="en-US" sz="1600" smtClean="0"/>
              <a:pPr lvl="0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160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B4CE05-6AD3-7129-2650-E1694D641496}"/>
              </a:ext>
            </a:extLst>
          </p:cNvPr>
          <p:cNvSpPr txBox="1"/>
          <p:nvPr/>
        </p:nvSpPr>
        <p:spPr>
          <a:xfrm>
            <a:off x="8493179" y="1136699"/>
            <a:ext cx="3352745" cy="6463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0070C0"/>
                </a:solidFill>
              </a:rPr>
              <a:t>… and 2</a:t>
            </a:r>
            <a:r>
              <a:rPr lang="en-US" baseline="30000">
                <a:solidFill>
                  <a:srgbClr val="0070C0"/>
                </a:solidFill>
              </a:rPr>
              <a:t>nd</a:t>
            </a:r>
            <a:r>
              <a:rPr lang="en-US">
                <a:solidFill>
                  <a:srgbClr val="0070C0"/>
                </a:solidFill>
              </a:rPr>
              <a:t> largest Indian player by reserves</a:t>
            </a:r>
          </a:p>
        </p:txBody>
      </p:sp>
      <p:sp>
        <p:nvSpPr>
          <p:cNvPr id="61" name="object 41">
            <a:extLst>
              <a:ext uri="{FF2B5EF4-FFF2-40B4-BE49-F238E27FC236}">
                <a16:creationId xmlns:a16="http://schemas.microsoft.com/office/drawing/2014/main" id="{F7DDB087-1FA8-7DE9-C5A1-C3E3F62AADFC}"/>
              </a:ext>
            </a:extLst>
          </p:cNvPr>
          <p:cNvSpPr txBox="1"/>
          <p:nvPr/>
        </p:nvSpPr>
        <p:spPr>
          <a:xfrm>
            <a:off x="8825129" y="2060893"/>
            <a:ext cx="3210661" cy="19685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z="1200" spc="-10" dirty="0">
                <a:solidFill>
                  <a:srgbClr val="0070C0"/>
                </a:solidFill>
                <a:latin typeface="Trebuchet MS"/>
                <a:cs typeface="Trebuchet MS"/>
              </a:rPr>
              <a:t>2P Reserves (MMTOE)</a:t>
            </a:r>
            <a:endParaRPr sz="1200" dirty="0">
              <a:solidFill>
                <a:srgbClr val="0070C0"/>
              </a:solidFill>
              <a:latin typeface="Trebuchet MS"/>
              <a:cs typeface="Trebuchet MS"/>
            </a:endParaRP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81530513-DF9B-65C5-FA6B-5C809700DD9C}"/>
              </a:ext>
            </a:extLst>
          </p:cNvPr>
          <p:cNvCxnSpPr/>
          <p:nvPr/>
        </p:nvCxnSpPr>
        <p:spPr>
          <a:xfrm>
            <a:off x="8189258" y="886478"/>
            <a:ext cx="0" cy="484730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A7D349A2-BB7C-2CA2-056E-6F8CF4675E8F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029201" y="5484813"/>
            <a:ext cx="250825" cy="187325"/>
          </a:xfrm>
          <a:prstGeom prst="rect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36921A-2EDA-93A2-FED7-AE5F0C93E404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6215064" y="5484813"/>
            <a:ext cx="250825" cy="187325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ADC653B7-651D-2896-506A-9FB4C7CF477D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330825" y="5464175"/>
            <a:ext cx="782638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CB701B6E-4B38-4A95-8316-AF69BF74A887}" type="datetime'Do''m''''''e''s''''''''''''''''''''''''''t''''i''''c'''''' 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Domestic </a:t>
            </a:fld>
            <a:endParaRPr lang="en-US" sz="1400"/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20AC65C-42BB-506A-C41C-CED2FFFCA0C3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516688" y="5464175"/>
            <a:ext cx="1031875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fld id="{4482059B-1C6C-492C-878F-FD6171291AC9}" type="datetime'''In''''t''''''''e''rn''at''i''''''on''a''l'''''''''">
              <a:rPr lang="en-US" altLang="en-US" sz="1400" smtClean="0"/>
              <a:pPr lvl="0">
                <a:spcBef>
                  <a:spcPct val="0"/>
                </a:spcBef>
                <a:spcAft>
                  <a:spcPct val="0"/>
                </a:spcAft>
              </a:pPr>
              <a:t>International</a:t>
            </a:fld>
            <a:endParaRPr lang="en-US" sz="1400"/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F0280B35-E009-57E1-1B9A-69E3B2B259A1}"/>
              </a:ext>
            </a:extLst>
          </p:cNvPr>
          <p:cNvSpPr txBox="1"/>
          <p:nvPr/>
        </p:nvSpPr>
        <p:spPr>
          <a:xfrm>
            <a:off x="6701492" y="2871583"/>
            <a:ext cx="1622763" cy="78790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i="1" dirty="0">
                <a:solidFill>
                  <a:srgbClr val="002060"/>
                </a:solidFill>
              </a:rPr>
              <a:t>Only company producing from operated assets overseas</a:t>
            </a: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02E53A5F-C13C-0B32-8F79-50D88A3EA2D2}"/>
              </a:ext>
            </a:extLst>
          </p:cNvPr>
          <p:cNvCxnSpPr>
            <a:cxnSpLocks/>
          </p:cNvCxnSpPr>
          <p:nvPr/>
        </p:nvCxnSpPr>
        <p:spPr>
          <a:xfrm flipH="1">
            <a:off x="6515919" y="3245055"/>
            <a:ext cx="186813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633D9721-36AC-FA31-67FE-972915E3BE88}"/>
              </a:ext>
            </a:extLst>
          </p:cNvPr>
          <p:cNvSpPr txBox="1">
            <a:spLocks/>
          </p:cNvSpPr>
          <p:nvPr/>
        </p:nvSpPr>
        <p:spPr>
          <a:xfrm>
            <a:off x="683096" y="41580"/>
            <a:ext cx="8077200" cy="584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b="1" dirty="0">
                <a:solidFill>
                  <a:srgbClr val="0070C0"/>
                </a:solidFill>
                <a:cs typeface="Calibri"/>
              </a:rPr>
              <a:t>ONGC Videsh: 2</a:t>
            </a:r>
            <a:r>
              <a:rPr lang="en-US" sz="2800" b="1" baseline="30000" dirty="0">
                <a:solidFill>
                  <a:srgbClr val="0070C0"/>
                </a:solidFill>
                <a:cs typeface="Calibri"/>
              </a:rPr>
              <a:t>nd</a:t>
            </a:r>
            <a:r>
              <a:rPr lang="en-US" sz="2800" b="1" dirty="0">
                <a:solidFill>
                  <a:srgbClr val="0070C0"/>
                </a:solidFill>
                <a:cs typeface="Calibri"/>
              </a:rPr>
              <a:t> Largest E&amp;P Compan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1685EEE-8BF4-F1BC-8934-32168F5B0D67}"/>
              </a:ext>
            </a:extLst>
          </p:cNvPr>
          <p:cNvSpPr/>
          <p:nvPr/>
        </p:nvSpPr>
        <p:spPr>
          <a:xfrm>
            <a:off x="4522391" y="2968421"/>
            <a:ext cx="3761819" cy="572770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D804D94-719C-F15B-FB13-8906E21FE9EB}"/>
              </a:ext>
            </a:extLst>
          </p:cNvPr>
          <p:cNvSpPr/>
          <p:nvPr/>
        </p:nvSpPr>
        <p:spPr>
          <a:xfrm>
            <a:off x="8490883" y="2955979"/>
            <a:ext cx="3099225" cy="572770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99894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114BF67B-91B5-6D47-D8B3-EB916B70ADC7}"/>
              </a:ext>
            </a:extLst>
          </p:cNvPr>
          <p:cNvGrpSpPr/>
          <p:nvPr/>
        </p:nvGrpSpPr>
        <p:grpSpPr>
          <a:xfrm>
            <a:off x="2362201" y="1219199"/>
            <a:ext cx="7019924" cy="4627927"/>
            <a:chOff x="2734444" y="1219200"/>
            <a:chExt cx="6104756" cy="2838450"/>
          </a:xfrm>
        </p:grpSpPr>
        <p:sp>
          <p:nvSpPr>
            <p:cNvPr id="5" name="Rounded Rectangle 4"/>
            <p:cNvSpPr/>
            <p:nvPr/>
          </p:nvSpPr>
          <p:spPr>
            <a:xfrm>
              <a:off x="3574157" y="1219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duction of ONGC Videsh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574157" y="16764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Footprints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3574157" y="21336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s and Production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574157" y="2619375"/>
              <a:ext cx="5257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Partners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3574157" y="3124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 @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3581400" y="367665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ing attractiveness of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734444" y="1219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734444" y="16764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2734444" y="2133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734444" y="2590800"/>
              <a:ext cx="685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2734444" y="3124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2734444" y="3657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200"/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12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CD50639-E040-7EC4-CC30-AF817404C982}"/>
              </a:ext>
            </a:extLst>
          </p:cNvPr>
          <p:cNvSpPr txBox="1">
            <a:spLocks/>
          </p:cNvSpPr>
          <p:nvPr/>
        </p:nvSpPr>
        <p:spPr>
          <a:xfrm>
            <a:off x="601107" y="63279"/>
            <a:ext cx="9144000" cy="5334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defTabSz="914400">
              <a:spcBef>
                <a:spcPct val="0"/>
              </a:spcBef>
              <a:buNone/>
              <a:defRPr sz="44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esentation Overview</a:t>
            </a:r>
            <a:endParaRPr lang="en-IN" sz="3200" b="1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662715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>
                <a:solidFill>
                  <a:srgbClr val="1F497D">
                    <a:lumMod val="50000"/>
                  </a:srgbClr>
                </a:solidFill>
                <a:latin typeface="Calibri"/>
              </a:rPr>
              <a:pPr/>
              <a:t>13</a:t>
            </a:fld>
            <a:endParaRPr lang="en-US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70C247B0-A5E6-0339-DAD1-766BF6F7C22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61934" y="7392"/>
            <a:ext cx="6665913" cy="584775"/>
          </a:xfrm>
          <a:noFill/>
        </p:spPr>
        <p:txBody>
          <a:bodyPr wrap="square" rtlCol="0">
            <a:spAutoFit/>
          </a:bodyPr>
          <a:lstStyle/>
          <a:p>
            <a:pPr algn="l"/>
            <a:r>
              <a:rPr lang="en-IN" sz="3200" b="1" dirty="0">
                <a:latin typeface="Calibri"/>
                <a:ea typeface="+mn-ea"/>
                <a:cs typeface="Calibri"/>
              </a:rPr>
              <a:t>Global Partners</a:t>
            </a:r>
            <a:endParaRPr lang="en-US" sz="3200" b="1" dirty="0">
              <a:latin typeface="Calibri"/>
              <a:ea typeface="+mn-ea"/>
              <a:cs typeface="Calibri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C2F05A5-7176-C284-B921-6D5FA0738B0A}"/>
              </a:ext>
            </a:extLst>
          </p:cNvPr>
          <p:cNvGrpSpPr/>
          <p:nvPr/>
        </p:nvGrpSpPr>
        <p:grpSpPr>
          <a:xfrm>
            <a:off x="376481" y="874120"/>
            <a:ext cx="11402007" cy="5805562"/>
            <a:chOff x="1514140" y="959132"/>
            <a:chExt cx="9113872" cy="5673577"/>
          </a:xfrm>
        </p:grpSpPr>
        <p:pic>
          <p:nvPicPr>
            <p:cNvPr id="25" name="Picture 2">
              <a:extLst>
                <a:ext uri="{FF2B5EF4-FFF2-40B4-BE49-F238E27FC236}">
                  <a16:creationId xmlns:a16="http://schemas.microsoft.com/office/drawing/2014/main" id="{8F4145B2-11D6-1790-7135-B4C3600DEAA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9346" y="959132"/>
              <a:ext cx="1426156" cy="9006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15">
              <a:extLst>
                <a:ext uri="{FF2B5EF4-FFF2-40B4-BE49-F238E27FC236}">
                  <a16:creationId xmlns:a16="http://schemas.microsoft.com/office/drawing/2014/main" id="{1135F527-35DC-2C91-A284-74F16C6E68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3728" y="3103052"/>
              <a:ext cx="1311115" cy="786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3">
              <a:extLst>
                <a:ext uri="{FF2B5EF4-FFF2-40B4-BE49-F238E27FC236}">
                  <a16:creationId xmlns:a16="http://schemas.microsoft.com/office/drawing/2014/main" id="{6EE087C4-AB83-A444-F20F-A1FECDB05F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987" b="23016"/>
            <a:stretch>
              <a:fillRect/>
            </a:stretch>
          </p:blipFill>
          <p:spPr bwMode="auto">
            <a:xfrm>
              <a:off x="3739416" y="5958140"/>
              <a:ext cx="1747656" cy="639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6">
              <a:extLst>
                <a:ext uri="{FF2B5EF4-FFF2-40B4-BE49-F238E27FC236}">
                  <a16:creationId xmlns:a16="http://schemas.microsoft.com/office/drawing/2014/main" id="{DD83FCFC-0301-BFB2-EC15-18B759E566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890" b="29785"/>
            <a:stretch>
              <a:fillRect/>
            </a:stretch>
          </p:blipFill>
          <p:spPr bwMode="auto">
            <a:xfrm>
              <a:off x="1514140" y="4621286"/>
              <a:ext cx="2747683" cy="7184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14">
              <a:extLst>
                <a:ext uri="{FF2B5EF4-FFF2-40B4-BE49-F238E27FC236}">
                  <a16:creationId xmlns:a16="http://schemas.microsoft.com/office/drawing/2014/main" id="{E95F9F28-CD0E-AFC5-60C4-236AF969C0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147" b="8994"/>
            <a:stretch>
              <a:fillRect/>
            </a:stretch>
          </p:blipFill>
          <p:spPr bwMode="auto">
            <a:xfrm>
              <a:off x="7866571" y="5768763"/>
              <a:ext cx="1380400" cy="623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3" name="Picture 17">
              <a:extLst>
                <a:ext uri="{FF2B5EF4-FFF2-40B4-BE49-F238E27FC236}">
                  <a16:creationId xmlns:a16="http://schemas.microsoft.com/office/drawing/2014/main" id="{5EFABC7D-6491-4251-5F31-E3FF6B8E24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82" t="11305" r="9518" b="8115"/>
            <a:stretch>
              <a:fillRect/>
            </a:stretch>
          </p:blipFill>
          <p:spPr bwMode="auto">
            <a:xfrm>
              <a:off x="1796365" y="5280939"/>
              <a:ext cx="1327919" cy="7995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Picture 22">
              <a:extLst>
                <a:ext uri="{FF2B5EF4-FFF2-40B4-BE49-F238E27FC236}">
                  <a16:creationId xmlns:a16="http://schemas.microsoft.com/office/drawing/2014/main" id="{506988F7-CFA6-8319-12DE-30FB2DEB2A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0885" y="2013461"/>
              <a:ext cx="1239227" cy="7045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3">
              <a:extLst>
                <a:ext uri="{FF2B5EF4-FFF2-40B4-BE49-F238E27FC236}">
                  <a16:creationId xmlns:a16="http://schemas.microsoft.com/office/drawing/2014/main" id="{736E4B80-9726-9604-E535-6A852C502F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20" t="9071" r="2362" b="10645"/>
            <a:stretch>
              <a:fillRect/>
            </a:stretch>
          </p:blipFill>
          <p:spPr bwMode="auto">
            <a:xfrm>
              <a:off x="3948536" y="5191696"/>
              <a:ext cx="1329417" cy="6026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6" name="Picture 5">
              <a:extLst>
                <a:ext uri="{FF2B5EF4-FFF2-40B4-BE49-F238E27FC236}">
                  <a16:creationId xmlns:a16="http://schemas.microsoft.com/office/drawing/2014/main" id="{3128904D-5DAC-1316-FD58-62835B344F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6090" y="1553811"/>
              <a:ext cx="1089911" cy="962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Picture 6">
              <a:extLst>
                <a:ext uri="{FF2B5EF4-FFF2-40B4-BE49-F238E27FC236}">
                  <a16:creationId xmlns:a16="http://schemas.microsoft.com/office/drawing/2014/main" id="{E8A8240C-D7AC-C44A-6261-3C085833F0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12" t="5841" r="15994" b="10088"/>
            <a:stretch>
              <a:fillRect/>
            </a:stretch>
          </p:blipFill>
          <p:spPr bwMode="auto">
            <a:xfrm>
              <a:off x="3358555" y="3180912"/>
              <a:ext cx="1167331" cy="764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7">
              <a:extLst>
                <a:ext uri="{FF2B5EF4-FFF2-40B4-BE49-F238E27FC236}">
                  <a16:creationId xmlns:a16="http://schemas.microsoft.com/office/drawing/2014/main" id="{488C2FF9-719B-BD36-B2FE-D0C3C4A8D3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627" b="34186"/>
            <a:stretch>
              <a:fillRect/>
            </a:stretch>
          </p:blipFill>
          <p:spPr bwMode="auto">
            <a:xfrm>
              <a:off x="1742309" y="4054401"/>
              <a:ext cx="1661991" cy="4655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9">
              <a:extLst>
                <a:ext uri="{FF2B5EF4-FFF2-40B4-BE49-F238E27FC236}">
                  <a16:creationId xmlns:a16="http://schemas.microsoft.com/office/drawing/2014/main" id="{63D2B8AA-5E6B-3E74-0192-822F6BDD7F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0557" y="3604322"/>
              <a:ext cx="1427455" cy="7895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4" descr="http://nilepetsouthsudan.com/images/logo.png">
              <a:extLst>
                <a:ext uri="{FF2B5EF4-FFF2-40B4-BE49-F238E27FC236}">
                  <a16:creationId xmlns:a16="http://schemas.microsoft.com/office/drawing/2014/main" id="{ABEF0C6F-CCA3-FA36-5852-CC009276FE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53914" y="1799091"/>
              <a:ext cx="1035297" cy="8091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2">
              <a:extLst>
                <a:ext uri="{FF2B5EF4-FFF2-40B4-BE49-F238E27FC236}">
                  <a16:creationId xmlns:a16="http://schemas.microsoft.com/office/drawing/2014/main" id="{D2BF9B72-5A37-A97F-E09D-A02F215ED2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8725" y="2850423"/>
              <a:ext cx="1134646" cy="797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Picture 2" descr="http://www.energy-dz.com/wordpress/wp-content/uploads/2012/01/logo_pttep.jpg">
              <a:extLst>
                <a:ext uri="{FF2B5EF4-FFF2-40B4-BE49-F238E27FC236}">
                  <a16:creationId xmlns:a16="http://schemas.microsoft.com/office/drawing/2014/main" id="{AA661F03-393F-2A94-AD43-43E8633C16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2925" y="1611382"/>
              <a:ext cx="1049314" cy="969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Picture 4">
              <a:extLst>
                <a:ext uri="{FF2B5EF4-FFF2-40B4-BE49-F238E27FC236}">
                  <a16:creationId xmlns:a16="http://schemas.microsoft.com/office/drawing/2014/main" id="{B40D754B-B9C0-B141-4B9D-42A478EC39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62628" y="4013474"/>
              <a:ext cx="924186" cy="652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Picture 10">
              <a:extLst>
                <a:ext uri="{FF2B5EF4-FFF2-40B4-BE49-F238E27FC236}">
                  <a16:creationId xmlns:a16="http://schemas.microsoft.com/office/drawing/2014/main" id="{B3027BF2-1198-6A61-5B40-A812A8383A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57607" y="1000182"/>
              <a:ext cx="883046" cy="949856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2">
              <a:extLst>
                <a:ext uri="{FF2B5EF4-FFF2-40B4-BE49-F238E27FC236}">
                  <a16:creationId xmlns:a16="http://schemas.microsoft.com/office/drawing/2014/main" id="{FCF85B6E-9157-49D3-27AB-A396B44DCDD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8044" y="2032005"/>
              <a:ext cx="1521589" cy="920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Picture 7">
              <a:extLst>
                <a:ext uri="{FF2B5EF4-FFF2-40B4-BE49-F238E27FC236}">
                  <a16:creationId xmlns:a16="http://schemas.microsoft.com/office/drawing/2014/main" id="{908FD12E-C173-26A2-2017-0D5668CADD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9109" y="2226786"/>
              <a:ext cx="1037505" cy="631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7" name="Picture 4" descr="http://3.bp.blogspot.com/-zY0NxTI2Do8/TgiDPdXNmTI/AAAAAAAAX2E/sAOnCpucssY/s1600/Eni_Logo3.jpg">
              <a:extLst>
                <a:ext uri="{FF2B5EF4-FFF2-40B4-BE49-F238E27FC236}">
                  <a16:creationId xmlns:a16="http://schemas.microsoft.com/office/drawing/2014/main" id="{F539FE5F-AE60-DFB3-E198-44355797B3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2096" y="2791177"/>
              <a:ext cx="1252835" cy="728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Picture 2" descr="http://www.businessreviewcanada.ca/money_matters/exxon-mobil.jpg">
              <a:extLst>
                <a:ext uri="{FF2B5EF4-FFF2-40B4-BE49-F238E27FC236}">
                  <a16:creationId xmlns:a16="http://schemas.microsoft.com/office/drawing/2014/main" id="{310AE24C-2E87-91FB-79DD-7CEE6512B5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759" b="25684"/>
            <a:stretch>
              <a:fillRect/>
            </a:stretch>
          </p:blipFill>
          <p:spPr bwMode="auto">
            <a:xfrm>
              <a:off x="5722862" y="5248282"/>
              <a:ext cx="1658673" cy="554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9" name="AutoShape 5" descr="data:image/jpeg;base64,/9j/4AAQSkZJRgABAQAAAQABAAD/2wCEAAkGBxESEhMUExMTFhUWGSAZGRcYGBofHRodHyIcHRoaGB8hHSoiGxwlHB0eITEmMSksLjouICAzODQsNygtLy0BCgoKDg0OGxAQGzIkICYvLDQ0Li00LC8sNy0yNTQsNDQvLzQ0NiwsLDQ0LSwtNC0sNyw0LDQsLCwsLCwsLCw0MP/AABEIAEYAlgMBEQACEQEDEQH/xAAbAAEAAwEBAQEAAAAAAAAAAAAABAUGBwMCAf/EADoQAAIBAgMFBQUHAgcAAAAAAAECAwARBBIhBRMxQVEGByJhcTKBkaGxFCNSYnKS0cLhFRYXM1OCov/EABoBAQACAwEAAAAAAAAAAAAAAAADBAIFBgH/xAAyEQABBAAEBAQFAwUBAAAAAAABAAIDEQQSITEFQVFhE4GRoSJCccHwI7HhFBUyUtGi/9oADAMBAAIRAxEAPwDuNESiJREoiURKIlESiJREoiURKIlESiJREoiURKIlESiJRF5YrEpGpeRlVRxLGwrJrS40AsXPawW40FmMT3g4FTYF381XT52q23h8x7Kg7ikDTV2p2ye1+DxBCpJlY8FcZST0F9CajlwksYsjRTQ46GU0Dr3V9VZW0oirTtyD7yzE7vRiBpfhYHmf4qbwH6d1WOLiGbXbdSoMYjmwOtgbHjY8KwcwjdSMmY40Dqm0MakMbSPcKouSBfT0oxhe4NG6ykkbG0udsFU7N7X4OeRYo3Jdr2BUi9gTxPkKmkwkrG5nDRVosfBK4MadfoVfVWVxZzE9t8DG7I0jXUkGyMdRx5VbbgpnCwFRfxHDtcWk7dipm1O0mGw4jaVmUSC6+EnTTj04io48NJISG8lLNi4oQC87qu/z9gP+Rv2N/FS/0E3RQf3TDdfYr7h7dYFmCiRrsQB4G4nQcq8OBmAshet4lh3GgfYrS1UV9KIlESiJRFxXtn2hbFzGx+6Q2ReR/MepP0rocJhxEzud1ymOxRnkof4jb/qutkd3EkkYeaXdki4QLcj9WosfKq8vEWtdTRatw8Ic5tvNdlU7a7FYqCRURGmVvZZFPwb8PvNqnixsb22TSrT8OljeGtGa+n36LpXZCPFpAFxQGZfZOa5K9H8x1rUYoxF9x7LfYMTNjqbf83VD2p2vic7LnGHh1B8SGQj8Srowv6k8Ks4eGOgazHzr1VLF4iWyLyt+ov6gbqvwsqhFJR48LGcw3mj4h/TofgBUrgSd7cemwCqjKGixTB13cfz0VrhpGJVWNnkO9k/Ig1Hppr+2oXADUbDQdypBmJAdu7U9h+a+i0OElGJhdXGjhlt1U6X+o91VHjwngjl+62cEnjxkO536LjMJbCYpb+1DKL+eU/Qj610BqWL6hcy24JhfIrtm1NoLFh5JuSoWHnpcD3mwrnY4y6QM7rrJZQyMv6BcX7OYI4nFxIdcz5mPkPEx+ANdDO8RxE9lyuFjM07R3Wu73BrhvR/6aocM+byWy4z8nn9lRdluyLY2N3EoTK2WxUm+l+tWcRixC4CrVPCYA4hpcHVSv8L3bOjo32hTlYG2Q8jfrVZ3EgQRlV1nCHNcDm27Lo1albxKIlESiKLtS+5ly8cjW9bG1Zx/5i+qjlvI6uhXDez+X7Th8/s71L/uHHyrpJ78N1dCuRw1eM2+oXfK5hdklEXxKPCdbaHXpXo3XjtisIcKoBaMRonOeYZmY/kB+gHvrZ5iTTtT0Gy0LWgDMygP9nak/RU/2Qq+9hhebX/clhcIn5kCtYgcbWPWp81jK412BFqLLrmY0u7kGh9KUvBT58yJJvGfx4jEkEIiDUqt7ac/PQVg4VRIqtm87WTfitrTd6udyAWp7MS7xmkGkdskYPNV5/E/EmqWIGUBp33K2GCOdxeNth9AsN3nbO3eKEgHhmW//YaN8sp99bHh8maLL0Ws4tFkmzDmpO1dvZ9kQJfxM27b0TXX3ZT76wjgrFE8t/X8KlmxWbBNHPb0/ApPdPs67TTkcPu19Tq3ytWPEpNAzzWfB4tXSeS+u93jhvR/6a84Z83knGd2ef2WIwMWJIO5Wci+u7D2v55edbF5jB+OvOlqohMR+nflatNkwY7fw5lxeXOt7iS1ri9/KoZHQ5DVbdlYhbifEbearHVdqrnl1SURKIlESiLinbLs+2EmNgd05ujcv036j6WrocLiBKzuN1ymOwpgk0HwnZX2xu8h0QLPGXKiwdTYn9QPPzqtLw4E2w0rkHFy1tSC+6qttducVNIrRsYVX2VU8b82PP4VNFgY2Np2qrz8SlkdbfhAXRuyE+LkgD4rKGbVRls2Xq3K59BWqxTYmvqNbzBumdHml/PqvHauCs+bLvCdI1t4V9f4rKJ9irrr1VXERFr7rMeQ5BUeNwe8azA4mQcixEMfra1wPUCrLH5RY+Ee5VV7M7qPxu/8hUuLULZDIJI7i8GHZwt/1MGBHvqduuoFHq6rULqrKTY/1bdeuq3/AGawcqoXmVUdrARrwjQeyg6niSfOtZiHtJpuo69St1hYntbmeKJ5DkOiq+8vZ29whcDWIhvdwb6391TYCTLLXVQ8UizwX0XIy5sBfQEm3mbX+g+Fb2ua5izVLt3YzZv2fBxIRZiM7era/IWHurnMVJ4kpK67BQ+FC1qyfe7xw3o/9NXuGfN5LWcZ3Z5/ZUXZTtecFG6CESZmzXz5baAW9k1ZxOE8ZwN0qmDx/wDTtLct33WhwveWzui/ZgMzBb73hc2/BVV3DQATm9v5V5nGMzg3Jv3/AIXQ61S3SURKIlESiLxxWGSVSkiqyniCLismuLTYKxcxrxThYWVxXdzgmN1MyeSsCP8A0pPzq63iMoGtFa5/CYHGxYU7ZHYvB4chlQuw4NIb29BYD5VFLjJZBRNDspoeHwRGwLPdaKqqur8ZQQQeBoDS8IBFFV+I2NE65PEq3uQptf161M2ZwN81WdhI3Ny7DspWEwccQyxqFHkPr1qNz3ONkqeONkYpope9YrNeWKgWRGRhdXUqR1BFj8q9a4tII5LF7Q5padiszH3fYEEG0mhv7f8Aarh4hMeioDhcAN6rVAVSWxVTt7s5BjMm+zeC9srW42v9KnhxD4by81WxGEjnrPyVT/p5gekv7/7VP/cJuyrf2rD9/VfcPYDBKysBJdSCPHzGvSvDj5iK0WTeGQNIItaqqS2CURKIlESiLN/47IZ5IhJhEySBAsjEO1wpuBfW+aw86t+A0MDqJ0vTZUf6l3iFltFGqO52U7tFtOSBEMcYkZnC5eZFiTl87DSo4I2yEhxrRTYmV0bQWi9V+4fbAklhWOxjliaQNz0KgD5m/pR0OVridwaRs4c9obsQT+yibY228WI3QfDRjdh80zEXJZlsNR0vWcUAczNROtaKKbElkmSwNL1U7aWPeLCvN4GZUzaXyk+XO1RRsDpA3uppZCyIv5geSjbH2w8kzxMYXsgfPESQLkjI1ybNpfjwNZywhrA4WNdisIZy95YaOl2P2X5iNpzvJKsO5RIdHklzEFrXKgAiwAIuSedetjYGgusk8gvHSyOc4MoBu5PX29VYYeeR4cwMRkKm2UlkzevEi9ROa0Po3Xupmuc6OxV+otVuztvPO8caJZgCcQGv91a4yjqxYaeWvSpXwBgLidOXdQx4kyODQNfm7fz9tVfVWVtZzbO3pIpZUDYdRHGsn3pILElvCuv5eh41bigDmg66mtFSmxJY8iwKAOvNTsdtVkwonCanJ4W5Z2VTf0zVEyIGTJfX2UskxbFnA6e5VoTUKsKiwmPxk672JYBET4VfNmZb2zZgbLfiBY8utWXRxMOV137KmySaQZ2Vl73ZHW+XoVfVWVxKIlESiJRFQDZOISWV42w2WSTP442LDRRYEMPw34VZ8VhaA4HQVof4VTwZGvc5pFE3qPoOvZWW0cEZDCQQN3IHPnYEW+dRMflB7hTSR5y09Dag4TYO7xRmV/uyrWjt7LMQWKnkDYG3W/WpHT5o8hGvVRMw2SbODp07ndNpbKmbEb6NoNYxGVlQtwZmuLMOtI5WBmRwO96GkkheZM7CNq1F/cKVtDAvNhnhZkDumUkA5QfIXvbyvWDHhkgcNlJJG58RYTqR5L52fsswyyMhURyAEpbg40LDyIA06ivXy52gHcc+y8jhyPJGx5d14T7LmSWR4Hjyy2LxyqSMwAGZSDpcAXHlWQlYWgPB02IWDoXteXRka7g9VL2JgDBCIyQTdmJAsLsxY2HIa2rCaTO6x2UkEZjZlPf3Nr9wOA3cs73B3rBrAcLKF168L14+TM1o6L2OPK5zuqnVGpVXLswfaHmbKwZFUAjUZSxvfzzfKpfF/TDB1KhEP6peeYA9F9bcwLTwNGrBWJUgkXAysraj3UheGPDik8ZkYWg1t+9r0wCT2bftE3Tdqy6c73Y1i8s+S/NZRiSvjIP0Ffcqtw+zMVEN1DNGIr3UshLopNyo1ytzAuPjUzpY3nM4G/ZQNhlYMrHDL9NR9leiqytpREoiURKIlESiJREoiURKIlESiJREoiURKIlESiJREoiURf/Z">
              <a:extLst>
                <a:ext uri="{FF2B5EF4-FFF2-40B4-BE49-F238E27FC236}">
                  <a16:creationId xmlns:a16="http://schemas.microsoft.com/office/drawing/2014/main" id="{C24E61C4-5043-162A-5C49-2A81E3944D7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519347" y="2226785"/>
              <a:ext cx="297967" cy="2979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  <a:defRPr sz="2600">
                  <a:solidFill>
                    <a:schemeClr val="tx1"/>
                  </a:solidFill>
                  <a:latin typeface="Gill Sans MT" pitchFamily="34" charset="0"/>
                </a:defRPr>
              </a:lvl1pPr>
              <a:lvl2pPr marL="742950" indent="-285750" eaLnBrk="0" hangingPunct="0">
                <a:spcBef>
                  <a:spcPts val="500"/>
                </a:spcBef>
                <a:buClr>
                  <a:schemeClr val="accent2"/>
                </a:buClr>
                <a:buSzPct val="76000"/>
                <a:buFont typeface="Wingdings 3" pitchFamily="18" charset="2"/>
                <a:buChar char=""/>
                <a:defRPr sz="2300">
                  <a:solidFill>
                    <a:schemeClr val="tx2"/>
                  </a:solidFill>
                  <a:latin typeface="Gill Sans MT" pitchFamily="34" charset="0"/>
                </a:defRPr>
              </a:lvl2pPr>
              <a:lvl3pPr marL="1143000" indent="-228600" eaLnBrk="0" hangingPunct="0">
                <a:spcBef>
                  <a:spcPts val="500"/>
                </a:spcBef>
                <a:buClr>
                  <a:srgbClr val="BCBCBC"/>
                </a:buClr>
                <a:buSzPct val="76000"/>
                <a:buFont typeface="Wingdings 3" pitchFamily="18" charset="2"/>
                <a:buChar char=""/>
                <a:defRPr sz="2000">
                  <a:solidFill>
                    <a:schemeClr val="tx1"/>
                  </a:solidFill>
                  <a:latin typeface="Gill Sans MT" pitchFamily="34" charset="0"/>
                </a:defRPr>
              </a:lvl3pPr>
              <a:lvl4pPr marL="1600200" indent="-228600" eaLnBrk="0" hangingPunct="0">
                <a:spcBef>
                  <a:spcPts val="400"/>
                </a:spcBef>
                <a:buClr>
                  <a:srgbClr val="000057"/>
                </a:buClr>
                <a:buSzPct val="70000"/>
                <a:buFont typeface="Wingdings" pitchFamily="2" charset="2"/>
                <a:buChar char=""/>
                <a:defRPr sz="2000">
                  <a:solidFill>
                    <a:schemeClr val="tx1"/>
                  </a:solidFill>
                  <a:latin typeface="Gill Sans MT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Clr>
                  <a:schemeClr val="accent2"/>
                </a:buClr>
                <a:buSzPct val="70000"/>
                <a:buFont typeface="Wingdings" pitchFamily="2" charset="2"/>
                <a:buChar char=""/>
                <a:defRPr sz="1600">
                  <a:solidFill>
                    <a:schemeClr val="tx1"/>
                  </a:solidFill>
                  <a:latin typeface="Gill Sans MT" pitchFamily="34" charset="0"/>
                </a:defRPr>
              </a:lvl5pPr>
              <a:lvl6pPr marL="2514600" indent="-228600" defTabSz="912813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70000"/>
                <a:buFont typeface="Wingdings" pitchFamily="2" charset="2"/>
                <a:buChar char=""/>
                <a:defRPr sz="1600">
                  <a:solidFill>
                    <a:schemeClr val="tx1"/>
                  </a:solidFill>
                  <a:latin typeface="Gill Sans MT" pitchFamily="34" charset="0"/>
                </a:defRPr>
              </a:lvl6pPr>
              <a:lvl7pPr marL="2971800" indent="-228600" defTabSz="912813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70000"/>
                <a:buFont typeface="Wingdings" pitchFamily="2" charset="2"/>
                <a:buChar char=""/>
                <a:defRPr sz="1600">
                  <a:solidFill>
                    <a:schemeClr val="tx1"/>
                  </a:solidFill>
                  <a:latin typeface="Gill Sans MT" pitchFamily="34" charset="0"/>
                </a:defRPr>
              </a:lvl7pPr>
              <a:lvl8pPr marL="3429000" indent="-228600" defTabSz="912813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70000"/>
                <a:buFont typeface="Wingdings" pitchFamily="2" charset="2"/>
                <a:buChar char=""/>
                <a:defRPr sz="1600">
                  <a:solidFill>
                    <a:schemeClr val="tx1"/>
                  </a:solidFill>
                  <a:latin typeface="Gill Sans MT" pitchFamily="34" charset="0"/>
                </a:defRPr>
              </a:lvl8pPr>
              <a:lvl9pPr marL="3886200" indent="-228600" defTabSz="912813" eaLnBrk="0" fontAlgn="base" hangingPunct="0"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70000"/>
                <a:buFont typeface="Wingdings" pitchFamily="2" charset="2"/>
                <a:buChar char=""/>
                <a:defRPr sz="1600">
                  <a:solidFill>
                    <a:schemeClr val="tx1"/>
                  </a:solidFill>
                  <a:latin typeface="Gill Sans MT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  <a:buNone/>
              </a:pPr>
              <a:endParaRPr lang="en-US" altLang="en-US" sz="1800">
                <a:solidFill>
                  <a:prstClr val="black"/>
                </a:solidFill>
              </a:endParaRP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14BF2E85-08BA-EFC7-CB3F-B323F1C3EF2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4903828" y="2524753"/>
              <a:ext cx="1009650" cy="1524000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417506A4-EAD9-1010-A98D-98C0BBBC12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7073" y="3939906"/>
              <a:ext cx="1657375" cy="1196508"/>
            </a:xfrm>
            <a:prstGeom prst="rect">
              <a:avLst/>
            </a:prstGeom>
          </p:spPr>
        </p:pic>
        <p:sp>
          <p:nvSpPr>
            <p:cNvPr id="62" name="Flowchart: Terminator 61">
              <a:extLst>
                <a:ext uri="{FF2B5EF4-FFF2-40B4-BE49-F238E27FC236}">
                  <a16:creationId xmlns:a16="http://schemas.microsoft.com/office/drawing/2014/main" id="{8F390DEF-B972-4A93-350A-7229B6D97231}"/>
                </a:ext>
              </a:extLst>
            </p:cNvPr>
            <p:cNvSpPr/>
            <p:nvPr/>
          </p:nvSpPr>
          <p:spPr>
            <a:xfrm>
              <a:off x="2789592" y="994287"/>
              <a:ext cx="6667027" cy="562630"/>
            </a:xfrm>
            <a:prstGeom prst="flowChartTerminator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91440" tIns="45720" rIns="91440" bIns="45720">
              <a:spAutoFit/>
            </a:bodyPr>
            <a:lstStyle/>
            <a:p>
              <a:pPr algn="ctr" defTabSz="457200"/>
              <a:r>
                <a:rPr lang="en-US" sz="200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latin typeface="Calibri"/>
                </a:rPr>
                <a:t>Partnerships with leading IOCs/NOCs worldwide</a:t>
              </a: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169D871B-7B69-7E5A-5992-8DE80B57A8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5859405" y="5958140"/>
              <a:ext cx="1754942" cy="537159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1FADF2DC-BE8C-1DBE-4C18-6F31741CB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2948601" y="1722005"/>
              <a:ext cx="1751195" cy="378774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B512F8D8-61B4-47E3-20C7-E8842157D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56619" y="5464140"/>
              <a:ext cx="1085025" cy="987998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51F66D8C-01B1-F810-A4BE-5E0578A1D2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6096000" y="2898176"/>
              <a:ext cx="1254644" cy="991813"/>
            </a:xfrm>
            <a:prstGeom prst="rect">
              <a:avLst/>
            </a:prstGeom>
          </p:spPr>
        </p:pic>
        <p:pic>
          <p:nvPicPr>
            <p:cNvPr id="67" name="Picture 66" descr="Logo, company name&#10;&#10;Description automatically generated">
              <a:extLst>
                <a:ext uri="{FF2B5EF4-FFF2-40B4-BE49-F238E27FC236}">
                  <a16:creationId xmlns:a16="http://schemas.microsoft.com/office/drawing/2014/main" id="{2173888A-8A57-BD92-4142-C411369ADA4E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4105636" y="4012351"/>
              <a:ext cx="1015216" cy="1015216"/>
            </a:xfrm>
            <a:prstGeom prst="rect">
              <a:avLst/>
            </a:prstGeom>
          </p:spPr>
        </p:pic>
        <p:pic>
          <p:nvPicPr>
            <p:cNvPr id="68" name="Picture 67" descr="Text, logo&#10;&#10;Description automatically generated">
              <a:extLst>
                <a:ext uri="{FF2B5EF4-FFF2-40B4-BE49-F238E27FC236}">
                  <a16:creationId xmlns:a16="http://schemas.microsoft.com/office/drawing/2014/main" id="{F98EFA5B-ED66-EDE2-FAC9-DC37B68AB15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9491480" y="4569660"/>
              <a:ext cx="845606" cy="841847"/>
            </a:xfrm>
            <a:prstGeom prst="rect">
              <a:avLst/>
            </a:prstGeom>
          </p:spPr>
        </p:pic>
        <p:pic>
          <p:nvPicPr>
            <p:cNvPr id="69" name="Picture 68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27316BBF-77AF-F121-EE8C-4B25B9202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7726006" y="4874033"/>
              <a:ext cx="1500143" cy="789549"/>
            </a:xfrm>
            <a:prstGeom prst="rect">
              <a:avLst/>
            </a:prstGeom>
          </p:spPr>
        </p:pic>
        <p:pic>
          <p:nvPicPr>
            <p:cNvPr id="70" name="Picture 69" descr="Logo&#10;&#10;Description automatically generated">
              <a:extLst>
                <a:ext uri="{FF2B5EF4-FFF2-40B4-BE49-F238E27FC236}">
                  <a16:creationId xmlns:a16="http://schemas.microsoft.com/office/drawing/2014/main" id="{2C6B2ABF-5592-EB1B-D33D-E69C7D99C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1599047" y="6128815"/>
              <a:ext cx="2122268" cy="5038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437265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9F38028D-1553-21AF-EE51-6731E07F6D5C}"/>
              </a:ext>
            </a:extLst>
          </p:cNvPr>
          <p:cNvGrpSpPr/>
          <p:nvPr/>
        </p:nvGrpSpPr>
        <p:grpSpPr>
          <a:xfrm>
            <a:off x="2352675" y="1219200"/>
            <a:ext cx="7505700" cy="4873690"/>
            <a:chOff x="2734444" y="1219200"/>
            <a:chExt cx="6104756" cy="2838450"/>
          </a:xfrm>
        </p:grpSpPr>
        <p:sp>
          <p:nvSpPr>
            <p:cNvPr id="5" name="Rounded Rectangle 4"/>
            <p:cNvSpPr/>
            <p:nvPr/>
          </p:nvSpPr>
          <p:spPr>
            <a:xfrm>
              <a:off x="3574157" y="1219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duction of ONGC Videsh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574157" y="16764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Footprints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3574157" y="21336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s and Production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574157" y="2619375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Partners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3574157" y="3124200"/>
              <a:ext cx="5257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 @ GIFT IFSC</a:t>
              </a:r>
            </a:p>
            <a:p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3581400" y="367665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ing attractiveness of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734444" y="1219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734444" y="16764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2734444" y="2133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734444" y="25908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2734444" y="3124200"/>
              <a:ext cx="685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2734444" y="3657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200"/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14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82960A0-5717-A367-3DF1-42A9F4BE8CCD}"/>
              </a:ext>
            </a:extLst>
          </p:cNvPr>
          <p:cNvSpPr txBox="1">
            <a:spLocks/>
          </p:cNvSpPr>
          <p:nvPr/>
        </p:nvSpPr>
        <p:spPr>
          <a:xfrm>
            <a:off x="601107" y="63279"/>
            <a:ext cx="9144000" cy="5334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defTabSz="914400">
              <a:spcBef>
                <a:spcPct val="0"/>
              </a:spcBef>
              <a:buNone/>
              <a:defRPr sz="44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esentation Overview</a:t>
            </a:r>
            <a:endParaRPr lang="en-IN" sz="3200" b="1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25833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CC7DAA-1F31-CC7A-E98C-71B959646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A3EBA19-C769-D5DC-62A7-EBFB6FBD2396}"/>
              </a:ext>
            </a:extLst>
          </p:cNvPr>
          <p:cNvSpPr txBox="1"/>
          <p:nvPr/>
        </p:nvSpPr>
        <p:spPr>
          <a:xfrm>
            <a:off x="672029" y="781030"/>
            <a:ext cx="1106412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latin typeface="Aptos" panose="020B0004020202020204" pitchFamily="34" charset="0"/>
              </a:rPr>
              <a:t>With the effective support of IFSCA and SEZ, ONGC </a:t>
            </a:r>
            <a:r>
              <a:rPr lang="en-US" sz="2000" dirty="0" err="1">
                <a:latin typeface="Aptos" panose="020B0004020202020204" pitchFamily="34" charset="0"/>
              </a:rPr>
              <a:t>Videsh</a:t>
            </a:r>
            <a:r>
              <a:rPr lang="en-US" sz="2000" dirty="0">
                <a:latin typeface="Aptos" panose="020B0004020202020204" pitchFamily="34" charset="0"/>
              </a:rPr>
              <a:t> was able to get </a:t>
            </a:r>
            <a:r>
              <a:rPr lang="en-US" sz="2000" b="1" dirty="0">
                <a:latin typeface="Aptos" panose="020B0004020202020204" pitchFamily="34" charset="0"/>
              </a:rPr>
              <a:t>OVL Overseas IFSC Limited </a:t>
            </a:r>
            <a:r>
              <a:rPr lang="en-US" sz="2000" dirty="0">
                <a:latin typeface="Aptos" panose="020B0004020202020204" pitchFamily="34" charset="0"/>
              </a:rPr>
              <a:t>going in </a:t>
            </a:r>
            <a:r>
              <a:rPr lang="en-US" sz="2400" b="1" dirty="0">
                <a:solidFill>
                  <a:srgbClr val="002060"/>
                </a:solidFill>
                <a:latin typeface="Aptos" panose="020B0004020202020204" pitchFamily="34" charset="0"/>
              </a:rPr>
              <a:t>record time</a:t>
            </a:r>
            <a:endParaRPr lang="en-IN" sz="2000" dirty="0">
              <a:solidFill>
                <a:srgbClr val="002060"/>
              </a:solidFill>
              <a:latin typeface="Aptos" panose="020B00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8D730FB-DF5E-7237-7459-C2302361893A}"/>
              </a:ext>
            </a:extLst>
          </p:cNvPr>
          <p:cNvCxnSpPr>
            <a:cxnSpLocks/>
          </p:cNvCxnSpPr>
          <p:nvPr/>
        </p:nvCxnSpPr>
        <p:spPr>
          <a:xfrm flipV="1">
            <a:off x="0" y="3368384"/>
            <a:ext cx="12192000" cy="6061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335DC23A-3FE9-7B05-8553-2CF34FEC93F4}"/>
              </a:ext>
            </a:extLst>
          </p:cNvPr>
          <p:cNvSpPr/>
          <p:nvPr/>
        </p:nvSpPr>
        <p:spPr>
          <a:xfrm>
            <a:off x="1249165" y="3352800"/>
            <a:ext cx="180000" cy="1800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7F57294-41D4-48A8-E998-EC078955F098}"/>
              </a:ext>
            </a:extLst>
          </p:cNvPr>
          <p:cNvSpPr/>
          <p:nvPr/>
        </p:nvSpPr>
        <p:spPr>
          <a:xfrm>
            <a:off x="1159166" y="3262800"/>
            <a:ext cx="360000" cy="360000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4715459-9112-BEBF-FE99-AE85B9D0B56A}"/>
              </a:ext>
            </a:extLst>
          </p:cNvPr>
          <p:cNvSpPr/>
          <p:nvPr/>
        </p:nvSpPr>
        <p:spPr>
          <a:xfrm>
            <a:off x="1105826" y="3205259"/>
            <a:ext cx="468000" cy="468000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5BF73E0-E9C4-6295-C7C6-2033DD1F7B30}"/>
              </a:ext>
            </a:extLst>
          </p:cNvPr>
          <p:cNvCxnSpPr>
            <a:stCxn id="9" idx="4"/>
          </p:cNvCxnSpPr>
          <p:nvPr/>
        </p:nvCxnSpPr>
        <p:spPr>
          <a:xfrm>
            <a:off x="1339165" y="3532800"/>
            <a:ext cx="0" cy="79536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CBD445A0-4B2D-ABEF-7E3B-36B9F3F374B1}"/>
              </a:ext>
            </a:extLst>
          </p:cNvPr>
          <p:cNvSpPr/>
          <p:nvPr/>
        </p:nvSpPr>
        <p:spPr>
          <a:xfrm>
            <a:off x="1294165" y="4330118"/>
            <a:ext cx="89999" cy="91700"/>
          </a:xfrm>
          <a:prstGeom prst="ellips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4A2D7766-8B10-8AD0-6A7E-B62F35B8E46D}"/>
              </a:ext>
            </a:extLst>
          </p:cNvPr>
          <p:cNvGrpSpPr/>
          <p:nvPr/>
        </p:nvGrpSpPr>
        <p:grpSpPr>
          <a:xfrm>
            <a:off x="674846" y="4378719"/>
            <a:ext cx="1746505" cy="646331"/>
            <a:chOff x="674846" y="4378719"/>
            <a:chExt cx="1746505" cy="646331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F79C90F-5734-97D6-1F50-32152BFD68CF}"/>
                </a:ext>
              </a:extLst>
            </p:cNvPr>
            <p:cNvCxnSpPr/>
            <p:nvPr/>
          </p:nvCxnSpPr>
          <p:spPr>
            <a:xfrm>
              <a:off x="674846" y="4972050"/>
              <a:ext cx="133492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3E2C769-5C94-6340-0DD6-23641DC09D8E}"/>
                </a:ext>
              </a:extLst>
            </p:cNvPr>
            <p:cNvSpPr txBox="1"/>
            <p:nvPr/>
          </p:nvSpPr>
          <p:spPr>
            <a:xfrm>
              <a:off x="812256" y="4378719"/>
              <a:ext cx="160909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>
                  <a:latin typeface="Aptos" panose="020B0004020202020204" pitchFamily="34" charset="0"/>
                </a:rPr>
                <a:t>Niti Ayog</a:t>
              </a:r>
            </a:p>
            <a:p>
              <a:r>
                <a:rPr lang="en-IN">
                  <a:latin typeface="Aptos" panose="020B0004020202020204" pitchFamily="34" charset="0"/>
                </a:rPr>
                <a:t>14 Nov – 2023 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DDCDC8B-0C55-2090-CDF2-79FC68197B2E}"/>
              </a:ext>
            </a:extLst>
          </p:cNvPr>
          <p:cNvGrpSpPr/>
          <p:nvPr/>
        </p:nvGrpSpPr>
        <p:grpSpPr>
          <a:xfrm>
            <a:off x="10427625" y="3214191"/>
            <a:ext cx="468000" cy="1216559"/>
            <a:chOff x="1258226" y="3357659"/>
            <a:chExt cx="468000" cy="1216559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CD862B1D-F317-2F3F-B73B-47ED06EB69F4}"/>
                </a:ext>
              </a:extLst>
            </p:cNvPr>
            <p:cNvSpPr/>
            <p:nvPr/>
          </p:nvSpPr>
          <p:spPr>
            <a:xfrm>
              <a:off x="1401565" y="3505200"/>
              <a:ext cx="180000" cy="18000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28820442-8848-ED8F-1EA4-C37E3B08457F}"/>
                </a:ext>
              </a:extLst>
            </p:cNvPr>
            <p:cNvSpPr/>
            <p:nvPr/>
          </p:nvSpPr>
          <p:spPr>
            <a:xfrm>
              <a:off x="1311566" y="3415200"/>
              <a:ext cx="360000" cy="360000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B57F98B0-68AD-5E92-63EA-D2AFC2FA51CC}"/>
                </a:ext>
              </a:extLst>
            </p:cNvPr>
            <p:cNvSpPr/>
            <p:nvPr/>
          </p:nvSpPr>
          <p:spPr>
            <a:xfrm>
              <a:off x="1258226" y="3357659"/>
              <a:ext cx="468000" cy="468000"/>
            </a:xfrm>
            <a:prstGeom prst="ellipse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E6D67C7-D947-52DF-D3D9-8603DF984BD9}"/>
                </a:ext>
              </a:extLst>
            </p:cNvPr>
            <p:cNvCxnSpPr>
              <a:stCxn id="44" idx="4"/>
            </p:cNvCxnSpPr>
            <p:nvPr/>
          </p:nvCxnSpPr>
          <p:spPr>
            <a:xfrm>
              <a:off x="1491565" y="3685200"/>
              <a:ext cx="0" cy="795360"/>
            </a:xfrm>
            <a:prstGeom prst="line">
              <a:avLst/>
            </a:prstGeom>
            <a:ln w="1905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43EFA74D-8468-EEF5-BB35-9B9B2B0F9053}"/>
                </a:ext>
              </a:extLst>
            </p:cNvPr>
            <p:cNvSpPr/>
            <p:nvPr/>
          </p:nvSpPr>
          <p:spPr>
            <a:xfrm>
              <a:off x="1446565" y="4482518"/>
              <a:ext cx="89999" cy="91700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F62E9FF6-779C-B8C8-B331-3EEDD2C68CAC}"/>
              </a:ext>
            </a:extLst>
          </p:cNvPr>
          <p:cNvGrpSpPr/>
          <p:nvPr/>
        </p:nvGrpSpPr>
        <p:grpSpPr>
          <a:xfrm>
            <a:off x="5240651" y="3187197"/>
            <a:ext cx="2462021" cy="1862890"/>
            <a:chOff x="4874540" y="3186546"/>
            <a:chExt cx="2462021" cy="1862890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3F17D4A-0193-102F-3125-37F34B224EA3}"/>
                </a:ext>
              </a:extLst>
            </p:cNvPr>
            <p:cNvGrpSpPr/>
            <p:nvPr/>
          </p:nvGrpSpPr>
          <p:grpSpPr>
            <a:xfrm>
              <a:off x="5236991" y="3186546"/>
              <a:ext cx="468000" cy="1216559"/>
              <a:chOff x="1258226" y="3357659"/>
              <a:chExt cx="468000" cy="1216559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EB936346-D959-54B7-D413-BCBDE7A9029B}"/>
                  </a:ext>
                </a:extLst>
              </p:cNvPr>
              <p:cNvSpPr/>
              <p:nvPr/>
            </p:nvSpPr>
            <p:spPr>
              <a:xfrm>
                <a:off x="1401565" y="3505200"/>
                <a:ext cx="180000" cy="180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F4CD4B7A-2271-0BBF-475B-CECA02BD3DFB}"/>
                  </a:ext>
                </a:extLst>
              </p:cNvPr>
              <p:cNvSpPr/>
              <p:nvPr/>
            </p:nvSpPr>
            <p:spPr>
              <a:xfrm>
                <a:off x="1311566" y="341520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FD65BB46-4D73-B34E-8D1E-73DA34DCA976}"/>
                  </a:ext>
                </a:extLst>
              </p:cNvPr>
              <p:cNvSpPr/>
              <p:nvPr/>
            </p:nvSpPr>
            <p:spPr>
              <a:xfrm>
                <a:off x="1258226" y="3357659"/>
                <a:ext cx="468000" cy="468000"/>
              </a:xfrm>
              <a:prstGeom prst="ellipse">
                <a:avLst/>
              </a:prstGeom>
              <a:noFill/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AB271D3F-2997-82B8-1306-9CDD47BE9DC1}"/>
                  </a:ext>
                </a:extLst>
              </p:cNvPr>
              <p:cNvCxnSpPr>
                <a:stCxn id="32" idx="4"/>
              </p:cNvCxnSpPr>
              <p:nvPr/>
            </p:nvCxnSpPr>
            <p:spPr>
              <a:xfrm>
                <a:off x="1491565" y="3685200"/>
                <a:ext cx="0" cy="795360"/>
              </a:xfrm>
              <a:prstGeom prst="line">
                <a:avLst/>
              </a:prstGeom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28459084-F7A3-C49B-87F8-F2717FB34CD7}"/>
                  </a:ext>
                </a:extLst>
              </p:cNvPr>
              <p:cNvSpPr/>
              <p:nvPr/>
            </p:nvSpPr>
            <p:spPr>
              <a:xfrm>
                <a:off x="1446565" y="4482518"/>
                <a:ext cx="89999" cy="91700"/>
              </a:xfrm>
              <a:prstGeom prst="ellips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33B67405-7554-E2C1-3DAD-92CE6C0DAACF}"/>
                </a:ext>
              </a:extLst>
            </p:cNvPr>
            <p:cNvGrpSpPr/>
            <p:nvPr/>
          </p:nvGrpSpPr>
          <p:grpSpPr>
            <a:xfrm>
              <a:off x="4874540" y="4403105"/>
              <a:ext cx="2462021" cy="646331"/>
              <a:chOff x="674846" y="4378719"/>
              <a:chExt cx="2462021" cy="646331"/>
            </a:xfrm>
          </p:grpSpPr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2A7286B4-37AD-A629-2515-2F3AD7597E39}"/>
                  </a:ext>
                </a:extLst>
              </p:cNvPr>
              <p:cNvCxnSpPr/>
              <p:nvPr/>
            </p:nvCxnSpPr>
            <p:spPr>
              <a:xfrm>
                <a:off x="674846" y="4972050"/>
                <a:ext cx="1334929" cy="0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BCFEDA9-C0A9-1340-FBF0-96D050E0ECF3}"/>
                  </a:ext>
                </a:extLst>
              </p:cNvPr>
              <p:cNvSpPr txBox="1"/>
              <p:nvPr/>
            </p:nvSpPr>
            <p:spPr>
              <a:xfrm>
                <a:off x="812256" y="4378719"/>
                <a:ext cx="232461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>
                    <a:latin typeface="Aptos" panose="020B0004020202020204" pitchFamily="34" charset="0"/>
                  </a:rPr>
                  <a:t>MCA – Inc. Certificate</a:t>
                </a:r>
              </a:p>
              <a:p>
                <a:r>
                  <a:rPr lang="en-IN">
                    <a:latin typeface="Aptos" panose="020B0004020202020204" pitchFamily="34" charset="0"/>
                  </a:rPr>
                  <a:t>07 Dec – 2023 </a:t>
                </a:r>
              </a:p>
            </p:txBody>
          </p:sp>
        </p:grp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33E45DD-FC34-32A1-25F5-609070D7F568}"/>
              </a:ext>
            </a:extLst>
          </p:cNvPr>
          <p:cNvGrpSpPr/>
          <p:nvPr/>
        </p:nvGrpSpPr>
        <p:grpSpPr>
          <a:xfrm>
            <a:off x="9979385" y="4403756"/>
            <a:ext cx="1756764" cy="646331"/>
            <a:chOff x="674846" y="4378719"/>
            <a:chExt cx="1756764" cy="646331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C280A22-AFD5-64C6-3D61-34F8B914D3DA}"/>
                </a:ext>
              </a:extLst>
            </p:cNvPr>
            <p:cNvCxnSpPr/>
            <p:nvPr/>
          </p:nvCxnSpPr>
          <p:spPr>
            <a:xfrm>
              <a:off x="674846" y="4972050"/>
              <a:ext cx="1334929" cy="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592CBE8-46E9-CA98-38E1-94F24ECC4963}"/>
                </a:ext>
              </a:extLst>
            </p:cNvPr>
            <p:cNvSpPr txBox="1"/>
            <p:nvPr/>
          </p:nvSpPr>
          <p:spPr>
            <a:xfrm>
              <a:off x="812256" y="4378719"/>
              <a:ext cx="161935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>
                  <a:latin typeface="Aptos" panose="020B0004020202020204" pitchFamily="34" charset="0"/>
                </a:rPr>
                <a:t>SEZ</a:t>
              </a:r>
            </a:p>
            <a:p>
              <a:r>
                <a:rPr lang="en-IN">
                  <a:latin typeface="Aptos" panose="020B0004020202020204" pitchFamily="34" charset="0"/>
                </a:rPr>
                <a:t>28 Dec – 2023 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6364C6CE-B8BD-D5CD-C99D-45925A0DAC40}"/>
              </a:ext>
            </a:extLst>
          </p:cNvPr>
          <p:cNvGrpSpPr/>
          <p:nvPr/>
        </p:nvGrpSpPr>
        <p:grpSpPr>
          <a:xfrm>
            <a:off x="7556548" y="1716444"/>
            <a:ext cx="2102114" cy="1881632"/>
            <a:chOff x="6973308" y="1741168"/>
            <a:chExt cx="2102114" cy="1881632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AC602C5E-60D8-F429-5102-F99265157DE2}"/>
                </a:ext>
              </a:extLst>
            </p:cNvPr>
            <p:cNvGrpSpPr/>
            <p:nvPr/>
          </p:nvGrpSpPr>
          <p:grpSpPr>
            <a:xfrm rot="10800000">
              <a:off x="7372136" y="2406241"/>
              <a:ext cx="468000" cy="1216559"/>
              <a:chOff x="1258226" y="3357659"/>
              <a:chExt cx="468000" cy="1216559"/>
            </a:xfrm>
          </p:grpSpPr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AB619220-935E-214A-8C75-A979C6CEE777}"/>
                  </a:ext>
                </a:extLst>
              </p:cNvPr>
              <p:cNvSpPr/>
              <p:nvPr/>
            </p:nvSpPr>
            <p:spPr>
              <a:xfrm>
                <a:off x="1401565" y="3505200"/>
                <a:ext cx="180000" cy="180000"/>
              </a:xfrm>
              <a:prstGeom prst="ellips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9B4DB5A5-D561-4AF6-6839-E0B3547E2A5F}"/>
                  </a:ext>
                </a:extLst>
              </p:cNvPr>
              <p:cNvSpPr/>
              <p:nvPr/>
            </p:nvSpPr>
            <p:spPr>
              <a:xfrm>
                <a:off x="1311566" y="3415200"/>
                <a:ext cx="360000" cy="360000"/>
              </a:xfrm>
              <a:prstGeom prst="ellipse">
                <a:avLst/>
              </a:prstGeom>
              <a:noFill/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C40D265B-1FD2-61DB-1359-7E1F3EBD1F82}"/>
                  </a:ext>
                </a:extLst>
              </p:cNvPr>
              <p:cNvSpPr/>
              <p:nvPr/>
            </p:nvSpPr>
            <p:spPr>
              <a:xfrm>
                <a:off x="1258226" y="3357659"/>
                <a:ext cx="468000" cy="468000"/>
              </a:xfrm>
              <a:prstGeom prst="ellipse">
                <a:avLst/>
              </a:prstGeom>
              <a:noFill/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7BD72CA6-4B8D-7566-153A-99FB9ABB6BAB}"/>
                  </a:ext>
                </a:extLst>
              </p:cNvPr>
              <p:cNvCxnSpPr>
                <a:stCxn id="38" idx="4"/>
              </p:cNvCxnSpPr>
              <p:nvPr/>
            </p:nvCxnSpPr>
            <p:spPr>
              <a:xfrm>
                <a:off x="1491565" y="3685200"/>
                <a:ext cx="0" cy="795360"/>
              </a:xfrm>
              <a:prstGeom prst="line">
                <a:avLst/>
              </a:prstGeom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AC62BA8F-39E5-A1C3-EE4A-292567F8AEDA}"/>
                  </a:ext>
                </a:extLst>
              </p:cNvPr>
              <p:cNvSpPr/>
              <p:nvPr/>
            </p:nvSpPr>
            <p:spPr>
              <a:xfrm>
                <a:off x="1446565" y="4482518"/>
                <a:ext cx="89999" cy="91700"/>
              </a:xfrm>
              <a:prstGeom prst="ellipse">
                <a:avLst/>
              </a:prstGeom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D3313B36-F144-2AE8-B862-871EB2C6F944}"/>
                </a:ext>
              </a:extLst>
            </p:cNvPr>
            <p:cNvGrpSpPr/>
            <p:nvPr/>
          </p:nvGrpSpPr>
          <p:grpSpPr>
            <a:xfrm>
              <a:off x="6973308" y="1741168"/>
              <a:ext cx="2102114" cy="656366"/>
              <a:chOff x="1841793" y="4611960"/>
              <a:chExt cx="2102114" cy="656366"/>
            </a:xfrm>
          </p:grpSpPr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8DC9C44F-2515-AF38-0C7A-0660B27BB396}"/>
                  </a:ext>
                </a:extLst>
              </p:cNvPr>
              <p:cNvCxnSpPr/>
              <p:nvPr/>
            </p:nvCxnSpPr>
            <p:spPr>
              <a:xfrm>
                <a:off x="1925270" y="4611960"/>
                <a:ext cx="1334929" cy="0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EED7FE80-F884-66E7-5A66-377B571E98CE}"/>
                  </a:ext>
                </a:extLst>
              </p:cNvPr>
              <p:cNvSpPr txBox="1"/>
              <p:nvPr/>
            </p:nvSpPr>
            <p:spPr>
              <a:xfrm>
                <a:off x="1841793" y="4621995"/>
                <a:ext cx="2102114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IN" dirty="0">
                    <a:latin typeface="Aptos" panose="020B0004020202020204" pitchFamily="34" charset="0"/>
                  </a:rPr>
                  <a:t>IFSCA (</a:t>
                </a:r>
                <a:r>
                  <a:rPr lang="en-IN" i="1" dirty="0">
                    <a:latin typeface="Aptos" panose="020B0004020202020204" pitchFamily="34" charset="0"/>
                  </a:rPr>
                  <a:t>in-principle</a:t>
                </a:r>
                <a:r>
                  <a:rPr lang="en-IN" dirty="0">
                    <a:latin typeface="Aptos" panose="020B0004020202020204" pitchFamily="34" charset="0"/>
                  </a:rPr>
                  <a:t>)</a:t>
                </a:r>
              </a:p>
              <a:p>
                <a:r>
                  <a:rPr lang="en-IN" dirty="0">
                    <a:latin typeface="Aptos" panose="020B0004020202020204" pitchFamily="34" charset="0"/>
                  </a:rPr>
                  <a:t>18 Dec – 2023 </a:t>
                </a:r>
              </a:p>
            </p:txBody>
          </p:sp>
        </p:grp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1C710ACA-1E17-57AD-CFC6-D36A7F7954B9}"/>
              </a:ext>
            </a:extLst>
          </p:cNvPr>
          <p:cNvSpPr txBox="1"/>
          <p:nvPr/>
        </p:nvSpPr>
        <p:spPr>
          <a:xfrm>
            <a:off x="672029" y="0"/>
            <a:ext cx="10363200" cy="6279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chemeClr val="tx1"/>
                </a:solidFill>
                <a:latin typeface="Calibri"/>
                <a:cs typeface="Calibri"/>
              </a:rPr>
              <a:t>Fast Approval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AC7371D-3977-A726-C4B0-1D4240E445F9}"/>
              </a:ext>
            </a:extLst>
          </p:cNvPr>
          <p:cNvSpPr txBox="1"/>
          <p:nvPr/>
        </p:nvSpPr>
        <p:spPr>
          <a:xfrm>
            <a:off x="5246867" y="6032225"/>
            <a:ext cx="1606978" cy="52322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IN" sz="2800" dirty="0"/>
              <a:t>~45 Days</a:t>
            </a:r>
          </a:p>
        </p:txBody>
      </p:sp>
      <p:sp>
        <p:nvSpPr>
          <p:cNvPr id="2" name="Left Bracket 1">
            <a:extLst>
              <a:ext uri="{FF2B5EF4-FFF2-40B4-BE49-F238E27FC236}">
                <a16:creationId xmlns:a16="http://schemas.microsoft.com/office/drawing/2014/main" id="{663F0ACE-1A99-F708-EECB-DB7123B75031}"/>
              </a:ext>
            </a:extLst>
          </p:cNvPr>
          <p:cNvSpPr/>
          <p:nvPr/>
        </p:nvSpPr>
        <p:spPr>
          <a:xfrm rot="16200000">
            <a:off x="5932571" y="848175"/>
            <a:ext cx="370244" cy="10891322"/>
          </a:xfrm>
          <a:prstGeom prst="leftBracket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BFF43E5-B96E-025C-BE14-EDFD8D3BADB1}"/>
              </a:ext>
            </a:extLst>
          </p:cNvPr>
          <p:cNvSpPr txBox="1"/>
          <p:nvPr/>
        </p:nvSpPr>
        <p:spPr>
          <a:xfrm>
            <a:off x="7955376" y="5470963"/>
            <a:ext cx="1317605" cy="52322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IN" sz="2800" dirty="0"/>
              <a:t>21 Days</a:t>
            </a:r>
          </a:p>
        </p:txBody>
      </p:sp>
      <p:sp>
        <p:nvSpPr>
          <p:cNvPr id="5" name="Left Bracket 4">
            <a:extLst>
              <a:ext uri="{FF2B5EF4-FFF2-40B4-BE49-F238E27FC236}">
                <a16:creationId xmlns:a16="http://schemas.microsoft.com/office/drawing/2014/main" id="{1D841F6B-5380-FA89-0894-30E5EE4725D5}"/>
              </a:ext>
            </a:extLst>
          </p:cNvPr>
          <p:cNvSpPr/>
          <p:nvPr/>
        </p:nvSpPr>
        <p:spPr>
          <a:xfrm rot="16200000">
            <a:off x="8216877" y="2571225"/>
            <a:ext cx="370244" cy="6322696"/>
          </a:xfrm>
          <a:prstGeom prst="leftBracket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9EE610-7B71-A865-4C7E-087DC23E88B8}"/>
              </a:ext>
            </a:extLst>
          </p:cNvPr>
          <p:cNvSpPr txBox="1"/>
          <p:nvPr/>
        </p:nvSpPr>
        <p:spPr>
          <a:xfrm>
            <a:off x="6637771" y="4997087"/>
            <a:ext cx="1317605" cy="52322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none" rtlCol="0">
            <a:spAutoFit/>
          </a:bodyPr>
          <a:lstStyle/>
          <a:p>
            <a:r>
              <a:rPr lang="en-IN" sz="2800" dirty="0"/>
              <a:t>11 Days</a:t>
            </a:r>
          </a:p>
        </p:txBody>
      </p:sp>
      <p:sp>
        <p:nvSpPr>
          <p:cNvPr id="76" name="Left Bracket 75">
            <a:extLst>
              <a:ext uri="{FF2B5EF4-FFF2-40B4-BE49-F238E27FC236}">
                <a16:creationId xmlns:a16="http://schemas.microsoft.com/office/drawing/2014/main" id="{6E85D7F9-FB33-E5CD-A625-FFC9C5A26F73}"/>
              </a:ext>
            </a:extLst>
          </p:cNvPr>
          <p:cNvSpPr/>
          <p:nvPr/>
        </p:nvSpPr>
        <p:spPr>
          <a:xfrm rot="16200000">
            <a:off x="7226279" y="3123368"/>
            <a:ext cx="370244" cy="4341498"/>
          </a:xfrm>
          <a:prstGeom prst="leftBracket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2800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Box 73">
            <a:extLst>
              <a:ext uri="{FF2B5EF4-FFF2-40B4-BE49-F238E27FC236}">
                <a16:creationId xmlns:a16="http://schemas.microsoft.com/office/drawing/2014/main" id="{A3BC8818-6D9E-5087-C1A1-38DB3BC62DDD}"/>
              </a:ext>
            </a:extLst>
          </p:cNvPr>
          <p:cNvSpPr txBox="1"/>
          <p:nvPr/>
        </p:nvSpPr>
        <p:spPr>
          <a:xfrm>
            <a:off x="672029" y="0"/>
            <a:ext cx="10363200" cy="6279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200" b="1" dirty="0">
                <a:solidFill>
                  <a:schemeClr val="tx1"/>
                </a:solidFill>
                <a:latin typeface="Calibri"/>
                <a:cs typeface="Calibri"/>
              </a:rPr>
              <a:t>Experience @ GIFT IFSC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B252BF0-CD33-5B42-6049-FE30491E77C2}"/>
              </a:ext>
            </a:extLst>
          </p:cNvPr>
          <p:cNvGrpSpPr/>
          <p:nvPr/>
        </p:nvGrpSpPr>
        <p:grpSpPr>
          <a:xfrm>
            <a:off x="415843" y="819555"/>
            <a:ext cx="11388889" cy="503685"/>
            <a:chOff x="0" y="17751"/>
            <a:chExt cx="11109789" cy="503685"/>
          </a:xfrm>
        </p:grpSpPr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283024DA-21D4-96CC-AF32-BA4613B2A164}"/>
                </a:ext>
              </a:extLst>
            </p:cNvPr>
            <p:cNvSpPr/>
            <p:nvPr/>
          </p:nvSpPr>
          <p:spPr>
            <a:xfrm>
              <a:off x="0" y="17751"/>
              <a:ext cx="11109789" cy="50368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71" name="Rectangle: Rounded Corners 4">
              <a:extLst>
                <a:ext uri="{FF2B5EF4-FFF2-40B4-BE49-F238E27FC236}">
                  <a16:creationId xmlns:a16="http://schemas.microsoft.com/office/drawing/2014/main" id="{231E3951-3084-01F5-BE43-89C459E4914D}"/>
                </a:ext>
              </a:extLst>
            </p:cNvPr>
            <p:cNvSpPr txBox="1"/>
            <p:nvPr/>
          </p:nvSpPr>
          <p:spPr>
            <a:xfrm>
              <a:off x="24588" y="42339"/>
              <a:ext cx="11060613" cy="45450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0" i="0" kern="1200" dirty="0"/>
                <a:t>Advantages from onshoring the offshore</a:t>
              </a:r>
              <a:endParaRPr lang="en-US" sz="2400" kern="1200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F0FE254-9A14-27FC-BEFF-873C592DAC62}"/>
              </a:ext>
            </a:extLst>
          </p:cNvPr>
          <p:cNvGrpSpPr/>
          <p:nvPr/>
        </p:nvGrpSpPr>
        <p:grpSpPr>
          <a:xfrm>
            <a:off x="541104" y="1283836"/>
            <a:ext cx="11109789" cy="1612169"/>
            <a:chOff x="0" y="521436"/>
            <a:chExt cx="11109789" cy="1108485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48C0E45F-2A69-7ACF-CA09-B7D5A95BDBC5}"/>
                </a:ext>
              </a:extLst>
            </p:cNvPr>
            <p:cNvSpPr/>
            <p:nvPr/>
          </p:nvSpPr>
          <p:spPr>
            <a:xfrm>
              <a:off x="0" y="521436"/>
              <a:ext cx="11109789" cy="1108485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27F33F1-2D4E-B614-EEC7-915418B63990}"/>
                </a:ext>
              </a:extLst>
            </p:cNvPr>
            <p:cNvSpPr txBox="1"/>
            <p:nvPr/>
          </p:nvSpPr>
          <p:spPr>
            <a:xfrm>
              <a:off x="0" y="521436"/>
              <a:ext cx="11109789" cy="110848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2736" tIns="26670" rIns="149352" bIns="26670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b="0" i="0" kern="1200" dirty="0"/>
                <a:t>Same time zone, effective co-ordination</a:t>
              </a:r>
              <a:endParaRPr lang="en-US" sz="2200" kern="1200" dirty="0"/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b="0" i="0" kern="1200" dirty="0"/>
                <a:t>Better control, no POEM risk</a:t>
              </a:r>
              <a:endParaRPr lang="en-US" sz="2200" kern="1200" dirty="0"/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b="0" i="0" kern="1200" dirty="0"/>
                <a:t>Easier manpower availability and </a:t>
              </a:r>
              <a:r>
                <a:rPr lang="en-US" sz="2200" b="0" i="0" kern="1200" dirty="0" err="1"/>
                <a:t>labour</a:t>
              </a:r>
              <a:r>
                <a:rPr lang="en-US" sz="2200" b="0" i="0" kern="1200" dirty="0"/>
                <a:t> law compliances</a:t>
              </a:r>
            </a:p>
            <a:p>
              <a:pPr marL="171450" lvl="1" indent="-171450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FontTx/>
                <a:buChar char="•"/>
              </a:pPr>
              <a:r>
                <a:rPr lang="en-US" sz="2200" b="0" i="0" kern="1200" dirty="0"/>
                <a:t>Lower G&amp;A costs</a:t>
              </a:r>
              <a:endParaRPr lang="en-US" sz="2200" kern="1200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F8DCE4A1-A757-A66A-B033-5A0EC04328FB}"/>
              </a:ext>
            </a:extLst>
          </p:cNvPr>
          <p:cNvGrpSpPr/>
          <p:nvPr/>
        </p:nvGrpSpPr>
        <p:grpSpPr>
          <a:xfrm>
            <a:off x="403183" y="2707345"/>
            <a:ext cx="11439525" cy="503685"/>
            <a:chOff x="0" y="1629922"/>
            <a:chExt cx="11109789" cy="503685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60" name="Rectangle: Rounded Corners 59">
              <a:extLst>
                <a:ext uri="{FF2B5EF4-FFF2-40B4-BE49-F238E27FC236}">
                  <a16:creationId xmlns:a16="http://schemas.microsoft.com/office/drawing/2014/main" id="{A61C5790-F283-6AEC-0A49-7A23FDEB889A}"/>
                </a:ext>
              </a:extLst>
            </p:cNvPr>
            <p:cNvSpPr/>
            <p:nvPr/>
          </p:nvSpPr>
          <p:spPr>
            <a:xfrm>
              <a:off x="0" y="1629922"/>
              <a:ext cx="11109789" cy="50368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61" name="Rectangle: Rounded Corners 8">
              <a:extLst>
                <a:ext uri="{FF2B5EF4-FFF2-40B4-BE49-F238E27FC236}">
                  <a16:creationId xmlns:a16="http://schemas.microsoft.com/office/drawing/2014/main" id="{6384BD67-66B9-323C-2855-F5CEB63C1380}"/>
                </a:ext>
              </a:extLst>
            </p:cNvPr>
            <p:cNvSpPr txBox="1"/>
            <p:nvPr/>
          </p:nvSpPr>
          <p:spPr>
            <a:xfrm>
              <a:off x="24588" y="1654510"/>
              <a:ext cx="11060613" cy="45450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b="0" i="0" kern="1200" dirty="0"/>
                <a:t>Free flow of funds &amp; flexibilities in </a:t>
              </a:r>
              <a:r>
                <a:rPr lang="en-US" sz="2400" kern="1200" dirty="0"/>
                <a:t>borrowings – FEMA &amp; ECB guidelines inapplicable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89B6CFBF-9418-29CF-5805-A1460F8C41FF}"/>
              </a:ext>
            </a:extLst>
          </p:cNvPr>
          <p:cNvGrpSpPr/>
          <p:nvPr/>
        </p:nvGrpSpPr>
        <p:grpSpPr>
          <a:xfrm>
            <a:off x="377865" y="3248387"/>
            <a:ext cx="11439525" cy="503685"/>
            <a:chOff x="0" y="2758252"/>
            <a:chExt cx="11109789" cy="503685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D253464B-2657-F443-DA70-FCAB41B0B037}"/>
                </a:ext>
              </a:extLst>
            </p:cNvPr>
            <p:cNvSpPr/>
            <p:nvPr/>
          </p:nvSpPr>
          <p:spPr>
            <a:xfrm>
              <a:off x="0" y="2758252"/>
              <a:ext cx="11109789" cy="50368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9" name="Rectangle: Rounded Corners 12">
              <a:extLst>
                <a:ext uri="{FF2B5EF4-FFF2-40B4-BE49-F238E27FC236}">
                  <a16:creationId xmlns:a16="http://schemas.microsoft.com/office/drawing/2014/main" id="{46678EBE-FEED-9E95-369C-865CFFD47AFC}"/>
                </a:ext>
              </a:extLst>
            </p:cNvPr>
            <p:cNvSpPr txBox="1"/>
            <p:nvPr/>
          </p:nvSpPr>
          <p:spPr>
            <a:xfrm>
              <a:off x="24588" y="2782840"/>
              <a:ext cx="11060613" cy="45450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/>
                <a:t>Fair &amp; friendly regulator with ear to the ground - Light touch regulation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59013B-9EA4-A3FB-6875-AD321C056D78}"/>
              </a:ext>
            </a:extLst>
          </p:cNvPr>
          <p:cNvGrpSpPr/>
          <p:nvPr/>
        </p:nvGrpSpPr>
        <p:grpSpPr>
          <a:xfrm>
            <a:off x="403183" y="3799547"/>
            <a:ext cx="11414207" cy="503685"/>
            <a:chOff x="0" y="3322417"/>
            <a:chExt cx="11109789" cy="503685"/>
          </a:xfrm>
          <a:solidFill>
            <a:schemeClr val="tx2">
              <a:lumMod val="60000"/>
              <a:lumOff val="40000"/>
            </a:schemeClr>
          </a:solidFill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83BCD9D-F348-61B0-087E-7DC6D4F8E08E}"/>
                </a:ext>
              </a:extLst>
            </p:cNvPr>
            <p:cNvSpPr/>
            <p:nvPr/>
          </p:nvSpPr>
          <p:spPr>
            <a:xfrm>
              <a:off x="0" y="3322417"/>
              <a:ext cx="11109789" cy="503685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7" name="Rectangle: Rounded Corners 14">
              <a:extLst>
                <a:ext uri="{FF2B5EF4-FFF2-40B4-BE49-F238E27FC236}">
                  <a16:creationId xmlns:a16="http://schemas.microsoft.com/office/drawing/2014/main" id="{CF11A02B-5B4A-F6F5-EE00-1EC61C17EEF1}"/>
                </a:ext>
              </a:extLst>
            </p:cNvPr>
            <p:cNvSpPr txBox="1"/>
            <p:nvPr/>
          </p:nvSpPr>
          <p:spPr>
            <a:xfrm>
              <a:off x="24588" y="3347005"/>
              <a:ext cx="11060613" cy="45450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0010" tIns="80010" rIns="80010" bIns="8001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2400" kern="1200" dirty="0"/>
                <a:t>Fiscal advantages –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18124A7-1D37-98F4-C716-74653B22AAF8}"/>
              </a:ext>
            </a:extLst>
          </p:cNvPr>
          <p:cNvGrpSpPr/>
          <p:nvPr/>
        </p:nvGrpSpPr>
        <p:grpSpPr>
          <a:xfrm>
            <a:off x="541103" y="4350706"/>
            <a:ext cx="11109789" cy="2183443"/>
            <a:chOff x="0" y="3826102"/>
            <a:chExt cx="11109789" cy="1108485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8189C04-0707-6C3E-9A4A-62B4EFB38845}"/>
                </a:ext>
              </a:extLst>
            </p:cNvPr>
            <p:cNvSpPr/>
            <p:nvPr/>
          </p:nvSpPr>
          <p:spPr>
            <a:xfrm>
              <a:off x="0" y="3826102"/>
              <a:ext cx="11109789" cy="1108485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10EA1F0-01D1-B695-0407-14F78455C4A5}"/>
                </a:ext>
              </a:extLst>
            </p:cNvPr>
            <p:cNvSpPr txBox="1"/>
            <p:nvPr/>
          </p:nvSpPr>
          <p:spPr>
            <a:xfrm>
              <a:off x="0" y="3826102"/>
              <a:ext cx="11109789" cy="110848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2736" tIns="26670" rIns="149352" bIns="26670" numCol="1" spcCol="1270" anchor="t" anchorCtr="0">
              <a:noAutofit/>
            </a:bodyPr>
            <a:lstStyle/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kern="1200" dirty="0"/>
                <a:t>No WHT on interest to offshore lenders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kern="1200" dirty="0"/>
                <a:t>No GST on guarantee fees and other services/goods procured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kern="1200" dirty="0"/>
                <a:t>10-year income tax holiday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kern="1200" dirty="0"/>
                <a:t>Thin capitalization rule does not apply to IFSC entities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dirty="0"/>
                <a:t>No stamp duty, STT &amp; CTT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20000"/>
                </a:spcAft>
                <a:buChar char="•"/>
              </a:pPr>
              <a:r>
                <a:rPr lang="en-US" sz="2200" kern="1200" dirty="0"/>
                <a:t>Consolidation with Indian group for Global Mini</a:t>
              </a:r>
              <a:r>
                <a:rPr lang="en-US" sz="2200" dirty="0"/>
                <a:t>mum Tax purposes</a:t>
              </a:r>
              <a:endParaRPr lang="en-US" sz="22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44731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8B86A0E2-632A-860A-F69F-C33258268525}"/>
              </a:ext>
            </a:extLst>
          </p:cNvPr>
          <p:cNvGrpSpPr/>
          <p:nvPr/>
        </p:nvGrpSpPr>
        <p:grpSpPr>
          <a:xfrm>
            <a:off x="2343151" y="1219199"/>
            <a:ext cx="7229474" cy="4957665"/>
            <a:chOff x="2734444" y="1219200"/>
            <a:chExt cx="6104756" cy="2838450"/>
          </a:xfrm>
        </p:grpSpPr>
        <p:sp>
          <p:nvSpPr>
            <p:cNvPr id="5" name="Rounded Rectangle 4"/>
            <p:cNvSpPr/>
            <p:nvPr/>
          </p:nvSpPr>
          <p:spPr>
            <a:xfrm>
              <a:off x="3574157" y="1219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duction of ONGC Videsh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574157" y="16764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Footprints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3574157" y="21336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s and Production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574157" y="2619375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Partners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3574157" y="3124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 @ GIFT IFSC</a:t>
              </a:r>
            </a:p>
            <a:p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3581400" y="3676650"/>
              <a:ext cx="5257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ing attractiveness of GIFT IFSC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734444" y="1219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734444" y="16764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2734444" y="2133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734444" y="25908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2734444" y="3124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2734444" y="3657600"/>
              <a:ext cx="685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200"/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17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E2C554-BC04-D5B0-D04B-234EDD0B5A40}"/>
              </a:ext>
            </a:extLst>
          </p:cNvPr>
          <p:cNvSpPr txBox="1">
            <a:spLocks/>
          </p:cNvSpPr>
          <p:nvPr/>
        </p:nvSpPr>
        <p:spPr>
          <a:xfrm>
            <a:off x="601107" y="63279"/>
            <a:ext cx="9144000" cy="5334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defTabSz="914400">
              <a:spcBef>
                <a:spcPct val="0"/>
              </a:spcBef>
              <a:buNone/>
              <a:defRPr sz="44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esentation Overview</a:t>
            </a:r>
            <a:endParaRPr lang="en-IN" sz="3200" b="1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332220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B31590-808D-42E2-5928-62D73F5754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extBox 73">
            <a:extLst>
              <a:ext uri="{FF2B5EF4-FFF2-40B4-BE49-F238E27FC236}">
                <a16:creationId xmlns:a16="http://schemas.microsoft.com/office/drawing/2014/main" id="{54B99081-603A-FABF-1980-35FA8C1E72AF}"/>
              </a:ext>
            </a:extLst>
          </p:cNvPr>
          <p:cNvSpPr txBox="1"/>
          <p:nvPr/>
        </p:nvSpPr>
        <p:spPr>
          <a:xfrm>
            <a:off x="914400" y="76200"/>
            <a:ext cx="11277600" cy="8001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2400" b="1" kern="12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nhancing attractiveness of GIFT IFS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EB3B82-5D81-684D-534D-C42E98F9821D}"/>
              </a:ext>
            </a:extLst>
          </p:cNvPr>
          <p:cNvSpPr txBox="1"/>
          <p:nvPr/>
        </p:nvSpPr>
        <p:spPr>
          <a:xfrm>
            <a:off x="10506075" y="5219700"/>
            <a:ext cx="1685925" cy="16383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graphicFrame>
        <p:nvGraphicFramePr>
          <p:cNvPr id="76" name="TextBox 3">
            <a:extLst>
              <a:ext uri="{FF2B5EF4-FFF2-40B4-BE49-F238E27FC236}">
                <a16:creationId xmlns:a16="http://schemas.microsoft.com/office/drawing/2014/main" id="{0F387CC0-E52A-8F74-2D9C-6409797592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5012382"/>
              </p:ext>
            </p:extLst>
          </p:nvPr>
        </p:nvGraphicFramePr>
        <p:xfrm>
          <a:off x="914400" y="1152525"/>
          <a:ext cx="10769600" cy="5067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2565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xxonMobil closer to completing Sakhalin 1 exit | Upstream Online">
            <a:extLst>
              <a:ext uri="{FF2B5EF4-FFF2-40B4-BE49-F238E27FC236}">
                <a16:creationId xmlns:a16="http://schemas.microsoft.com/office/drawing/2014/main" id="{37A8D15D-5B82-B5E9-164E-79414FA2D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12336" y="0"/>
            <a:ext cx="1360433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2802D7A-6090-0AE7-9E54-3CE52E000892}"/>
              </a:ext>
            </a:extLst>
          </p:cNvPr>
          <p:cNvSpPr txBox="1"/>
          <p:nvPr/>
        </p:nvSpPr>
        <p:spPr>
          <a:xfrm>
            <a:off x="122518" y="1401057"/>
            <a:ext cx="4652682" cy="1123712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N" sz="6000" b="1">
                <a:latin typeface="Aptos" panose="020B0004020202020204" pitchFamily="34" charset="0"/>
              </a:rPr>
              <a:t>Thank you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CB7DDC-42C3-6746-8120-9D722CFD51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867" y="709901"/>
            <a:ext cx="2801983" cy="691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175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606032" y="74735"/>
            <a:ext cx="9144000" cy="5334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defTabSz="914400">
              <a:spcBef>
                <a:spcPct val="0"/>
              </a:spcBef>
              <a:buNone/>
              <a:defRPr sz="32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b="1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esentation Overview</a:t>
            </a:r>
            <a:endParaRPr lang="en-IN" b="1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400301" y="1219199"/>
            <a:ext cx="7349732" cy="4921541"/>
            <a:chOff x="1210444" y="1219200"/>
            <a:chExt cx="6104756" cy="2838450"/>
          </a:xfrm>
        </p:grpSpPr>
        <p:sp>
          <p:nvSpPr>
            <p:cNvPr id="5" name="Rounded Rectangle 4"/>
            <p:cNvSpPr/>
            <p:nvPr/>
          </p:nvSpPr>
          <p:spPr>
            <a:xfrm>
              <a:off x="2050157" y="1219200"/>
              <a:ext cx="5257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duction of ONGC Videsh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2050157" y="1676400"/>
              <a:ext cx="5257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Footprints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2050157" y="2133600"/>
              <a:ext cx="5257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s and Production 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2050157" y="2619375"/>
              <a:ext cx="5257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Partners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050157" y="3124200"/>
              <a:ext cx="5257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 @ GIFT IFSC</a:t>
              </a:r>
            </a:p>
            <a:p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2057400" y="3676650"/>
              <a:ext cx="5257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ing attractiveness of GIFT IFSC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1210444" y="1219200"/>
              <a:ext cx="685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IN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1210444" y="1676400"/>
              <a:ext cx="685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IN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1210444" y="2133600"/>
              <a:ext cx="685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IN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1210444" y="2590800"/>
              <a:ext cx="685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IN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1210444" y="3124200"/>
              <a:ext cx="685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IN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1210444" y="3657600"/>
              <a:ext cx="685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IN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200"/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2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4352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601107" y="63279"/>
            <a:ext cx="9144000" cy="5334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defTabSz="914400">
              <a:spcBef>
                <a:spcPct val="0"/>
              </a:spcBef>
              <a:buNone/>
              <a:defRPr sz="44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esentation Overview</a:t>
            </a:r>
            <a:endParaRPr lang="en-IN" sz="3200" b="1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428875" y="1219200"/>
            <a:ext cx="7391400" cy="5013820"/>
            <a:chOff x="1210444" y="1219200"/>
            <a:chExt cx="6104756" cy="2838450"/>
          </a:xfrm>
        </p:grpSpPr>
        <p:sp>
          <p:nvSpPr>
            <p:cNvPr id="5" name="Rounded Rectangle 4"/>
            <p:cNvSpPr/>
            <p:nvPr/>
          </p:nvSpPr>
          <p:spPr>
            <a:xfrm>
              <a:off x="2050157" y="1219200"/>
              <a:ext cx="5257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duction of ONGC Videsh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2050157" y="16764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Footprints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2050157" y="21336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s and Production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2050157" y="2619375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Partners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2050157" y="3124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 @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2057400" y="367665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ing attractiveness of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1210444" y="1219200"/>
              <a:ext cx="685800" cy="381000"/>
            </a:xfrm>
            <a:prstGeom prst="roundRect">
              <a:avLst/>
            </a:prstGeom>
            <a:solidFill>
              <a:schemeClr val="bg2">
                <a:lumMod val="1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1210444" y="16764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1210444" y="2133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1210444" y="25908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1210444" y="3124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1210444" y="3657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200"/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3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986838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utoShape 6" descr="https://ongcvidesh.com/wp-content/uploads/2019/05/6-1-1.jpg"/>
          <p:cNvSpPr>
            <a:spLocks noChangeAspect="1" noChangeArrowheads="1"/>
          </p:cNvSpPr>
          <p:nvPr/>
        </p:nvSpPr>
        <p:spPr bwMode="auto">
          <a:xfrm>
            <a:off x="223254" y="-74766"/>
            <a:ext cx="304800" cy="303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D398F2F-3351-FA9E-E493-9006066E3126}"/>
              </a:ext>
            </a:extLst>
          </p:cNvPr>
          <p:cNvGrpSpPr/>
          <p:nvPr/>
        </p:nvGrpSpPr>
        <p:grpSpPr>
          <a:xfrm>
            <a:off x="0" y="1088037"/>
            <a:ext cx="12192000" cy="4714257"/>
            <a:chOff x="24492" y="1275814"/>
            <a:chExt cx="12148813" cy="4714257"/>
          </a:xfrm>
        </p:grpSpPr>
        <p:grpSp>
          <p:nvGrpSpPr>
            <p:cNvPr id="44" name="Group 43"/>
            <p:cNvGrpSpPr/>
            <p:nvPr/>
          </p:nvGrpSpPr>
          <p:grpSpPr>
            <a:xfrm>
              <a:off x="24492" y="1275814"/>
              <a:ext cx="12148813" cy="1934928"/>
              <a:chOff x="0" y="1399419"/>
              <a:chExt cx="12261850" cy="1941947"/>
            </a:xfrm>
          </p:grpSpPr>
          <p:grpSp>
            <p:nvGrpSpPr>
              <p:cNvPr id="41" name="Group 40"/>
              <p:cNvGrpSpPr/>
              <p:nvPr/>
            </p:nvGrpSpPr>
            <p:grpSpPr>
              <a:xfrm>
                <a:off x="0" y="1399419"/>
                <a:ext cx="12261850" cy="1941947"/>
                <a:chOff x="0" y="1399419"/>
                <a:chExt cx="12261850" cy="1941947"/>
              </a:xfrm>
            </p:grpSpPr>
            <p:pic>
              <p:nvPicPr>
                <p:cNvPr id="28" name="Picture 27"/>
                <p:cNvPicPr>
                  <a:picLocks noChangeAspect="1"/>
                </p:cNvPicPr>
                <p:nvPr/>
              </p:nvPicPr>
              <p:blipFill rotWithShape="1">
                <a:blip r:embed="rId2"/>
                <a:srcRect r="10098"/>
                <a:stretch/>
              </p:blipFill>
              <p:spPr>
                <a:xfrm>
                  <a:off x="0" y="1400966"/>
                  <a:ext cx="2434136" cy="1940400"/>
                </a:xfrm>
                <a:prstGeom prst="rect">
                  <a:avLst/>
                </a:prstGeom>
              </p:spPr>
            </p:pic>
            <p:pic>
              <p:nvPicPr>
                <p:cNvPr id="30" name="Picture 29"/>
                <p:cNvPicPr>
                  <a:picLocks noChangeAspect="1"/>
                </p:cNvPicPr>
                <p:nvPr/>
              </p:nvPicPr>
              <p:blipFill rotWithShape="1">
                <a:blip r:embed="rId3"/>
                <a:srcRect r="9643"/>
                <a:stretch/>
              </p:blipFill>
              <p:spPr>
                <a:xfrm>
                  <a:off x="4878808" y="1402578"/>
                  <a:ext cx="2444400" cy="1938788"/>
                </a:xfrm>
                <a:prstGeom prst="rect">
                  <a:avLst/>
                </a:prstGeom>
              </p:spPr>
            </p:pic>
            <p:pic>
              <p:nvPicPr>
                <p:cNvPr id="37" name="Picture 36"/>
                <p:cNvPicPr>
                  <a:picLocks noChangeAspect="1"/>
                </p:cNvPicPr>
                <p:nvPr/>
              </p:nvPicPr>
              <p:blipFill rotWithShape="1">
                <a:blip r:embed="rId4"/>
                <a:srcRect l="5027" t="6038" r="5027"/>
                <a:stretch/>
              </p:blipFill>
              <p:spPr>
                <a:xfrm>
                  <a:off x="7323208" y="1402980"/>
                  <a:ext cx="2589096" cy="1938386"/>
                </a:xfrm>
                <a:prstGeom prst="rect">
                  <a:avLst/>
                </a:prstGeom>
              </p:spPr>
            </p:pic>
            <p:pic>
              <p:nvPicPr>
                <p:cNvPr id="40" name="Picture 39"/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10088" r="3202"/>
                <a:stretch/>
              </p:blipFill>
              <p:spPr>
                <a:xfrm>
                  <a:off x="9912304" y="1399419"/>
                  <a:ext cx="2349546" cy="1941947"/>
                </a:xfrm>
                <a:prstGeom prst="rect">
                  <a:avLst/>
                </a:prstGeom>
              </p:spPr>
            </p:pic>
          </p:grpSp>
          <p:pic>
            <p:nvPicPr>
              <p:cNvPr id="43" name="Picture 42"/>
              <p:cNvPicPr>
                <a:picLocks noChangeAspect="1"/>
              </p:cNvPicPr>
              <p:nvPr/>
            </p:nvPicPr>
            <p:blipFill rotWithShape="1">
              <a:blip r:embed="rId6"/>
              <a:srcRect l="5822" t="5309" r="34343" b="1"/>
              <a:stretch/>
            </p:blipFill>
            <p:spPr>
              <a:xfrm>
                <a:off x="2434137" y="1402556"/>
                <a:ext cx="2450284" cy="1938810"/>
              </a:xfrm>
              <a:prstGeom prst="rect">
                <a:avLst/>
              </a:prstGeom>
            </p:spPr>
          </p:pic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F36DFCE-245A-98C1-B851-76A83586F6F5}"/>
                </a:ext>
              </a:extLst>
            </p:cNvPr>
            <p:cNvGrpSpPr/>
            <p:nvPr/>
          </p:nvGrpSpPr>
          <p:grpSpPr>
            <a:xfrm>
              <a:off x="223254" y="3460577"/>
              <a:ext cx="11936090" cy="2529494"/>
              <a:chOff x="223254" y="3460577"/>
              <a:chExt cx="11936090" cy="2529494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2713207" y="3466364"/>
                <a:ext cx="2073985" cy="1115535"/>
              </a:xfrm>
              <a:prstGeom prst="rect">
                <a:avLst/>
              </a:prstGeom>
              <a:solidFill>
                <a:srgbClr val="06877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10085359" y="3473241"/>
                <a:ext cx="2073985" cy="1115554"/>
              </a:xfrm>
              <a:prstGeom prst="rect">
                <a:avLst/>
              </a:prstGeom>
              <a:solidFill>
                <a:srgbClr val="16378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>
                  <a:solidFill>
                    <a:schemeClr val="bg1"/>
                  </a:solidFill>
                  <a:latin typeface="Arial Black" panose="020B0A04020102020204" pitchFamily="34" charset="0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223254" y="3460577"/>
                <a:ext cx="2073985" cy="1115535"/>
              </a:xfrm>
              <a:prstGeom prst="rect">
                <a:avLst/>
              </a:prstGeom>
              <a:solidFill>
                <a:srgbClr val="17BA8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7600569" y="3466364"/>
                <a:ext cx="2073985" cy="1115554"/>
              </a:xfrm>
              <a:prstGeom prst="rect">
                <a:avLst/>
              </a:prstGeom>
              <a:solidFill>
                <a:srgbClr val="16378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5179014" y="3466364"/>
                <a:ext cx="2073985" cy="1115535"/>
              </a:xfrm>
              <a:prstGeom prst="rect">
                <a:avLst/>
              </a:prstGeom>
              <a:solidFill>
                <a:srgbClr val="06877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223254" y="3709020"/>
                <a:ext cx="2016701" cy="643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IN" b="1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5th March 1965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2741848" y="3709019"/>
                <a:ext cx="2016701" cy="643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IN" b="1" kern="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15th June 1989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5200548" y="3709020"/>
                <a:ext cx="2016701" cy="643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IN" b="1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19 Countries, </a:t>
                </a:r>
              </a:p>
              <a:p>
                <a:pPr lvl="0" algn="ctr"/>
                <a:r>
                  <a:rPr lang="en-IN" b="1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32 Assets</a:t>
                </a: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7629210" y="3834345"/>
                <a:ext cx="2016701" cy="367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IN" b="1" kern="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202 KBOE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10114000" y="3571020"/>
                <a:ext cx="2016701" cy="9199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IN" b="1" kern="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476_125/ 482_176</a:t>
                </a:r>
              </a:p>
              <a:p>
                <a:pPr lvl="0" algn="ctr"/>
                <a:r>
                  <a:rPr lang="en-IN" b="1" kern="0" dirty="0">
                    <a:solidFill>
                      <a:schemeClr val="bg1"/>
                    </a:solidFill>
                    <a:latin typeface="Arial Black" panose="020B0A04020102020204" pitchFamily="34" charset="0"/>
                  </a:rPr>
                  <a:t> MMTOE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375653" y="4885263"/>
                <a:ext cx="1711901" cy="8279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Incorporated as </a:t>
                </a:r>
                <a:r>
                  <a:rPr lang="en-IN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ydrocarbons India Pvt. Ltd</a:t>
                </a:r>
                <a:r>
                  <a:rPr lang="en-IN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.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2741853" y="5007928"/>
                <a:ext cx="1962099" cy="58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Rechristened </a:t>
                </a:r>
                <a:r>
                  <a:rPr lang="en-IN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NGC Videsh Ltd.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5233691" y="5130593"/>
                <a:ext cx="1711901" cy="337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Global Presence</a:t>
                </a: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7595021" y="5007927"/>
                <a:ext cx="2079533" cy="5826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Avg. Daily Production in FY’24</a:t>
                </a: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10266399" y="4885262"/>
                <a:ext cx="1711901" cy="8279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IN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2P_2C/3P_3C Reserves @01.04.2024</a:t>
                </a:r>
              </a:p>
            </p:txBody>
          </p:sp>
          <p:cxnSp>
            <p:nvCxnSpPr>
              <p:cNvPr id="52" name="Straight Connector 51"/>
              <p:cNvCxnSpPr/>
              <p:nvPr/>
            </p:nvCxnSpPr>
            <p:spPr>
              <a:xfrm>
                <a:off x="2501815" y="4018344"/>
                <a:ext cx="0" cy="195407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lgDash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>
              <a:xfrm>
                <a:off x="4946487" y="4018343"/>
                <a:ext cx="0" cy="195407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lgDash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>
              <a:xfrm>
                <a:off x="7423375" y="4035996"/>
                <a:ext cx="0" cy="195407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lgDash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>
              <a:xfrm>
                <a:off x="9880825" y="4035996"/>
                <a:ext cx="0" cy="1954075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  <a:prstDash val="lgDash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id="{89E0C72A-63AC-CAA7-A2C6-497764637151}"/>
              </a:ext>
            </a:extLst>
          </p:cNvPr>
          <p:cNvSpPr txBox="1">
            <a:spLocks/>
          </p:cNvSpPr>
          <p:nvPr/>
        </p:nvSpPr>
        <p:spPr>
          <a:xfrm>
            <a:off x="649224" y="61643"/>
            <a:ext cx="9192998" cy="52322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>
              <a:spcBef>
                <a:spcPct val="0"/>
              </a:spcBef>
              <a:buNone/>
              <a:defRPr sz="2800" b="1">
                <a:solidFill>
                  <a:srgbClr val="0070C0"/>
                </a:solidFill>
                <a:latin typeface="+mj-lt"/>
                <a:ea typeface="+mj-ea"/>
                <a:cs typeface="Calibri"/>
              </a:defRPr>
            </a:lvl1pPr>
          </a:lstStyle>
          <a:p>
            <a:r>
              <a:rPr lang="en-IN" dirty="0"/>
              <a:t>ONGC </a:t>
            </a:r>
            <a:r>
              <a:rPr lang="en-IN" dirty="0" err="1"/>
              <a:t>Videsh</a:t>
            </a:r>
            <a:r>
              <a:rPr lang="en-IN" dirty="0"/>
              <a:t> Limited –  International E&amp;P Company of India</a:t>
            </a:r>
          </a:p>
        </p:txBody>
      </p:sp>
    </p:spTree>
    <p:extLst>
      <p:ext uri="{BB962C8B-B14F-4D97-AF65-F5344CB8AC3E}">
        <p14:creationId xmlns:p14="http://schemas.microsoft.com/office/powerpoint/2010/main" val="3641063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55B6D1-E6D2-C5C6-049F-734A59FFE0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55B6D1-E6D2-C5C6-049F-734A59FFE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D9F7790-8AA6-1D7B-1BC8-587F6533792B}"/>
              </a:ext>
            </a:extLst>
          </p:cNvPr>
          <p:cNvSpPr txBox="1"/>
          <p:nvPr/>
        </p:nvSpPr>
        <p:spPr>
          <a:xfrm>
            <a:off x="639382" y="6038"/>
            <a:ext cx="10218822" cy="6279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en-US" sz="3200" b="1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Calibri"/>
              </a:rPr>
              <a:t>Key Strength</a:t>
            </a:r>
            <a:r>
              <a:rPr lang="en-IN" sz="3200" b="1">
                <a:solidFill>
                  <a:schemeClr val="tx1"/>
                </a:solidFill>
                <a:latin typeface="Aptos" panose="020B0004020202020204" pitchFamily="34" charset="0"/>
                <a:ea typeface="+mj-ea"/>
                <a:cs typeface="Calibri"/>
              </a:rPr>
              <a:t>s</a:t>
            </a:r>
            <a:endParaRPr lang="en-US" sz="3200" b="1" kern="1200">
              <a:solidFill>
                <a:schemeClr val="tx1"/>
              </a:solidFill>
              <a:latin typeface="Aptos" panose="020B0004020202020204" pitchFamily="34" charset="0"/>
              <a:ea typeface="+mj-ea"/>
              <a:cs typeface="Calibri" panose="020F0502020204030204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057B001-019D-61BF-6F59-BA6165726B49}"/>
              </a:ext>
            </a:extLst>
          </p:cNvPr>
          <p:cNvGrpSpPr/>
          <p:nvPr/>
        </p:nvGrpSpPr>
        <p:grpSpPr>
          <a:xfrm>
            <a:off x="335045" y="1056534"/>
            <a:ext cx="10700184" cy="4772767"/>
            <a:chOff x="484627" y="1283847"/>
            <a:chExt cx="10994007" cy="5182709"/>
          </a:xfrm>
        </p:grpSpPr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2A513DB9-1C9D-5225-ABEB-D5A655BBF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685" y="4939406"/>
              <a:ext cx="555568" cy="1266591"/>
            </a:xfrm>
            <a:custGeom>
              <a:avLst/>
              <a:gdLst>
                <a:gd name="T0" fmla="*/ 366 w 1151"/>
                <a:gd name="T1" fmla="*/ 0 h 2622"/>
                <a:gd name="T2" fmla="*/ 1118 w 1151"/>
                <a:gd name="T3" fmla="*/ 2622 h 2622"/>
                <a:gd name="T4" fmla="*/ 677 w 1151"/>
                <a:gd name="T5" fmla="*/ 2606 h 2622"/>
                <a:gd name="T6" fmla="*/ 0 w 1151"/>
                <a:gd name="T7" fmla="*/ 247 h 2622"/>
                <a:gd name="T8" fmla="*/ 366 w 1151"/>
                <a:gd name="T9" fmla="*/ 0 h 26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51" h="2622">
                  <a:moveTo>
                    <a:pt x="366" y="0"/>
                  </a:moveTo>
                  <a:cubicBezTo>
                    <a:pt x="887" y="772"/>
                    <a:pt x="1151" y="1690"/>
                    <a:pt x="1118" y="2622"/>
                  </a:cubicBezTo>
                  <a:lnTo>
                    <a:pt x="677" y="2606"/>
                  </a:lnTo>
                  <a:cubicBezTo>
                    <a:pt x="706" y="1768"/>
                    <a:pt x="469" y="942"/>
                    <a:pt x="0" y="247"/>
                  </a:cubicBezTo>
                  <a:lnTo>
                    <a:pt x="366" y="0"/>
                  </a:lnTo>
                  <a:close/>
                </a:path>
              </a:pathLst>
            </a:custGeom>
            <a:solidFill>
              <a:srgbClr val="00B050"/>
            </a:solidFill>
            <a:ln w="7620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2E54B297-FD4B-C06A-C707-C21703C855D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068491" y="4342907"/>
              <a:ext cx="2118492" cy="2120456"/>
              <a:chOff x="5273801" y="2606040"/>
              <a:chExt cx="1644396" cy="1645920"/>
            </a:xfrm>
          </p:grpSpPr>
          <p:sp>
            <p:nvSpPr>
              <p:cNvPr id="55" name="AutoShape 24">
                <a:extLst>
                  <a:ext uri="{FF2B5EF4-FFF2-40B4-BE49-F238E27FC236}">
                    <a16:creationId xmlns:a16="http://schemas.microsoft.com/office/drawing/2014/main" id="{8398B4D5-547A-C77E-11F2-47A6052B1EE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801" y="2606040"/>
                <a:ext cx="1644396" cy="16459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4EE1F21A-933E-80F1-6768-9D54BB8BAF42}"/>
                  </a:ext>
                </a:extLst>
              </p:cNvPr>
              <p:cNvGrpSpPr/>
              <p:nvPr/>
            </p:nvGrpSpPr>
            <p:grpSpPr>
              <a:xfrm>
                <a:off x="5343905" y="2937511"/>
                <a:ext cx="1417320" cy="884802"/>
                <a:chOff x="5343905" y="2937511"/>
                <a:chExt cx="1417320" cy="884802"/>
              </a:xfrm>
            </p:grpSpPr>
            <p:sp>
              <p:nvSpPr>
                <p:cNvPr id="57" name="Freeform 26">
                  <a:extLst>
                    <a:ext uri="{FF2B5EF4-FFF2-40B4-BE49-F238E27FC236}">
                      <a16:creationId xmlns:a16="http://schemas.microsoft.com/office/drawing/2014/main" id="{53AE5D89-CBBD-9A24-B2EE-57D864071552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56681" y="3173349"/>
                  <a:ext cx="1304544" cy="300609"/>
                </a:xfrm>
                <a:custGeom>
                  <a:avLst/>
                  <a:gdLst>
                    <a:gd name="T0" fmla="*/ 100 w 1828"/>
                    <a:gd name="T1" fmla="*/ 22 h 421"/>
                    <a:gd name="T2" fmla="*/ 515 w 1828"/>
                    <a:gd name="T3" fmla="*/ 239 h 421"/>
                    <a:gd name="T4" fmla="*/ 507 w 1828"/>
                    <a:gd name="T5" fmla="*/ 309 h 421"/>
                    <a:gd name="T6" fmla="*/ 31 w 1828"/>
                    <a:gd name="T7" fmla="*/ 100 h 421"/>
                    <a:gd name="T8" fmla="*/ 63 w 1828"/>
                    <a:gd name="T9" fmla="*/ 6 h 421"/>
                    <a:gd name="T10" fmla="*/ 271 w 1828"/>
                    <a:gd name="T11" fmla="*/ 124 h 421"/>
                    <a:gd name="T12" fmla="*/ 123 w 1828"/>
                    <a:gd name="T13" fmla="*/ 0 h 421"/>
                    <a:gd name="T14" fmla="*/ 159 w 1828"/>
                    <a:gd name="T15" fmla="*/ 239 h 421"/>
                    <a:gd name="T16" fmla="*/ 148 w 1828"/>
                    <a:gd name="T17" fmla="*/ 233 h 421"/>
                    <a:gd name="T18" fmla="*/ 73 w 1828"/>
                    <a:gd name="T19" fmla="*/ 421 h 421"/>
                    <a:gd name="T20" fmla="*/ 320 w 1828"/>
                    <a:gd name="T21" fmla="*/ 287 h 421"/>
                    <a:gd name="T22" fmla="*/ 1355 w 1828"/>
                    <a:gd name="T23" fmla="*/ 6 h 421"/>
                    <a:gd name="T24" fmla="*/ 1323 w 1828"/>
                    <a:gd name="T25" fmla="*/ 100 h 421"/>
                    <a:gd name="T26" fmla="*/ 1799 w 1828"/>
                    <a:gd name="T27" fmla="*/ 309 h 421"/>
                    <a:gd name="T28" fmla="*/ 1807 w 1828"/>
                    <a:gd name="T29" fmla="*/ 239 h 421"/>
                    <a:gd name="T30" fmla="*/ 1392 w 1828"/>
                    <a:gd name="T31" fmla="*/ 22 h 421"/>
                    <a:gd name="T32" fmla="*/ 1526 w 1828"/>
                    <a:gd name="T33" fmla="*/ 112 h 421"/>
                    <a:gd name="T34" fmla="*/ 1563 w 1828"/>
                    <a:gd name="T35" fmla="*/ 123 h 421"/>
                    <a:gd name="T36" fmla="*/ 1526 w 1828"/>
                    <a:gd name="T37" fmla="*/ 112 h 421"/>
                    <a:gd name="T38" fmla="*/ 1445 w 1828"/>
                    <a:gd name="T39" fmla="*/ 237 h 421"/>
                    <a:gd name="T40" fmla="*/ 1311 w 1828"/>
                    <a:gd name="T41" fmla="*/ 131 h 421"/>
                    <a:gd name="T42" fmla="*/ 1631 w 1828"/>
                    <a:gd name="T43" fmla="*/ 350 h 421"/>
                    <a:gd name="T44" fmla="*/ 1451 w 1828"/>
                    <a:gd name="T45" fmla="*/ 239 h 421"/>
                    <a:gd name="T46" fmla="*/ 686 w 1828"/>
                    <a:gd name="T47" fmla="*/ 12 h 421"/>
                    <a:gd name="T48" fmla="*/ 814 w 1828"/>
                    <a:gd name="T49" fmla="*/ 208 h 421"/>
                    <a:gd name="T50" fmla="*/ 1173 w 1828"/>
                    <a:gd name="T51" fmla="*/ 277 h 421"/>
                    <a:gd name="T52" fmla="*/ 863 w 1828"/>
                    <a:gd name="T53" fmla="*/ 140 h 421"/>
                    <a:gd name="T54" fmla="*/ 709 w 1828"/>
                    <a:gd name="T55" fmla="*/ 6 h 421"/>
                    <a:gd name="T56" fmla="*/ 917 w 1828"/>
                    <a:gd name="T57" fmla="*/ 124 h 421"/>
                    <a:gd name="T58" fmla="*/ 769 w 1828"/>
                    <a:gd name="T59" fmla="*/ 0 h 421"/>
                    <a:gd name="T60" fmla="*/ 805 w 1828"/>
                    <a:gd name="T61" fmla="*/ 239 h 421"/>
                    <a:gd name="T62" fmla="*/ 794 w 1828"/>
                    <a:gd name="T63" fmla="*/ 233 h 421"/>
                    <a:gd name="T64" fmla="*/ 719 w 1828"/>
                    <a:gd name="T65" fmla="*/ 421 h 421"/>
                    <a:gd name="T66" fmla="*/ 966 w 1828"/>
                    <a:gd name="T67" fmla="*/ 287 h 4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1828" h="421">
                      <a:moveTo>
                        <a:pt x="63" y="6"/>
                      </a:moveTo>
                      <a:cubicBezTo>
                        <a:pt x="77" y="6"/>
                        <a:pt x="90" y="12"/>
                        <a:pt x="100" y="22"/>
                      </a:cubicBezTo>
                      <a:cubicBezTo>
                        <a:pt x="217" y="140"/>
                        <a:pt x="217" y="140"/>
                        <a:pt x="217" y="140"/>
                      </a:cubicBezTo>
                      <a:cubicBezTo>
                        <a:pt x="515" y="239"/>
                        <a:pt x="515" y="239"/>
                        <a:pt x="515" y="239"/>
                      </a:cubicBezTo>
                      <a:cubicBezTo>
                        <a:pt x="530" y="245"/>
                        <a:pt x="536" y="263"/>
                        <a:pt x="527" y="277"/>
                      </a:cubicBezTo>
                      <a:cubicBezTo>
                        <a:pt x="507" y="309"/>
                        <a:pt x="507" y="309"/>
                        <a:pt x="507" y="309"/>
                      </a:cubicBezTo>
                      <a:cubicBezTo>
                        <a:pt x="168" y="208"/>
                        <a:pt x="168" y="208"/>
                        <a:pt x="168" y="208"/>
                      </a:cubicBezTo>
                      <a:cubicBezTo>
                        <a:pt x="31" y="100"/>
                        <a:pt x="31" y="100"/>
                        <a:pt x="31" y="100"/>
                      </a:cubicBezTo>
                      <a:cubicBezTo>
                        <a:pt x="0" y="76"/>
                        <a:pt x="5" y="29"/>
                        <a:pt x="40" y="12"/>
                      </a:cubicBezTo>
                      <a:cubicBezTo>
                        <a:pt x="47" y="8"/>
                        <a:pt x="55" y="6"/>
                        <a:pt x="63" y="6"/>
                      </a:cubicBezTo>
                      <a:moveTo>
                        <a:pt x="234" y="112"/>
                      </a:moveTo>
                      <a:cubicBezTo>
                        <a:pt x="271" y="124"/>
                        <a:pt x="271" y="124"/>
                        <a:pt x="271" y="124"/>
                      </a:cubicBezTo>
                      <a:cubicBezTo>
                        <a:pt x="271" y="123"/>
                        <a:pt x="271" y="123"/>
                        <a:pt x="271" y="123"/>
                      </a:cubicBezTo>
                      <a:cubicBezTo>
                        <a:pt x="250" y="55"/>
                        <a:pt x="191" y="8"/>
                        <a:pt x="123" y="0"/>
                      </a:cubicBezTo>
                      <a:lnTo>
                        <a:pt x="234" y="112"/>
                      </a:lnTo>
                      <a:close/>
                      <a:moveTo>
                        <a:pt x="159" y="239"/>
                      </a:moveTo>
                      <a:cubicBezTo>
                        <a:pt x="153" y="237"/>
                        <a:pt x="153" y="237"/>
                        <a:pt x="153" y="237"/>
                      </a:cubicBezTo>
                      <a:cubicBezTo>
                        <a:pt x="148" y="233"/>
                        <a:pt x="148" y="233"/>
                        <a:pt x="148" y="233"/>
                      </a:cubicBezTo>
                      <a:cubicBezTo>
                        <a:pt x="19" y="131"/>
                        <a:pt x="19" y="131"/>
                        <a:pt x="19" y="131"/>
                      </a:cubicBezTo>
                      <a:cubicBezTo>
                        <a:pt x="73" y="421"/>
                        <a:pt x="73" y="421"/>
                        <a:pt x="73" y="421"/>
                      </a:cubicBezTo>
                      <a:cubicBezTo>
                        <a:pt x="190" y="407"/>
                        <a:pt x="297" y="370"/>
                        <a:pt x="339" y="350"/>
                      </a:cubicBezTo>
                      <a:cubicBezTo>
                        <a:pt x="320" y="287"/>
                        <a:pt x="320" y="287"/>
                        <a:pt x="320" y="287"/>
                      </a:cubicBezTo>
                      <a:lnTo>
                        <a:pt x="159" y="239"/>
                      </a:lnTo>
                      <a:close/>
                      <a:moveTo>
                        <a:pt x="1355" y="6"/>
                      </a:moveTo>
                      <a:cubicBezTo>
                        <a:pt x="1347" y="6"/>
                        <a:pt x="1339" y="8"/>
                        <a:pt x="1332" y="12"/>
                      </a:cubicBezTo>
                      <a:cubicBezTo>
                        <a:pt x="1297" y="29"/>
                        <a:pt x="1292" y="76"/>
                        <a:pt x="1323" y="100"/>
                      </a:cubicBezTo>
                      <a:cubicBezTo>
                        <a:pt x="1460" y="208"/>
                        <a:pt x="1460" y="208"/>
                        <a:pt x="1460" y="208"/>
                      </a:cubicBezTo>
                      <a:cubicBezTo>
                        <a:pt x="1799" y="309"/>
                        <a:pt x="1799" y="309"/>
                        <a:pt x="1799" y="309"/>
                      </a:cubicBezTo>
                      <a:cubicBezTo>
                        <a:pt x="1819" y="277"/>
                        <a:pt x="1819" y="277"/>
                        <a:pt x="1819" y="277"/>
                      </a:cubicBezTo>
                      <a:cubicBezTo>
                        <a:pt x="1828" y="263"/>
                        <a:pt x="1822" y="245"/>
                        <a:pt x="1807" y="239"/>
                      </a:cubicBezTo>
                      <a:cubicBezTo>
                        <a:pt x="1509" y="140"/>
                        <a:pt x="1509" y="140"/>
                        <a:pt x="1509" y="140"/>
                      </a:cubicBezTo>
                      <a:cubicBezTo>
                        <a:pt x="1392" y="22"/>
                        <a:pt x="1392" y="22"/>
                        <a:pt x="1392" y="22"/>
                      </a:cubicBezTo>
                      <a:cubicBezTo>
                        <a:pt x="1382" y="12"/>
                        <a:pt x="1369" y="6"/>
                        <a:pt x="1355" y="6"/>
                      </a:cubicBezTo>
                      <a:moveTo>
                        <a:pt x="1526" y="112"/>
                      </a:moveTo>
                      <a:cubicBezTo>
                        <a:pt x="1563" y="124"/>
                        <a:pt x="1563" y="124"/>
                        <a:pt x="1563" y="124"/>
                      </a:cubicBezTo>
                      <a:cubicBezTo>
                        <a:pt x="1563" y="123"/>
                        <a:pt x="1563" y="123"/>
                        <a:pt x="1563" y="123"/>
                      </a:cubicBezTo>
                      <a:cubicBezTo>
                        <a:pt x="1542" y="55"/>
                        <a:pt x="1483" y="8"/>
                        <a:pt x="1415" y="0"/>
                      </a:cubicBezTo>
                      <a:lnTo>
                        <a:pt x="1526" y="112"/>
                      </a:lnTo>
                      <a:close/>
                      <a:moveTo>
                        <a:pt x="1451" y="239"/>
                      </a:moveTo>
                      <a:cubicBezTo>
                        <a:pt x="1445" y="237"/>
                        <a:pt x="1445" y="237"/>
                        <a:pt x="1445" y="237"/>
                      </a:cubicBezTo>
                      <a:cubicBezTo>
                        <a:pt x="1440" y="233"/>
                        <a:pt x="1440" y="233"/>
                        <a:pt x="1440" y="233"/>
                      </a:cubicBezTo>
                      <a:cubicBezTo>
                        <a:pt x="1311" y="131"/>
                        <a:pt x="1311" y="131"/>
                        <a:pt x="1311" y="131"/>
                      </a:cubicBezTo>
                      <a:cubicBezTo>
                        <a:pt x="1365" y="421"/>
                        <a:pt x="1365" y="421"/>
                        <a:pt x="1365" y="421"/>
                      </a:cubicBezTo>
                      <a:cubicBezTo>
                        <a:pt x="1482" y="407"/>
                        <a:pt x="1589" y="370"/>
                        <a:pt x="1631" y="350"/>
                      </a:cubicBezTo>
                      <a:cubicBezTo>
                        <a:pt x="1612" y="287"/>
                        <a:pt x="1612" y="287"/>
                        <a:pt x="1612" y="287"/>
                      </a:cubicBezTo>
                      <a:lnTo>
                        <a:pt x="1451" y="239"/>
                      </a:lnTo>
                      <a:close/>
                      <a:moveTo>
                        <a:pt x="709" y="6"/>
                      </a:moveTo>
                      <a:cubicBezTo>
                        <a:pt x="701" y="6"/>
                        <a:pt x="693" y="8"/>
                        <a:pt x="686" y="12"/>
                      </a:cubicBezTo>
                      <a:cubicBezTo>
                        <a:pt x="651" y="29"/>
                        <a:pt x="646" y="76"/>
                        <a:pt x="677" y="100"/>
                      </a:cubicBezTo>
                      <a:cubicBezTo>
                        <a:pt x="814" y="208"/>
                        <a:pt x="814" y="208"/>
                        <a:pt x="814" y="208"/>
                      </a:cubicBezTo>
                      <a:cubicBezTo>
                        <a:pt x="1153" y="309"/>
                        <a:pt x="1153" y="309"/>
                        <a:pt x="1153" y="309"/>
                      </a:cubicBezTo>
                      <a:cubicBezTo>
                        <a:pt x="1173" y="277"/>
                        <a:pt x="1173" y="277"/>
                        <a:pt x="1173" y="277"/>
                      </a:cubicBezTo>
                      <a:cubicBezTo>
                        <a:pt x="1182" y="263"/>
                        <a:pt x="1176" y="245"/>
                        <a:pt x="1161" y="239"/>
                      </a:cubicBezTo>
                      <a:cubicBezTo>
                        <a:pt x="863" y="140"/>
                        <a:pt x="863" y="140"/>
                        <a:pt x="863" y="140"/>
                      </a:cubicBezTo>
                      <a:cubicBezTo>
                        <a:pt x="746" y="22"/>
                        <a:pt x="746" y="22"/>
                        <a:pt x="746" y="22"/>
                      </a:cubicBezTo>
                      <a:cubicBezTo>
                        <a:pt x="736" y="12"/>
                        <a:pt x="723" y="6"/>
                        <a:pt x="709" y="6"/>
                      </a:cubicBezTo>
                      <a:moveTo>
                        <a:pt x="880" y="112"/>
                      </a:moveTo>
                      <a:cubicBezTo>
                        <a:pt x="917" y="124"/>
                        <a:pt x="917" y="124"/>
                        <a:pt x="917" y="124"/>
                      </a:cubicBezTo>
                      <a:cubicBezTo>
                        <a:pt x="917" y="123"/>
                        <a:pt x="917" y="123"/>
                        <a:pt x="917" y="123"/>
                      </a:cubicBezTo>
                      <a:cubicBezTo>
                        <a:pt x="896" y="55"/>
                        <a:pt x="837" y="8"/>
                        <a:pt x="769" y="0"/>
                      </a:cubicBezTo>
                      <a:lnTo>
                        <a:pt x="880" y="112"/>
                      </a:lnTo>
                      <a:close/>
                      <a:moveTo>
                        <a:pt x="805" y="239"/>
                      </a:moveTo>
                      <a:cubicBezTo>
                        <a:pt x="799" y="237"/>
                        <a:pt x="799" y="237"/>
                        <a:pt x="799" y="237"/>
                      </a:cubicBezTo>
                      <a:cubicBezTo>
                        <a:pt x="794" y="233"/>
                        <a:pt x="794" y="233"/>
                        <a:pt x="794" y="233"/>
                      </a:cubicBezTo>
                      <a:cubicBezTo>
                        <a:pt x="665" y="131"/>
                        <a:pt x="665" y="131"/>
                        <a:pt x="665" y="131"/>
                      </a:cubicBezTo>
                      <a:cubicBezTo>
                        <a:pt x="719" y="421"/>
                        <a:pt x="719" y="421"/>
                        <a:pt x="719" y="421"/>
                      </a:cubicBezTo>
                      <a:cubicBezTo>
                        <a:pt x="836" y="407"/>
                        <a:pt x="943" y="370"/>
                        <a:pt x="985" y="350"/>
                      </a:cubicBezTo>
                      <a:cubicBezTo>
                        <a:pt x="966" y="287"/>
                        <a:pt x="966" y="287"/>
                        <a:pt x="966" y="287"/>
                      </a:cubicBezTo>
                      <a:lnTo>
                        <a:pt x="805" y="239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" name="Freeform 27">
                  <a:extLst>
                    <a:ext uri="{FF2B5EF4-FFF2-40B4-BE49-F238E27FC236}">
                      <a16:creationId xmlns:a16="http://schemas.microsoft.com/office/drawing/2014/main" id="{B8BEB7F2-DE89-4F7F-DEAD-4C114C4399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43905" y="2937511"/>
                  <a:ext cx="1401255" cy="884802"/>
                </a:xfrm>
                <a:custGeom>
                  <a:avLst/>
                  <a:gdLst>
                    <a:gd name="T0" fmla="*/ 744 w 2148"/>
                    <a:gd name="T1" fmla="*/ 1402 h 1402"/>
                    <a:gd name="T2" fmla="*/ 305 w 2148"/>
                    <a:gd name="T3" fmla="*/ 899 h 1402"/>
                    <a:gd name="T4" fmla="*/ 291 w 2148"/>
                    <a:gd name="T5" fmla="*/ 786 h 1402"/>
                    <a:gd name="T6" fmla="*/ 322 w 2148"/>
                    <a:gd name="T7" fmla="*/ 859 h 1402"/>
                    <a:gd name="T8" fmla="*/ 754 w 2148"/>
                    <a:gd name="T9" fmla="*/ 1350 h 1402"/>
                    <a:gd name="T10" fmla="*/ 648 w 2148"/>
                    <a:gd name="T11" fmla="*/ 944 h 1402"/>
                    <a:gd name="T12" fmla="*/ 683 w 2148"/>
                    <a:gd name="T13" fmla="*/ 917 h 1402"/>
                    <a:gd name="T14" fmla="*/ 805 w 2148"/>
                    <a:gd name="T15" fmla="*/ 1356 h 1402"/>
                    <a:gd name="T16" fmla="*/ 372 w 2148"/>
                    <a:gd name="T17" fmla="*/ 117 h 1402"/>
                    <a:gd name="T18" fmla="*/ 343 w 2148"/>
                    <a:gd name="T19" fmla="*/ 243 h 1402"/>
                    <a:gd name="T20" fmla="*/ 279 w 2148"/>
                    <a:gd name="T21" fmla="*/ 274 h 1402"/>
                    <a:gd name="T22" fmla="*/ 342 w 2148"/>
                    <a:gd name="T23" fmla="*/ 248 h 1402"/>
                    <a:gd name="T24" fmla="*/ 269 w 2148"/>
                    <a:gd name="T25" fmla="*/ 4 h 1402"/>
                    <a:gd name="T26" fmla="*/ 185 w 2148"/>
                    <a:gd name="T27" fmla="*/ 242 h 1402"/>
                    <a:gd name="T28" fmla="*/ 195 w 2148"/>
                    <a:gd name="T29" fmla="*/ 112 h 1402"/>
                    <a:gd name="T30" fmla="*/ 254 w 2148"/>
                    <a:gd name="T31" fmla="*/ 150 h 1402"/>
                    <a:gd name="T32" fmla="*/ 375 w 2148"/>
                    <a:gd name="T33" fmla="*/ 73 h 1402"/>
                    <a:gd name="T34" fmla="*/ 1980 w 2148"/>
                    <a:gd name="T35" fmla="*/ 925 h 1402"/>
                    <a:gd name="T36" fmla="*/ 1745 w 2148"/>
                    <a:gd name="T37" fmla="*/ 745 h 1402"/>
                    <a:gd name="T38" fmla="*/ 2057 w 2148"/>
                    <a:gd name="T39" fmla="*/ 1336 h 1402"/>
                    <a:gd name="T40" fmla="*/ 1863 w 2148"/>
                    <a:gd name="T41" fmla="*/ 993 h 1402"/>
                    <a:gd name="T42" fmla="*/ 1585 w 2148"/>
                    <a:gd name="T43" fmla="*/ 798 h 1402"/>
                    <a:gd name="T44" fmla="*/ 1542 w 2148"/>
                    <a:gd name="T45" fmla="*/ 804 h 1402"/>
                    <a:gd name="T46" fmla="*/ 2017 w 2148"/>
                    <a:gd name="T47" fmla="*/ 1390 h 1402"/>
                    <a:gd name="T48" fmla="*/ 2097 w 2148"/>
                    <a:gd name="T49" fmla="*/ 1356 h 1402"/>
                    <a:gd name="T50" fmla="*/ 1664 w 2148"/>
                    <a:gd name="T51" fmla="*/ 258 h 1402"/>
                    <a:gd name="T52" fmla="*/ 1636 w 2148"/>
                    <a:gd name="T53" fmla="*/ 133 h 1402"/>
                    <a:gd name="T54" fmla="*/ 1557 w 2148"/>
                    <a:gd name="T55" fmla="*/ 256 h 1402"/>
                    <a:gd name="T56" fmla="*/ 1652 w 2148"/>
                    <a:gd name="T57" fmla="*/ 273 h 1402"/>
                    <a:gd name="T58" fmla="*/ 1688 w 2148"/>
                    <a:gd name="T59" fmla="*/ 33 h 1402"/>
                    <a:gd name="T60" fmla="*/ 1475 w 2148"/>
                    <a:gd name="T61" fmla="*/ 243 h 1402"/>
                    <a:gd name="T62" fmla="*/ 1481 w 2148"/>
                    <a:gd name="T63" fmla="*/ 187 h 1402"/>
                    <a:gd name="T64" fmla="*/ 1525 w 2148"/>
                    <a:gd name="T65" fmla="*/ 150 h 1402"/>
                    <a:gd name="T66" fmla="*/ 1666 w 2148"/>
                    <a:gd name="T67" fmla="*/ 74 h 1402"/>
                    <a:gd name="T68" fmla="*/ 1456 w 2148"/>
                    <a:gd name="T69" fmla="*/ 1286 h 1402"/>
                    <a:gd name="T70" fmla="*/ 1144 w 2148"/>
                    <a:gd name="T71" fmla="*/ 728 h 1402"/>
                    <a:gd name="T72" fmla="*/ 1414 w 2148"/>
                    <a:gd name="T73" fmla="*/ 1300 h 1402"/>
                    <a:gd name="T74" fmla="*/ 1226 w 2148"/>
                    <a:gd name="T75" fmla="*/ 1002 h 1402"/>
                    <a:gd name="T76" fmla="*/ 940 w 2148"/>
                    <a:gd name="T77" fmla="*/ 802 h 1402"/>
                    <a:gd name="T78" fmla="*/ 894 w 2148"/>
                    <a:gd name="T79" fmla="*/ 793 h 1402"/>
                    <a:gd name="T80" fmla="*/ 1190 w 2148"/>
                    <a:gd name="T81" fmla="*/ 1028 h 1402"/>
                    <a:gd name="T82" fmla="*/ 1397 w 2148"/>
                    <a:gd name="T83" fmla="*/ 1401 h 1402"/>
                    <a:gd name="T84" fmla="*/ 1006 w 2148"/>
                    <a:gd name="T85" fmla="*/ 273 h 1402"/>
                    <a:gd name="T86" fmla="*/ 996 w 2148"/>
                    <a:gd name="T87" fmla="*/ 111 h 1402"/>
                    <a:gd name="T88" fmla="*/ 929 w 2148"/>
                    <a:gd name="T89" fmla="*/ 242 h 1402"/>
                    <a:gd name="T90" fmla="*/ 969 w 2148"/>
                    <a:gd name="T91" fmla="*/ 276 h 1402"/>
                    <a:gd name="T92" fmla="*/ 988 w 2148"/>
                    <a:gd name="T93" fmla="*/ 248 h 1402"/>
                    <a:gd name="T94" fmla="*/ 787 w 2148"/>
                    <a:gd name="T95" fmla="*/ 74 h 1402"/>
                    <a:gd name="T96" fmla="*/ 835 w 2148"/>
                    <a:gd name="T97" fmla="*/ 187 h 1402"/>
                    <a:gd name="T98" fmla="*/ 878 w 2148"/>
                    <a:gd name="T99" fmla="*/ 149 h 1402"/>
                    <a:gd name="T100" fmla="*/ 933 w 2148"/>
                    <a:gd name="T101" fmla="*/ 87 h 1402"/>
                    <a:gd name="T102" fmla="*/ 1042 w 2148"/>
                    <a:gd name="T103" fmla="*/ 33 h 1402"/>
                    <a:gd name="T104" fmla="*/ 0 w 2148"/>
                    <a:gd name="T105" fmla="*/ 1061 h 1402"/>
                    <a:gd name="T106" fmla="*/ 44 w 2148"/>
                    <a:gd name="T107" fmla="*/ 768 h 1402"/>
                    <a:gd name="T108" fmla="*/ 713 w 2148"/>
                    <a:gd name="T109" fmla="*/ 623 h 1402"/>
                    <a:gd name="T110" fmla="*/ 719 w 2148"/>
                    <a:gd name="T111" fmla="*/ 579 h 1402"/>
                    <a:gd name="T112" fmla="*/ 1454 w 2148"/>
                    <a:gd name="T113" fmla="*/ 623 h 1402"/>
                    <a:gd name="T114" fmla="*/ 1359 w 2148"/>
                    <a:gd name="T115" fmla="*/ 623 h 1402"/>
                    <a:gd name="T116" fmla="*/ 2005 w 2148"/>
                    <a:gd name="T117" fmla="*/ 623 h 1402"/>
                    <a:gd name="T118" fmla="*/ 2126 w 2148"/>
                    <a:gd name="T119" fmla="*/ 579 h 14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2148" h="1402">
                      <a:moveTo>
                        <a:pt x="805" y="1356"/>
                      </a:moveTo>
                      <a:cubicBezTo>
                        <a:pt x="793" y="1378"/>
                        <a:pt x="774" y="1394"/>
                        <a:pt x="751" y="1401"/>
                      </a:cubicBezTo>
                      <a:cubicBezTo>
                        <a:pt x="749" y="1402"/>
                        <a:pt x="746" y="1402"/>
                        <a:pt x="744" y="1402"/>
                      </a:cubicBezTo>
                      <a:cubicBezTo>
                        <a:pt x="736" y="1402"/>
                        <a:pt x="728" y="1397"/>
                        <a:pt x="725" y="1390"/>
                      </a:cubicBezTo>
                      <a:cubicBezTo>
                        <a:pt x="544" y="1028"/>
                        <a:pt x="544" y="1028"/>
                        <a:pt x="544" y="1028"/>
                      </a:cubicBezTo>
                      <a:cubicBezTo>
                        <a:pt x="510" y="1009"/>
                        <a:pt x="343" y="916"/>
                        <a:pt x="305" y="899"/>
                      </a:cubicBezTo>
                      <a:cubicBezTo>
                        <a:pt x="254" y="877"/>
                        <a:pt x="250" y="817"/>
                        <a:pt x="250" y="804"/>
                      </a:cubicBezTo>
                      <a:cubicBezTo>
                        <a:pt x="248" y="793"/>
                        <a:pt x="248" y="793"/>
                        <a:pt x="248" y="793"/>
                      </a:cubicBezTo>
                      <a:cubicBezTo>
                        <a:pt x="262" y="791"/>
                        <a:pt x="277" y="789"/>
                        <a:pt x="291" y="786"/>
                      </a:cubicBezTo>
                      <a:cubicBezTo>
                        <a:pt x="293" y="798"/>
                        <a:pt x="293" y="798"/>
                        <a:pt x="293" y="798"/>
                      </a:cubicBezTo>
                      <a:cubicBezTo>
                        <a:pt x="293" y="799"/>
                        <a:pt x="294" y="801"/>
                        <a:pt x="294" y="802"/>
                      </a:cubicBezTo>
                      <a:cubicBezTo>
                        <a:pt x="294" y="803"/>
                        <a:pt x="293" y="846"/>
                        <a:pt x="322" y="859"/>
                      </a:cubicBezTo>
                      <a:cubicBezTo>
                        <a:pt x="367" y="878"/>
                        <a:pt x="563" y="988"/>
                        <a:pt x="571" y="993"/>
                      </a:cubicBezTo>
                      <a:cubicBezTo>
                        <a:pt x="575" y="995"/>
                        <a:pt x="578" y="998"/>
                        <a:pt x="580" y="1002"/>
                      </a:cubicBezTo>
                      <a:cubicBezTo>
                        <a:pt x="754" y="1350"/>
                        <a:pt x="754" y="1350"/>
                        <a:pt x="754" y="1350"/>
                      </a:cubicBezTo>
                      <a:cubicBezTo>
                        <a:pt x="759" y="1346"/>
                        <a:pt x="763" y="1342"/>
                        <a:pt x="765" y="1336"/>
                      </a:cubicBezTo>
                      <a:cubicBezTo>
                        <a:pt x="771" y="1325"/>
                        <a:pt x="772" y="1312"/>
                        <a:pt x="768" y="1300"/>
                      </a:cubicBezTo>
                      <a:cubicBezTo>
                        <a:pt x="648" y="944"/>
                        <a:pt x="648" y="944"/>
                        <a:pt x="648" y="944"/>
                      </a:cubicBezTo>
                      <a:cubicBezTo>
                        <a:pt x="453" y="745"/>
                        <a:pt x="453" y="745"/>
                        <a:pt x="453" y="745"/>
                      </a:cubicBezTo>
                      <a:cubicBezTo>
                        <a:pt x="470" y="739"/>
                        <a:pt x="485" y="733"/>
                        <a:pt x="498" y="728"/>
                      </a:cubicBezTo>
                      <a:cubicBezTo>
                        <a:pt x="683" y="917"/>
                        <a:pt x="683" y="917"/>
                        <a:pt x="683" y="917"/>
                      </a:cubicBezTo>
                      <a:cubicBezTo>
                        <a:pt x="685" y="919"/>
                        <a:pt x="687" y="922"/>
                        <a:pt x="688" y="925"/>
                      </a:cubicBezTo>
                      <a:cubicBezTo>
                        <a:pt x="810" y="1286"/>
                        <a:pt x="810" y="1286"/>
                        <a:pt x="810" y="1286"/>
                      </a:cubicBezTo>
                      <a:cubicBezTo>
                        <a:pt x="818" y="1310"/>
                        <a:pt x="816" y="1334"/>
                        <a:pt x="805" y="1356"/>
                      </a:cubicBezTo>
                      <a:close/>
                      <a:moveTo>
                        <a:pt x="360" y="273"/>
                      </a:moveTo>
                      <a:cubicBezTo>
                        <a:pt x="368" y="270"/>
                        <a:pt x="371" y="262"/>
                        <a:pt x="372" y="258"/>
                      </a:cubicBezTo>
                      <a:cubicBezTo>
                        <a:pt x="381" y="235"/>
                        <a:pt x="396" y="160"/>
                        <a:pt x="372" y="117"/>
                      </a:cubicBezTo>
                      <a:cubicBezTo>
                        <a:pt x="368" y="110"/>
                        <a:pt x="358" y="107"/>
                        <a:pt x="350" y="111"/>
                      </a:cubicBezTo>
                      <a:cubicBezTo>
                        <a:pt x="343" y="115"/>
                        <a:pt x="340" y="125"/>
                        <a:pt x="344" y="133"/>
                      </a:cubicBezTo>
                      <a:cubicBezTo>
                        <a:pt x="361" y="163"/>
                        <a:pt x="350" y="224"/>
                        <a:pt x="343" y="243"/>
                      </a:cubicBezTo>
                      <a:cubicBezTo>
                        <a:pt x="334" y="244"/>
                        <a:pt x="313" y="245"/>
                        <a:pt x="283" y="242"/>
                      </a:cubicBezTo>
                      <a:cubicBezTo>
                        <a:pt x="274" y="241"/>
                        <a:pt x="266" y="247"/>
                        <a:pt x="265" y="256"/>
                      </a:cubicBezTo>
                      <a:cubicBezTo>
                        <a:pt x="264" y="265"/>
                        <a:pt x="271" y="273"/>
                        <a:pt x="279" y="274"/>
                      </a:cubicBezTo>
                      <a:cubicBezTo>
                        <a:pt x="296" y="276"/>
                        <a:pt x="310" y="276"/>
                        <a:pt x="323" y="276"/>
                      </a:cubicBezTo>
                      <a:cubicBezTo>
                        <a:pt x="341" y="276"/>
                        <a:pt x="354" y="275"/>
                        <a:pt x="360" y="273"/>
                      </a:cubicBezTo>
                      <a:close/>
                      <a:moveTo>
                        <a:pt x="342" y="248"/>
                      </a:moveTo>
                      <a:cubicBezTo>
                        <a:pt x="342" y="248"/>
                        <a:pt x="342" y="248"/>
                        <a:pt x="342" y="248"/>
                      </a:cubicBezTo>
                      <a:close/>
                      <a:moveTo>
                        <a:pt x="396" y="33"/>
                      </a:moveTo>
                      <a:cubicBezTo>
                        <a:pt x="322" y="29"/>
                        <a:pt x="350" y="10"/>
                        <a:pt x="269" y="4"/>
                      </a:cubicBezTo>
                      <a:cubicBezTo>
                        <a:pt x="199" y="0"/>
                        <a:pt x="161" y="39"/>
                        <a:pt x="141" y="74"/>
                      </a:cubicBezTo>
                      <a:cubicBezTo>
                        <a:pt x="100" y="148"/>
                        <a:pt x="171" y="230"/>
                        <a:pt x="183" y="243"/>
                      </a:cubicBezTo>
                      <a:cubicBezTo>
                        <a:pt x="184" y="244"/>
                        <a:pt x="185" y="244"/>
                        <a:pt x="185" y="242"/>
                      </a:cubicBezTo>
                      <a:cubicBezTo>
                        <a:pt x="185" y="242"/>
                        <a:pt x="185" y="242"/>
                        <a:pt x="189" y="187"/>
                      </a:cubicBezTo>
                      <a:cubicBezTo>
                        <a:pt x="189" y="187"/>
                        <a:pt x="189" y="187"/>
                        <a:pt x="189" y="187"/>
                      </a:cubicBezTo>
                      <a:cubicBezTo>
                        <a:pt x="188" y="182"/>
                        <a:pt x="164" y="125"/>
                        <a:pt x="195" y="112"/>
                      </a:cubicBezTo>
                      <a:cubicBezTo>
                        <a:pt x="227" y="97"/>
                        <a:pt x="232" y="142"/>
                        <a:pt x="232" y="149"/>
                      </a:cubicBezTo>
                      <a:cubicBezTo>
                        <a:pt x="232" y="150"/>
                        <a:pt x="233" y="150"/>
                        <a:pt x="233" y="150"/>
                      </a:cubicBezTo>
                      <a:cubicBezTo>
                        <a:pt x="237" y="151"/>
                        <a:pt x="253" y="154"/>
                        <a:pt x="254" y="150"/>
                      </a:cubicBezTo>
                      <a:cubicBezTo>
                        <a:pt x="256" y="116"/>
                        <a:pt x="270" y="98"/>
                        <a:pt x="287" y="87"/>
                      </a:cubicBezTo>
                      <a:cubicBezTo>
                        <a:pt x="320" y="67"/>
                        <a:pt x="366" y="76"/>
                        <a:pt x="374" y="74"/>
                      </a:cubicBezTo>
                      <a:cubicBezTo>
                        <a:pt x="374" y="73"/>
                        <a:pt x="375" y="73"/>
                        <a:pt x="375" y="73"/>
                      </a:cubicBezTo>
                      <a:cubicBezTo>
                        <a:pt x="380" y="57"/>
                        <a:pt x="404" y="33"/>
                        <a:pt x="396" y="33"/>
                      </a:cubicBezTo>
                      <a:close/>
                      <a:moveTo>
                        <a:pt x="2102" y="1286"/>
                      </a:moveTo>
                      <a:cubicBezTo>
                        <a:pt x="1980" y="925"/>
                        <a:pt x="1980" y="925"/>
                        <a:pt x="1980" y="925"/>
                      </a:cubicBezTo>
                      <a:cubicBezTo>
                        <a:pt x="1979" y="922"/>
                        <a:pt x="1977" y="919"/>
                        <a:pt x="1975" y="917"/>
                      </a:cubicBezTo>
                      <a:cubicBezTo>
                        <a:pt x="1790" y="728"/>
                        <a:pt x="1790" y="728"/>
                        <a:pt x="1790" y="728"/>
                      </a:cubicBezTo>
                      <a:cubicBezTo>
                        <a:pt x="1777" y="733"/>
                        <a:pt x="1762" y="739"/>
                        <a:pt x="1745" y="745"/>
                      </a:cubicBezTo>
                      <a:cubicBezTo>
                        <a:pt x="1940" y="944"/>
                        <a:pt x="1940" y="944"/>
                        <a:pt x="1940" y="944"/>
                      </a:cubicBezTo>
                      <a:cubicBezTo>
                        <a:pt x="2060" y="1300"/>
                        <a:pt x="2060" y="1300"/>
                        <a:pt x="2060" y="1300"/>
                      </a:cubicBezTo>
                      <a:cubicBezTo>
                        <a:pt x="2064" y="1312"/>
                        <a:pt x="2063" y="1325"/>
                        <a:pt x="2057" y="1336"/>
                      </a:cubicBezTo>
                      <a:cubicBezTo>
                        <a:pt x="2055" y="1342"/>
                        <a:pt x="2051" y="1346"/>
                        <a:pt x="2046" y="1350"/>
                      </a:cubicBezTo>
                      <a:cubicBezTo>
                        <a:pt x="1872" y="1002"/>
                        <a:pt x="1872" y="1002"/>
                        <a:pt x="1872" y="1002"/>
                      </a:cubicBezTo>
                      <a:cubicBezTo>
                        <a:pt x="1870" y="998"/>
                        <a:pt x="1867" y="995"/>
                        <a:pt x="1863" y="993"/>
                      </a:cubicBezTo>
                      <a:cubicBezTo>
                        <a:pt x="1855" y="988"/>
                        <a:pt x="1659" y="878"/>
                        <a:pt x="1615" y="859"/>
                      </a:cubicBezTo>
                      <a:cubicBezTo>
                        <a:pt x="1585" y="846"/>
                        <a:pt x="1586" y="803"/>
                        <a:pt x="1586" y="802"/>
                      </a:cubicBezTo>
                      <a:cubicBezTo>
                        <a:pt x="1586" y="801"/>
                        <a:pt x="1585" y="799"/>
                        <a:pt x="1585" y="798"/>
                      </a:cubicBezTo>
                      <a:cubicBezTo>
                        <a:pt x="1583" y="786"/>
                        <a:pt x="1583" y="786"/>
                        <a:pt x="1583" y="786"/>
                      </a:cubicBezTo>
                      <a:cubicBezTo>
                        <a:pt x="1569" y="789"/>
                        <a:pt x="1554" y="791"/>
                        <a:pt x="1540" y="793"/>
                      </a:cubicBezTo>
                      <a:cubicBezTo>
                        <a:pt x="1542" y="804"/>
                        <a:pt x="1542" y="804"/>
                        <a:pt x="1542" y="804"/>
                      </a:cubicBezTo>
                      <a:cubicBezTo>
                        <a:pt x="1542" y="817"/>
                        <a:pt x="1546" y="877"/>
                        <a:pt x="1597" y="899"/>
                      </a:cubicBezTo>
                      <a:cubicBezTo>
                        <a:pt x="1635" y="916"/>
                        <a:pt x="1802" y="1009"/>
                        <a:pt x="1836" y="1028"/>
                      </a:cubicBezTo>
                      <a:cubicBezTo>
                        <a:pt x="2017" y="1390"/>
                        <a:pt x="2017" y="1390"/>
                        <a:pt x="2017" y="1390"/>
                      </a:cubicBezTo>
                      <a:cubicBezTo>
                        <a:pt x="2020" y="1397"/>
                        <a:pt x="2028" y="1402"/>
                        <a:pt x="2036" y="1402"/>
                      </a:cubicBezTo>
                      <a:cubicBezTo>
                        <a:pt x="2038" y="1402"/>
                        <a:pt x="2041" y="1402"/>
                        <a:pt x="2043" y="1401"/>
                      </a:cubicBezTo>
                      <a:cubicBezTo>
                        <a:pt x="2066" y="1394"/>
                        <a:pt x="2085" y="1378"/>
                        <a:pt x="2097" y="1356"/>
                      </a:cubicBezTo>
                      <a:cubicBezTo>
                        <a:pt x="2108" y="1334"/>
                        <a:pt x="2110" y="1310"/>
                        <a:pt x="2102" y="1286"/>
                      </a:cubicBezTo>
                      <a:close/>
                      <a:moveTo>
                        <a:pt x="1652" y="273"/>
                      </a:moveTo>
                      <a:cubicBezTo>
                        <a:pt x="1660" y="270"/>
                        <a:pt x="1663" y="262"/>
                        <a:pt x="1664" y="258"/>
                      </a:cubicBezTo>
                      <a:cubicBezTo>
                        <a:pt x="1673" y="235"/>
                        <a:pt x="1688" y="160"/>
                        <a:pt x="1664" y="117"/>
                      </a:cubicBezTo>
                      <a:cubicBezTo>
                        <a:pt x="1660" y="110"/>
                        <a:pt x="1650" y="107"/>
                        <a:pt x="1642" y="111"/>
                      </a:cubicBezTo>
                      <a:cubicBezTo>
                        <a:pt x="1635" y="115"/>
                        <a:pt x="1632" y="125"/>
                        <a:pt x="1636" y="133"/>
                      </a:cubicBezTo>
                      <a:cubicBezTo>
                        <a:pt x="1653" y="163"/>
                        <a:pt x="1642" y="224"/>
                        <a:pt x="1635" y="243"/>
                      </a:cubicBezTo>
                      <a:cubicBezTo>
                        <a:pt x="1626" y="244"/>
                        <a:pt x="1605" y="245"/>
                        <a:pt x="1575" y="242"/>
                      </a:cubicBezTo>
                      <a:cubicBezTo>
                        <a:pt x="1566" y="241"/>
                        <a:pt x="1558" y="247"/>
                        <a:pt x="1557" y="256"/>
                      </a:cubicBezTo>
                      <a:cubicBezTo>
                        <a:pt x="1556" y="265"/>
                        <a:pt x="1563" y="273"/>
                        <a:pt x="1571" y="274"/>
                      </a:cubicBezTo>
                      <a:cubicBezTo>
                        <a:pt x="1588" y="276"/>
                        <a:pt x="1602" y="276"/>
                        <a:pt x="1615" y="276"/>
                      </a:cubicBezTo>
                      <a:cubicBezTo>
                        <a:pt x="1633" y="276"/>
                        <a:pt x="1646" y="275"/>
                        <a:pt x="1652" y="273"/>
                      </a:cubicBezTo>
                      <a:close/>
                      <a:moveTo>
                        <a:pt x="1634" y="248"/>
                      </a:moveTo>
                      <a:cubicBezTo>
                        <a:pt x="1634" y="248"/>
                        <a:pt x="1634" y="248"/>
                        <a:pt x="1634" y="248"/>
                      </a:cubicBezTo>
                      <a:close/>
                      <a:moveTo>
                        <a:pt x="1688" y="33"/>
                      </a:moveTo>
                      <a:cubicBezTo>
                        <a:pt x="1614" y="29"/>
                        <a:pt x="1642" y="10"/>
                        <a:pt x="1561" y="4"/>
                      </a:cubicBezTo>
                      <a:cubicBezTo>
                        <a:pt x="1491" y="0"/>
                        <a:pt x="1453" y="39"/>
                        <a:pt x="1433" y="74"/>
                      </a:cubicBezTo>
                      <a:cubicBezTo>
                        <a:pt x="1392" y="148"/>
                        <a:pt x="1463" y="230"/>
                        <a:pt x="1475" y="243"/>
                      </a:cubicBezTo>
                      <a:cubicBezTo>
                        <a:pt x="1476" y="244"/>
                        <a:pt x="1477" y="244"/>
                        <a:pt x="1477" y="242"/>
                      </a:cubicBezTo>
                      <a:cubicBezTo>
                        <a:pt x="1477" y="242"/>
                        <a:pt x="1477" y="242"/>
                        <a:pt x="1481" y="187"/>
                      </a:cubicBezTo>
                      <a:cubicBezTo>
                        <a:pt x="1481" y="187"/>
                        <a:pt x="1481" y="187"/>
                        <a:pt x="1481" y="187"/>
                      </a:cubicBezTo>
                      <a:cubicBezTo>
                        <a:pt x="1480" y="182"/>
                        <a:pt x="1456" y="125"/>
                        <a:pt x="1487" y="112"/>
                      </a:cubicBezTo>
                      <a:cubicBezTo>
                        <a:pt x="1519" y="97"/>
                        <a:pt x="1524" y="142"/>
                        <a:pt x="1524" y="149"/>
                      </a:cubicBezTo>
                      <a:cubicBezTo>
                        <a:pt x="1524" y="150"/>
                        <a:pt x="1525" y="150"/>
                        <a:pt x="1525" y="150"/>
                      </a:cubicBezTo>
                      <a:cubicBezTo>
                        <a:pt x="1529" y="151"/>
                        <a:pt x="1545" y="154"/>
                        <a:pt x="1546" y="150"/>
                      </a:cubicBezTo>
                      <a:cubicBezTo>
                        <a:pt x="1548" y="116"/>
                        <a:pt x="1562" y="98"/>
                        <a:pt x="1579" y="87"/>
                      </a:cubicBezTo>
                      <a:cubicBezTo>
                        <a:pt x="1612" y="67"/>
                        <a:pt x="1658" y="76"/>
                        <a:pt x="1666" y="74"/>
                      </a:cubicBezTo>
                      <a:cubicBezTo>
                        <a:pt x="1666" y="73"/>
                        <a:pt x="1667" y="73"/>
                        <a:pt x="1667" y="73"/>
                      </a:cubicBezTo>
                      <a:cubicBezTo>
                        <a:pt x="1672" y="57"/>
                        <a:pt x="1696" y="33"/>
                        <a:pt x="1688" y="33"/>
                      </a:cubicBezTo>
                      <a:close/>
                      <a:moveTo>
                        <a:pt x="1456" y="1286"/>
                      </a:moveTo>
                      <a:cubicBezTo>
                        <a:pt x="1334" y="925"/>
                        <a:pt x="1334" y="925"/>
                        <a:pt x="1334" y="925"/>
                      </a:cubicBezTo>
                      <a:cubicBezTo>
                        <a:pt x="1333" y="922"/>
                        <a:pt x="1331" y="919"/>
                        <a:pt x="1329" y="917"/>
                      </a:cubicBezTo>
                      <a:cubicBezTo>
                        <a:pt x="1144" y="728"/>
                        <a:pt x="1144" y="728"/>
                        <a:pt x="1144" y="728"/>
                      </a:cubicBezTo>
                      <a:cubicBezTo>
                        <a:pt x="1131" y="733"/>
                        <a:pt x="1116" y="739"/>
                        <a:pt x="1099" y="745"/>
                      </a:cubicBezTo>
                      <a:cubicBezTo>
                        <a:pt x="1294" y="944"/>
                        <a:pt x="1294" y="944"/>
                        <a:pt x="1294" y="944"/>
                      </a:cubicBezTo>
                      <a:cubicBezTo>
                        <a:pt x="1414" y="1300"/>
                        <a:pt x="1414" y="1300"/>
                        <a:pt x="1414" y="1300"/>
                      </a:cubicBezTo>
                      <a:cubicBezTo>
                        <a:pt x="1418" y="1312"/>
                        <a:pt x="1417" y="1325"/>
                        <a:pt x="1411" y="1336"/>
                      </a:cubicBezTo>
                      <a:cubicBezTo>
                        <a:pt x="1409" y="1342"/>
                        <a:pt x="1405" y="1346"/>
                        <a:pt x="1400" y="1350"/>
                      </a:cubicBezTo>
                      <a:cubicBezTo>
                        <a:pt x="1226" y="1002"/>
                        <a:pt x="1226" y="1002"/>
                        <a:pt x="1226" y="1002"/>
                      </a:cubicBezTo>
                      <a:cubicBezTo>
                        <a:pt x="1224" y="998"/>
                        <a:pt x="1221" y="995"/>
                        <a:pt x="1217" y="993"/>
                      </a:cubicBezTo>
                      <a:cubicBezTo>
                        <a:pt x="1209" y="988"/>
                        <a:pt x="1013" y="878"/>
                        <a:pt x="969" y="859"/>
                      </a:cubicBezTo>
                      <a:cubicBezTo>
                        <a:pt x="939" y="846"/>
                        <a:pt x="940" y="803"/>
                        <a:pt x="940" y="802"/>
                      </a:cubicBezTo>
                      <a:cubicBezTo>
                        <a:pt x="940" y="801"/>
                        <a:pt x="939" y="799"/>
                        <a:pt x="939" y="798"/>
                      </a:cubicBezTo>
                      <a:cubicBezTo>
                        <a:pt x="937" y="786"/>
                        <a:pt x="937" y="786"/>
                        <a:pt x="937" y="786"/>
                      </a:cubicBezTo>
                      <a:cubicBezTo>
                        <a:pt x="923" y="789"/>
                        <a:pt x="908" y="791"/>
                        <a:pt x="894" y="793"/>
                      </a:cubicBezTo>
                      <a:cubicBezTo>
                        <a:pt x="896" y="804"/>
                        <a:pt x="896" y="804"/>
                        <a:pt x="896" y="804"/>
                      </a:cubicBezTo>
                      <a:cubicBezTo>
                        <a:pt x="896" y="817"/>
                        <a:pt x="900" y="877"/>
                        <a:pt x="951" y="899"/>
                      </a:cubicBezTo>
                      <a:cubicBezTo>
                        <a:pt x="989" y="916"/>
                        <a:pt x="1156" y="1009"/>
                        <a:pt x="1190" y="1028"/>
                      </a:cubicBezTo>
                      <a:cubicBezTo>
                        <a:pt x="1371" y="1390"/>
                        <a:pt x="1371" y="1390"/>
                        <a:pt x="1371" y="1390"/>
                      </a:cubicBezTo>
                      <a:cubicBezTo>
                        <a:pt x="1374" y="1397"/>
                        <a:pt x="1382" y="1402"/>
                        <a:pt x="1390" y="1402"/>
                      </a:cubicBezTo>
                      <a:cubicBezTo>
                        <a:pt x="1392" y="1402"/>
                        <a:pt x="1395" y="1402"/>
                        <a:pt x="1397" y="1401"/>
                      </a:cubicBezTo>
                      <a:cubicBezTo>
                        <a:pt x="1420" y="1394"/>
                        <a:pt x="1439" y="1378"/>
                        <a:pt x="1451" y="1356"/>
                      </a:cubicBezTo>
                      <a:cubicBezTo>
                        <a:pt x="1462" y="1334"/>
                        <a:pt x="1464" y="1310"/>
                        <a:pt x="1456" y="1286"/>
                      </a:cubicBezTo>
                      <a:close/>
                      <a:moveTo>
                        <a:pt x="1006" y="273"/>
                      </a:moveTo>
                      <a:cubicBezTo>
                        <a:pt x="1014" y="270"/>
                        <a:pt x="1017" y="262"/>
                        <a:pt x="1018" y="258"/>
                      </a:cubicBezTo>
                      <a:cubicBezTo>
                        <a:pt x="1027" y="235"/>
                        <a:pt x="1042" y="160"/>
                        <a:pt x="1018" y="117"/>
                      </a:cubicBezTo>
                      <a:cubicBezTo>
                        <a:pt x="1014" y="110"/>
                        <a:pt x="1004" y="107"/>
                        <a:pt x="996" y="111"/>
                      </a:cubicBezTo>
                      <a:cubicBezTo>
                        <a:pt x="989" y="115"/>
                        <a:pt x="986" y="125"/>
                        <a:pt x="990" y="133"/>
                      </a:cubicBezTo>
                      <a:cubicBezTo>
                        <a:pt x="1007" y="163"/>
                        <a:pt x="996" y="224"/>
                        <a:pt x="989" y="243"/>
                      </a:cubicBezTo>
                      <a:cubicBezTo>
                        <a:pt x="980" y="244"/>
                        <a:pt x="959" y="245"/>
                        <a:pt x="929" y="242"/>
                      </a:cubicBezTo>
                      <a:cubicBezTo>
                        <a:pt x="920" y="241"/>
                        <a:pt x="912" y="247"/>
                        <a:pt x="911" y="256"/>
                      </a:cubicBezTo>
                      <a:cubicBezTo>
                        <a:pt x="910" y="265"/>
                        <a:pt x="917" y="273"/>
                        <a:pt x="925" y="274"/>
                      </a:cubicBezTo>
                      <a:cubicBezTo>
                        <a:pt x="942" y="276"/>
                        <a:pt x="956" y="276"/>
                        <a:pt x="969" y="276"/>
                      </a:cubicBezTo>
                      <a:cubicBezTo>
                        <a:pt x="987" y="276"/>
                        <a:pt x="1000" y="275"/>
                        <a:pt x="1006" y="273"/>
                      </a:cubicBezTo>
                      <a:close/>
                      <a:moveTo>
                        <a:pt x="988" y="248"/>
                      </a:moveTo>
                      <a:cubicBezTo>
                        <a:pt x="988" y="248"/>
                        <a:pt x="988" y="248"/>
                        <a:pt x="988" y="248"/>
                      </a:cubicBezTo>
                      <a:close/>
                      <a:moveTo>
                        <a:pt x="1042" y="33"/>
                      </a:moveTo>
                      <a:cubicBezTo>
                        <a:pt x="968" y="29"/>
                        <a:pt x="996" y="10"/>
                        <a:pt x="915" y="4"/>
                      </a:cubicBezTo>
                      <a:cubicBezTo>
                        <a:pt x="845" y="0"/>
                        <a:pt x="807" y="39"/>
                        <a:pt x="787" y="74"/>
                      </a:cubicBezTo>
                      <a:cubicBezTo>
                        <a:pt x="746" y="148"/>
                        <a:pt x="817" y="230"/>
                        <a:pt x="829" y="243"/>
                      </a:cubicBezTo>
                      <a:cubicBezTo>
                        <a:pt x="830" y="244"/>
                        <a:pt x="831" y="244"/>
                        <a:pt x="831" y="242"/>
                      </a:cubicBezTo>
                      <a:cubicBezTo>
                        <a:pt x="831" y="242"/>
                        <a:pt x="831" y="242"/>
                        <a:pt x="835" y="187"/>
                      </a:cubicBezTo>
                      <a:cubicBezTo>
                        <a:pt x="835" y="187"/>
                        <a:pt x="835" y="187"/>
                        <a:pt x="835" y="187"/>
                      </a:cubicBezTo>
                      <a:cubicBezTo>
                        <a:pt x="834" y="182"/>
                        <a:pt x="810" y="125"/>
                        <a:pt x="841" y="112"/>
                      </a:cubicBezTo>
                      <a:cubicBezTo>
                        <a:pt x="873" y="97"/>
                        <a:pt x="878" y="142"/>
                        <a:pt x="878" y="149"/>
                      </a:cubicBezTo>
                      <a:cubicBezTo>
                        <a:pt x="878" y="150"/>
                        <a:pt x="879" y="150"/>
                        <a:pt x="879" y="150"/>
                      </a:cubicBezTo>
                      <a:cubicBezTo>
                        <a:pt x="883" y="151"/>
                        <a:pt x="899" y="154"/>
                        <a:pt x="900" y="150"/>
                      </a:cubicBezTo>
                      <a:cubicBezTo>
                        <a:pt x="902" y="116"/>
                        <a:pt x="916" y="98"/>
                        <a:pt x="933" y="87"/>
                      </a:cubicBezTo>
                      <a:cubicBezTo>
                        <a:pt x="966" y="67"/>
                        <a:pt x="1012" y="76"/>
                        <a:pt x="1020" y="74"/>
                      </a:cubicBezTo>
                      <a:cubicBezTo>
                        <a:pt x="1020" y="73"/>
                        <a:pt x="1021" y="73"/>
                        <a:pt x="1021" y="73"/>
                      </a:cubicBezTo>
                      <a:cubicBezTo>
                        <a:pt x="1026" y="57"/>
                        <a:pt x="1050" y="33"/>
                        <a:pt x="1042" y="33"/>
                      </a:cubicBezTo>
                      <a:close/>
                      <a:moveTo>
                        <a:pt x="155" y="582"/>
                      </a:moveTo>
                      <a:cubicBezTo>
                        <a:pt x="67" y="598"/>
                        <a:pt x="0" y="676"/>
                        <a:pt x="0" y="768"/>
                      </a:cubicBezTo>
                      <a:cubicBezTo>
                        <a:pt x="0" y="1061"/>
                        <a:pt x="0" y="1061"/>
                        <a:pt x="0" y="1061"/>
                      </a:cubicBezTo>
                      <a:cubicBezTo>
                        <a:pt x="0" y="1073"/>
                        <a:pt x="10" y="1083"/>
                        <a:pt x="22" y="1083"/>
                      </a:cubicBezTo>
                      <a:cubicBezTo>
                        <a:pt x="34" y="1083"/>
                        <a:pt x="44" y="1073"/>
                        <a:pt x="44" y="1061"/>
                      </a:cubicBezTo>
                      <a:cubicBezTo>
                        <a:pt x="44" y="768"/>
                        <a:pt x="44" y="768"/>
                        <a:pt x="44" y="768"/>
                      </a:cubicBezTo>
                      <a:cubicBezTo>
                        <a:pt x="44" y="697"/>
                        <a:pt x="95" y="638"/>
                        <a:pt x="163" y="625"/>
                      </a:cubicBezTo>
                      <a:lnTo>
                        <a:pt x="155" y="582"/>
                      </a:lnTo>
                      <a:close/>
                      <a:moveTo>
                        <a:pt x="713" y="623"/>
                      </a:moveTo>
                      <a:cubicBezTo>
                        <a:pt x="808" y="623"/>
                        <a:pt x="808" y="623"/>
                        <a:pt x="808" y="623"/>
                      </a:cubicBezTo>
                      <a:cubicBezTo>
                        <a:pt x="800" y="579"/>
                        <a:pt x="800" y="579"/>
                        <a:pt x="800" y="579"/>
                      </a:cubicBezTo>
                      <a:cubicBezTo>
                        <a:pt x="719" y="579"/>
                        <a:pt x="719" y="579"/>
                        <a:pt x="719" y="579"/>
                      </a:cubicBezTo>
                      <a:cubicBezTo>
                        <a:pt x="723" y="594"/>
                        <a:pt x="721" y="610"/>
                        <a:pt x="713" y="623"/>
                      </a:cubicBezTo>
                      <a:close/>
                      <a:moveTo>
                        <a:pt x="1359" y="623"/>
                      </a:moveTo>
                      <a:cubicBezTo>
                        <a:pt x="1454" y="623"/>
                        <a:pt x="1454" y="623"/>
                        <a:pt x="1454" y="623"/>
                      </a:cubicBezTo>
                      <a:cubicBezTo>
                        <a:pt x="1446" y="579"/>
                        <a:pt x="1446" y="579"/>
                        <a:pt x="1446" y="579"/>
                      </a:cubicBezTo>
                      <a:cubicBezTo>
                        <a:pt x="1365" y="579"/>
                        <a:pt x="1365" y="579"/>
                        <a:pt x="1365" y="579"/>
                      </a:cubicBezTo>
                      <a:cubicBezTo>
                        <a:pt x="1369" y="594"/>
                        <a:pt x="1367" y="610"/>
                        <a:pt x="1359" y="623"/>
                      </a:cubicBezTo>
                      <a:close/>
                      <a:moveTo>
                        <a:pt x="2126" y="579"/>
                      </a:moveTo>
                      <a:cubicBezTo>
                        <a:pt x="2011" y="579"/>
                        <a:pt x="2011" y="579"/>
                        <a:pt x="2011" y="579"/>
                      </a:cubicBezTo>
                      <a:cubicBezTo>
                        <a:pt x="2015" y="594"/>
                        <a:pt x="2013" y="610"/>
                        <a:pt x="2005" y="623"/>
                      </a:cubicBezTo>
                      <a:cubicBezTo>
                        <a:pt x="2126" y="623"/>
                        <a:pt x="2126" y="623"/>
                        <a:pt x="2126" y="623"/>
                      </a:cubicBezTo>
                      <a:cubicBezTo>
                        <a:pt x="2138" y="623"/>
                        <a:pt x="2148" y="613"/>
                        <a:pt x="2148" y="601"/>
                      </a:cubicBezTo>
                      <a:cubicBezTo>
                        <a:pt x="2148" y="589"/>
                        <a:pt x="2138" y="579"/>
                        <a:pt x="2126" y="579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D900982E-70F4-130B-F955-89110047700C}"/>
                </a:ext>
              </a:extLst>
            </p:cNvPr>
            <p:cNvGrpSpPr/>
            <p:nvPr/>
          </p:nvGrpSpPr>
          <p:grpSpPr>
            <a:xfrm>
              <a:off x="484627" y="1283847"/>
              <a:ext cx="10994007" cy="4922150"/>
              <a:chOff x="496214" y="1340446"/>
              <a:chExt cx="10994007" cy="4922150"/>
            </a:xfrm>
          </p:grpSpPr>
          <p:sp>
            <p:nvSpPr>
              <p:cNvPr id="5" name="Freeform: Shape 4">
                <a:extLst>
                  <a:ext uri="{FF2B5EF4-FFF2-40B4-BE49-F238E27FC236}">
                    <a16:creationId xmlns:a16="http://schemas.microsoft.com/office/drawing/2014/main" id="{18BF13D5-7FA3-DF6F-4482-8A2D8AD47E05}"/>
                  </a:ext>
                </a:extLst>
              </p:cNvPr>
              <p:cNvSpPr/>
              <p:nvPr/>
            </p:nvSpPr>
            <p:spPr>
              <a:xfrm>
                <a:off x="1851167" y="3766428"/>
                <a:ext cx="2261460" cy="2350550"/>
              </a:xfrm>
              <a:custGeom>
                <a:avLst/>
                <a:gdLst>
                  <a:gd name="connsiteX0" fmla="*/ 0 w 2736850"/>
                  <a:gd name="connsiteY0" fmla="*/ 2736850 h 2736850"/>
                  <a:gd name="connsiteX1" fmla="*/ 977900 w 2736850"/>
                  <a:gd name="connsiteY1" fmla="*/ 0 h 2736850"/>
                  <a:gd name="connsiteX2" fmla="*/ 2736850 w 2736850"/>
                  <a:gd name="connsiteY2" fmla="*/ 1212850 h 2736850"/>
                  <a:gd name="connsiteX0" fmla="*/ 0 w 2736850"/>
                  <a:gd name="connsiteY0" fmla="*/ 2775601 h 2775601"/>
                  <a:gd name="connsiteX1" fmla="*/ 977900 w 2736850"/>
                  <a:gd name="connsiteY1" fmla="*/ 38751 h 2775601"/>
                  <a:gd name="connsiteX2" fmla="*/ 2736850 w 2736850"/>
                  <a:gd name="connsiteY2" fmla="*/ 1251601 h 2775601"/>
                  <a:gd name="connsiteX0" fmla="*/ 0 w 2736850"/>
                  <a:gd name="connsiteY0" fmla="*/ 2739844 h 2739844"/>
                  <a:gd name="connsiteX1" fmla="*/ 977900 w 2736850"/>
                  <a:gd name="connsiteY1" fmla="*/ 2994 h 2739844"/>
                  <a:gd name="connsiteX2" fmla="*/ 2736850 w 2736850"/>
                  <a:gd name="connsiteY2" fmla="*/ 1215844 h 2739844"/>
                  <a:gd name="connsiteX0" fmla="*/ 0 w 2736850"/>
                  <a:gd name="connsiteY0" fmla="*/ 2737685 h 2737685"/>
                  <a:gd name="connsiteX1" fmla="*/ 977900 w 2736850"/>
                  <a:gd name="connsiteY1" fmla="*/ 835 h 2737685"/>
                  <a:gd name="connsiteX2" fmla="*/ 2736850 w 2736850"/>
                  <a:gd name="connsiteY2" fmla="*/ 1213685 h 2737685"/>
                  <a:gd name="connsiteX0" fmla="*/ 456 w 2737306"/>
                  <a:gd name="connsiteY0" fmla="*/ 2737710 h 2737710"/>
                  <a:gd name="connsiteX1" fmla="*/ 978356 w 2737306"/>
                  <a:gd name="connsiteY1" fmla="*/ 860 h 2737710"/>
                  <a:gd name="connsiteX2" fmla="*/ 2737306 w 2737306"/>
                  <a:gd name="connsiteY2" fmla="*/ 1213710 h 2737710"/>
                  <a:gd name="connsiteX0" fmla="*/ 438 w 2737288"/>
                  <a:gd name="connsiteY0" fmla="*/ 2766272 h 2766272"/>
                  <a:gd name="connsiteX1" fmla="*/ 1011675 w 2737288"/>
                  <a:gd name="connsiteY1" fmla="*/ 847 h 2766272"/>
                  <a:gd name="connsiteX2" fmla="*/ 2737288 w 2737288"/>
                  <a:gd name="connsiteY2" fmla="*/ 1242272 h 276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37288" h="2766272">
                    <a:moveTo>
                      <a:pt x="438" y="2766272"/>
                    </a:moveTo>
                    <a:cubicBezTo>
                      <a:pt x="-21257" y="1796839"/>
                      <a:pt x="769846" y="-45191"/>
                      <a:pt x="1011675" y="847"/>
                    </a:cubicBezTo>
                    <a:cubicBezTo>
                      <a:pt x="1253504" y="46885"/>
                      <a:pt x="2150971" y="837989"/>
                      <a:pt x="2737288" y="1242272"/>
                    </a:cubicBezTo>
                  </a:path>
                </a:pathLst>
              </a:custGeom>
              <a:noFill/>
              <a:ln w="76200" cap="flat" cmpd="sng" algn="ctr">
                <a:solidFill>
                  <a:srgbClr val="0070C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DC9F002B-7049-D9B8-4899-192C1C7FE308}"/>
                  </a:ext>
                </a:extLst>
              </p:cNvPr>
              <p:cNvSpPr/>
              <p:nvPr/>
            </p:nvSpPr>
            <p:spPr>
              <a:xfrm rot="2176908">
                <a:off x="3222666" y="2254674"/>
                <a:ext cx="2197134" cy="2220399"/>
              </a:xfrm>
              <a:custGeom>
                <a:avLst/>
                <a:gdLst>
                  <a:gd name="connsiteX0" fmla="*/ 0 w 2736850"/>
                  <a:gd name="connsiteY0" fmla="*/ 2736850 h 2736850"/>
                  <a:gd name="connsiteX1" fmla="*/ 977900 w 2736850"/>
                  <a:gd name="connsiteY1" fmla="*/ 0 h 2736850"/>
                  <a:gd name="connsiteX2" fmla="*/ 2736850 w 2736850"/>
                  <a:gd name="connsiteY2" fmla="*/ 1212850 h 2736850"/>
                  <a:gd name="connsiteX0" fmla="*/ 0 w 2736850"/>
                  <a:gd name="connsiteY0" fmla="*/ 2775601 h 2775601"/>
                  <a:gd name="connsiteX1" fmla="*/ 977900 w 2736850"/>
                  <a:gd name="connsiteY1" fmla="*/ 38751 h 2775601"/>
                  <a:gd name="connsiteX2" fmla="*/ 2736850 w 2736850"/>
                  <a:gd name="connsiteY2" fmla="*/ 1251601 h 2775601"/>
                  <a:gd name="connsiteX0" fmla="*/ 0 w 2736850"/>
                  <a:gd name="connsiteY0" fmla="*/ 2739844 h 2739844"/>
                  <a:gd name="connsiteX1" fmla="*/ 977900 w 2736850"/>
                  <a:gd name="connsiteY1" fmla="*/ 2994 h 2739844"/>
                  <a:gd name="connsiteX2" fmla="*/ 2736850 w 2736850"/>
                  <a:gd name="connsiteY2" fmla="*/ 1215844 h 2739844"/>
                  <a:gd name="connsiteX0" fmla="*/ 0 w 2736850"/>
                  <a:gd name="connsiteY0" fmla="*/ 2737685 h 2737685"/>
                  <a:gd name="connsiteX1" fmla="*/ 977900 w 2736850"/>
                  <a:gd name="connsiteY1" fmla="*/ 835 h 2737685"/>
                  <a:gd name="connsiteX2" fmla="*/ 2736850 w 2736850"/>
                  <a:gd name="connsiteY2" fmla="*/ 1213685 h 2737685"/>
                  <a:gd name="connsiteX0" fmla="*/ 456 w 2737306"/>
                  <a:gd name="connsiteY0" fmla="*/ 2737710 h 2737710"/>
                  <a:gd name="connsiteX1" fmla="*/ 978356 w 2737306"/>
                  <a:gd name="connsiteY1" fmla="*/ 860 h 2737710"/>
                  <a:gd name="connsiteX2" fmla="*/ 2737306 w 2737306"/>
                  <a:gd name="connsiteY2" fmla="*/ 1213710 h 2737710"/>
                  <a:gd name="connsiteX0" fmla="*/ 438 w 2737288"/>
                  <a:gd name="connsiteY0" fmla="*/ 2766272 h 2766272"/>
                  <a:gd name="connsiteX1" fmla="*/ 1011675 w 2737288"/>
                  <a:gd name="connsiteY1" fmla="*/ 847 h 2766272"/>
                  <a:gd name="connsiteX2" fmla="*/ 2737288 w 2737288"/>
                  <a:gd name="connsiteY2" fmla="*/ 1242272 h 276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37288" h="2766272">
                    <a:moveTo>
                      <a:pt x="438" y="2766272"/>
                    </a:moveTo>
                    <a:cubicBezTo>
                      <a:pt x="-21257" y="1796839"/>
                      <a:pt x="769846" y="-45191"/>
                      <a:pt x="1011675" y="847"/>
                    </a:cubicBezTo>
                    <a:cubicBezTo>
                      <a:pt x="1253504" y="46885"/>
                      <a:pt x="2150971" y="837989"/>
                      <a:pt x="2737288" y="1242272"/>
                    </a:cubicBezTo>
                  </a:path>
                </a:pathLst>
              </a:custGeom>
              <a:noFill/>
              <a:ln w="76200" cap="flat" cmpd="sng" algn="ctr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5FEF24EB-AB31-E527-F0A3-C911CA540D11}"/>
                  </a:ext>
                </a:extLst>
              </p:cNvPr>
              <p:cNvSpPr/>
              <p:nvPr/>
            </p:nvSpPr>
            <p:spPr>
              <a:xfrm rot="4270075">
                <a:off x="5224110" y="1782696"/>
                <a:ext cx="2197135" cy="2220399"/>
              </a:xfrm>
              <a:custGeom>
                <a:avLst/>
                <a:gdLst>
                  <a:gd name="connsiteX0" fmla="*/ 0 w 2736850"/>
                  <a:gd name="connsiteY0" fmla="*/ 2736850 h 2736850"/>
                  <a:gd name="connsiteX1" fmla="*/ 977900 w 2736850"/>
                  <a:gd name="connsiteY1" fmla="*/ 0 h 2736850"/>
                  <a:gd name="connsiteX2" fmla="*/ 2736850 w 2736850"/>
                  <a:gd name="connsiteY2" fmla="*/ 1212850 h 2736850"/>
                  <a:gd name="connsiteX0" fmla="*/ 0 w 2736850"/>
                  <a:gd name="connsiteY0" fmla="*/ 2775601 h 2775601"/>
                  <a:gd name="connsiteX1" fmla="*/ 977900 w 2736850"/>
                  <a:gd name="connsiteY1" fmla="*/ 38751 h 2775601"/>
                  <a:gd name="connsiteX2" fmla="*/ 2736850 w 2736850"/>
                  <a:gd name="connsiteY2" fmla="*/ 1251601 h 2775601"/>
                  <a:gd name="connsiteX0" fmla="*/ 0 w 2736850"/>
                  <a:gd name="connsiteY0" fmla="*/ 2739844 h 2739844"/>
                  <a:gd name="connsiteX1" fmla="*/ 977900 w 2736850"/>
                  <a:gd name="connsiteY1" fmla="*/ 2994 h 2739844"/>
                  <a:gd name="connsiteX2" fmla="*/ 2736850 w 2736850"/>
                  <a:gd name="connsiteY2" fmla="*/ 1215844 h 2739844"/>
                  <a:gd name="connsiteX0" fmla="*/ 0 w 2736850"/>
                  <a:gd name="connsiteY0" fmla="*/ 2737685 h 2737685"/>
                  <a:gd name="connsiteX1" fmla="*/ 977900 w 2736850"/>
                  <a:gd name="connsiteY1" fmla="*/ 835 h 2737685"/>
                  <a:gd name="connsiteX2" fmla="*/ 2736850 w 2736850"/>
                  <a:gd name="connsiteY2" fmla="*/ 1213685 h 2737685"/>
                  <a:gd name="connsiteX0" fmla="*/ 456 w 2737306"/>
                  <a:gd name="connsiteY0" fmla="*/ 2737710 h 2737710"/>
                  <a:gd name="connsiteX1" fmla="*/ 978356 w 2737306"/>
                  <a:gd name="connsiteY1" fmla="*/ 860 h 2737710"/>
                  <a:gd name="connsiteX2" fmla="*/ 2737306 w 2737306"/>
                  <a:gd name="connsiteY2" fmla="*/ 1213710 h 2737710"/>
                  <a:gd name="connsiteX0" fmla="*/ 438 w 2737288"/>
                  <a:gd name="connsiteY0" fmla="*/ 2766272 h 2766272"/>
                  <a:gd name="connsiteX1" fmla="*/ 1011675 w 2737288"/>
                  <a:gd name="connsiteY1" fmla="*/ 847 h 2766272"/>
                  <a:gd name="connsiteX2" fmla="*/ 2737288 w 2737288"/>
                  <a:gd name="connsiteY2" fmla="*/ 1242272 h 276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37288" h="2766272">
                    <a:moveTo>
                      <a:pt x="438" y="2766272"/>
                    </a:moveTo>
                    <a:cubicBezTo>
                      <a:pt x="-21257" y="1796839"/>
                      <a:pt x="769846" y="-45191"/>
                      <a:pt x="1011675" y="847"/>
                    </a:cubicBezTo>
                    <a:cubicBezTo>
                      <a:pt x="1253504" y="46885"/>
                      <a:pt x="2150971" y="837989"/>
                      <a:pt x="2737288" y="1242272"/>
                    </a:cubicBezTo>
                  </a:path>
                </a:pathLst>
              </a:custGeom>
              <a:noFill/>
              <a:ln w="7620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289BB9E3-19E7-305F-7CB2-3E89D2D3E36E}"/>
                  </a:ext>
                </a:extLst>
              </p:cNvPr>
              <p:cNvSpPr/>
              <p:nvPr/>
            </p:nvSpPr>
            <p:spPr>
              <a:xfrm rot="6459084">
                <a:off x="7061002" y="2642428"/>
                <a:ext cx="2216818" cy="2134302"/>
              </a:xfrm>
              <a:custGeom>
                <a:avLst/>
                <a:gdLst>
                  <a:gd name="connsiteX0" fmla="*/ 0 w 2736850"/>
                  <a:gd name="connsiteY0" fmla="*/ 2736850 h 2736850"/>
                  <a:gd name="connsiteX1" fmla="*/ 977900 w 2736850"/>
                  <a:gd name="connsiteY1" fmla="*/ 0 h 2736850"/>
                  <a:gd name="connsiteX2" fmla="*/ 2736850 w 2736850"/>
                  <a:gd name="connsiteY2" fmla="*/ 1212850 h 2736850"/>
                  <a:gd name="connsiteX0" fmla="*/ 0 w 2736850"/>
                  <a:gd name="connsiteY0" fmla="*/ 2775601 h 2775601"/>
                  <a:gd name="connsiteX1" fmla="*/ 977900 w 2736850"/>
                  <a:gd name="connsiteY1" fmla="*/ 38751 h 2775601"/>
                  <a:gd name="connsiteX2" fmla="*/ 2736850 w 2736850"/>
                  <a:gd name="connsiteY2" fmla="*/ 1251601 h 2775601"/>
                  <a:gd name="connsiteX0" fmla="*/ 0 w 2736850"/>
                  <a:gd name="connsiteY0" fmla="*/ 2739844 h 2739844"/>
                  <a:gd name="connsiteX1" fmla="*/ 977900 w 2736850"/>
                  <a:gd name="connsiteY1" fmla="*/ 2994 h 2739844"/>
                  <a:gd name="connsiteX2" fmla="*/ 2736850 w 2736850"/>
                  <a:gd name="connsiteY2" fmla="*/ 1215844 h 2739844"/>
                  <a:gd name="connsiteX0" fmla="*/ 0 w 2736850"/>
                  <a:gd name="connsiteY0" fmla="*/ 2737685 h 2737685"/>
                  <a:gd name="connsiteX1" fmla="*/ 977900 w 2736850"/>
                  <a:gd name="connsiteY1" fmla="*/ 835 h 2737685"/>
                  <a:gd name="connsiteX2" fmla="*/ 2736850 w 2736850"/>
                  <a:gd name="connsiteY2" fmla="*/ 1213685 h 2737685"/>
                  <a:gd name="connsiteX0" fmla="*/ 456 w 2737306"/>
                  <a:gd name="connsiteY0" fmla="*/ 2737710 h 2737710"/>
                  <a:gd name="connsiteX1" fmla="*/ 978356 w 2737306"/>
                  <a:gd name="connsiteY1" fmla="*/ 860 h 2737710"/>
                  <a:gd name="connsiteX2" fmla="*/ 2737306 w 2737306"/>
                  <a:gd name="connsiteY2" fmla="*/ 1213710 h 2737710"/>
                  <a:gd name="connsiteX0" fmla="*/ 438 w 2737288"/>
                  <a:gd name="connsiteY0" fmla="*/ 2766272 h 2766272"/>
                  <a:gd name="connsiteX1" fmla="*/ 1011675 w 2737288"/>
                  <a:gd name="connsiteY1" fmla="*/ 847 h 2766272"/>
                  <a:gd name="connsiteX2" fmla="*/ 2737288 w 2737288"/>
                  <a:gd name="connsiteY2" fmla="*/ 1242272 h 27662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737288" h="2766272">
                    <a:moveTo>
                      <a:pt x="438" y="2766272"/>
                    </a:moveTo>
                    <a:cubicBezTo>
                      <a:pt x="-21257" y="1796839"/>
                      <a:pt x="769846" y="-45191"/>
                      <a:pt x="1011675" y="847"/>
                    </a:cubicBezTo>
                    <a:cubicBezTo>
                      <a:pt x="1253504" y="46885"/>
                      <a:pt x="2150971" y="837989"/>
                      <a:pt x="2737288" y="1242272"/>
                    </a:cubicBezTo>
                  </a:path>
                </a:pathLst>
              </a:custGeom>
              <a:noFill/>
              <a:ln w="76200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9" name="Freeform 30">
                <a:extLst>
                  <a:ext uri="{FF2B5EF4-FFF2-40B4-BE49-F238E27FC236}">
                    <a16:creationId xmlns:a16="http://schemas.microsoft.com/office/drawing/2014/main" id="{188C7207-6566-BCFA-465F-2AF1AC6BEE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89796" y="4061457"/>
                <a:ext cx="1112408" cy="931467"/>
              </a:xfrm>
              <a:custGeom>
                <a:avLst/>
                <a:gdLst>
                  <a:gd name="T0" fmla="*/ 151 w 2301"/>
                  <a:gd name="T1" fmla="*/ 0 h 1926"/>
                  <a:gd name="T2" fmla="*/ 2301 w 2301"/>
                  <a:gd name="T3" fmla="*/ 1679 h 1926"/>
                  <a:gd name="T4" fmla="*/ 1935 w 2301"/>
                  <a:gd name="T5" fmla="*/ 1926 h 1926"/>
                  <a:gd name="T6" fmla="*/ 0 w 2301"/>
                  <a:gd name="T7" fmla="*/ 415 h 1926"/>
                  <a:gd name="T8" fmla="*/ 151 w 2301"/>
                  <a:gd name="T9" fmla="*/ 0 h 19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01" h="1926">
                    <a:moveTo>
                      <a:pt x="151" y="0"/>
                    </a:moveTo>
                    <a:cubicBezTo>
                      <a:pt x="1027" y="319"/>
                      <a:pt x="1779" y="906"/>
                      <a:pt x="2301" y="1679"/>
                    </a:cubicBezTo>
                    <a:lnTo>
                      <a:pt x="1935" y="1926"/>
                    </a:lnTo>
                    <a:cubicBezTo>
                      <a:pt x="1466" y="1231"/>
                      <a:pt x="789" y="701"/>
                      <a:pt x="0" y="415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00B050"/>
              </a:solidFill>
              <a:ln w="762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1" name="Freeform 44">
                <a:extLst>
                  <a:ext uri="{FF2B5EF4-FFF2-40B4-BE49-F238E27FC236}">
                    <a16:creationId xmlns:a16="http://schemas.microsoft.com/office/drawing/2014/main" id="{1012B13F-1627-C588-B168-80715B694F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2987" y="4809434"/>
                <a:ext cx="619279" cy="1453162"/>
              </a:xfrm>
              <a:custGeom>
                <a:avLst/>
                <a:gdLst>
                  <a:gd name="T0" fmla="*/ 0 w 1281"/>
                  <a:gd name="T1" fmla="*/ 2563 h 2579"/>
                  <a:gd name="T2" fmla="*/ 933 w 1281"/>
                  <a:gd name="T3" fmla="*/ 0 h 2579"/>
                  <a:gd name="T4" fmla="*/ 1281 w 1281"/>
                  <a:gd name="T5" fmla="*/ 272 h 2579"/>
                  <a:gd name="T6" fmla="*/ 441 w 1281"/>
                  <a:gd name="T7" fmla="*/ 2579 h 2579"/>
                  <a:gd name="T8" fmla="*/ 0 w 1281"/>
                  <a:gd name="T9" fmla="*/ 2563 h 2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1" h="2579">
                    <a:moveTo>
                      <a:pt x="0" y="2563"/>
                    </a:moveTo>
                    <a:cubicBezTo>
                      <a:pt x="33" y="1632"/>
                      <a:pt x="359" y="734"/>
                      <a:pt x="933" y="0"/>
                    </a:cubicBezTo>
                    <a:lnTo>
                      <a:pt x="1281" y="272"/>
                    </a:lnTo>
                    <a:cubicBezTo>
                      <a:pt x="764" y="933"/>
                      <a:pt x="471" y="1740"/>
                      <a:pt x="441" y="2579"/>
                    </a:cubicBezTo>
                    <a:lnTo>
                      <a:pt x="0" y="2563"/>
                    </a:lnTo>
                    <a:close/>
                  </a:path>
                </a:pathLst>
              </a:custGeom>
              <a:solidFill>
                <a:srgbClr val="00B050"/>
              </a:solidFill>
              <a:ln w="762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2" name="Freeform 46">
                <a:extLst>
                  <a:ext uri="{FF2B5EF4-FFF2-40B4-BE49-F238E27FC236}">
                    <a16:creationId xmlns:a16="http://schemas.microsoft.com/office/drawing/2014/main" id="{140EF945-2F4F-6B69-7A94-3EE521C610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2488" y="4010487"/>
                <a:ext cx="1151909" cy="869029"/>
              </a:xfrm>
              <a:custGeom>
                <a:avLst/>
                <a:gdLst>
                  <a:gd name="T0" fmla="*/ 0 w 2383"/>
                  <a:gd name="T1" fmla="*/ 1525 h 1797"/>
                  <a:gd name="T2" fmla="*/ 2261 w 2383"/>
                  <a:gd name="T3" fmla="*/ 0 h 1797"/>
                  <a:gd name="T4" fmla="*/ 2383 w 2383"/>
                  <a:gd name="T5" fmla="*/ 424 h 1797"/>
                  <a:gd name="T6" fmla="*/ 348 w 2383"/>
                  <a:gd name="T7" fmla="*/ 1797 h 1797"/>
                  <a:gd name="T8" fmla="*/ 0 w 2383"/>
                  <a:gd name="T9" fmla="*/ 1525 h 17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83" h="1797">
                    <a:moveTo>
                      <a:pt x="0" y="1525"/>
                    </a:moveTo>
                    <a:cubicBezTo>
                      <a:pt x="574" y="791"/>
                      <a:pt x="1365" y="257"/>
                      <a:pt x="2261" y="0"/>
                    </a:cubicBezTo>
                    <a:lnTo>
                      <a:pt x="2383" y="424"/>
                    </a:lnTo>
                    <a:cubicBezTo>
                      <a:pt x="1576" y="655"/>
                      <a:pt x="864" y="1136"/>
                      <a:pt x="348" y="1797"/>
                    </a:cubicBezTo>
                    <a:lnTo>
                      <a:pt x="0" y="1525"/>
                    </a:lnTo>
                    <a:close/>
                  </a:path>
                </a:pathLst>
              </a:custGeom>
              <a:solidFill>
                <a:srgbClr val="00B050"/>
              </a:solidFill>
              <a:ln w="762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13" name="Freeform 48">
                <a:extLst>
                  <a:ext uri="{FF2B5EF4-FFF2-40B4-BE49-F238E27FC236}">
                    <a16:creationId xmlns:a16="http://schemas.microsoft.com/office/drawing/2014/main" id="{87362A9B-526D-0786-644B-C7041BDE5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70963" y="3863950"/>
                <a:ext cx="1317560" cy="370803"/>
              </a:xfrm>
              <a:custGeom>
                <a:avLst/>
                <a:gdLst>
                  <a:gd name="T0" fmla="*/ 0 w 2726"/>
                  <a:gd name="T1" fmla="*/ 257 h 767"/>
                  <a:gd name="T2" fmla="*/ 2726 w 2726"/>
                  <a:gd name="T3" fmla="*/ 352 h 767"/>
                  <a:gd name="T4" fmla="*/ 2575 w 2726"/>
                  <a:gd name="T5" fmla="*/ 767 h 767"/>
                  <a:gd name="T6" fmla="*/ 122 w 2726"/>
                  <a:gd name="T7" fmla="*/ 681 h 767"/>
                  <a:gd name="T8" fmla="*/ 0 w 2726"/>
                  <a:gd name="T9" fmla="*/ 257 h 7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26" h="767">
                    <a:moveTo>
                      <a:pt x="0" y="257"/>
                    </a:moveTo>
                    <a:cubicBezTo>
                      <a:pt x="896" y="0"/>
                      <a:pt x="1851" y="33"/>
                      <a:pt x="2726" y="352"/>
                    </a:cubicBezTo>
                    <a:lnTo>
                      <a:pt x="2575" y="767"/>
                    </a:lnTo>
                    <a:cubicBezTo>
                      <a:pt x="1787" y="480"/>
                      <a:pt x="928" y="450"/>
                      <a:pt x="122" y="681"/>
                    </a:cubicBezTo>
                    <a:lnTo>
                      <a:pt x="0" y="257"/>
                    </a:lnTo>
                    <a:close/>
                  </a:path>
                </a:pathLst>
              </a:custGeom>
              <a:solidFill>
                <a:srgbClr val="00B050"/>
              </a:solidFill>
              <a:ln w="7620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Trebuchet MS"/>
                  <a:ea typeface="+mn-ea"/>
                  <a:cs typeface="+mn-cs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2E50D497-DD11-EB2A-72A9-47126476D561}"/>
                  </a:ext>
                </a:extLst>
              </p:cNvPr>
              <p:cNvSpPr txBox="1"/>
              <p:nvPr/>
            </p:nvSpPr>
            <p:spPr>
              <a:xfrm>
                <a:off x="496214" y="4347192"/>
                <a:ext cx="1498047" cy="772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 panose="020B0604020202020204" pitchFamily="34" charset="0"/>
                  </a:rPr>
                  <a:t>Extensive International Footprint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ptos" panose="020B0004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70F59E18-A325-21CE-190B-C68BB0283D0F}"/>
                  </a:ext>
                </a:extLst>
              </p:cNvPr>
              <p:cNvSpPr txBox="1"/>
              <p:nvPr/>
            </p:nvSpPr>
            <p:spPr>
              <a:xfrm>
                <a:off x="994538" y="2072551"/>
                <a:ext cx="2261460" cy="77255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 panose="020B0604020202020204" pitchFamily="34" charset="0"/>
                  </a:rPr>
                  <a:t>Balanced Portfolio of E&amp;P Asset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900">
                    <a:solidFill>
                      <a:schemeClr val="tx2"/>
                    </a:solidFill>
                    <a:latin typeface="Aptos" panose="020B0004020202020204" pitchFamily="34" charset="0"/>
                    <a:cs typeface="Arial" panose="020B0604020202020204" pitchFamily="34" charset="0"/>
                  </a:rPr>
                  <a:t>(Prod – Expl – Dev)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C817466C-E0F2-7DC6-DDB5-0C3B0CCDCD7B}"/>
                  </a:ext>
                </a:extLst>
              </p:cNvPr>
              <p:cNvSpPr txBox="1"/>
              <p:nvPr/>
            </p:nvSpPr>
            <p:spPr>
              <a:xfrm>
                <a:off x="4112627" y="1340446"/>
                <a:ext cx="3972083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 panose="020B0604020202020204" pitchFamily="34" charset="0"/>
                  </a:rPr>
                  <a:t>Alliances &amp; Partnership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 panose="020B0604020202020204" pitchFamily="34" charset="0"/>
                  </a:rPr>
                  <a:t>with Global Oil Companies  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DA14C9B1-9457-E142-7B3D-DF32B3A2A2D6}"/>
                  </a:ext>
                </a:extLst>
              </p:cNvPr>
              <p:cNvSpPr txBox="1"/>
              <p:nvPr/>
            </p:nvSpPr>
            <p:spPr>
              <a:xfrm>
                <a:off x="8594740" y="2180678"/>
                <a:ext cx="2162735" cy="75262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 panose="020B0604020202020204" pitchFamily="34" charset="0"/>
                  </a:rPr>
                  <a:t>Strong Governanc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1900">
                  <a:solidFill>
                    <a:schemeClr val="tx2"/>
                  </a:solidFill>
                  <a:latin typeface="Aptos" panose="020B0004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900">
                    <a:solidFill>
                      <a:schemeClr val="tx2"/>
                    </a:solidFill>
                    <a:latin typeface="Aptos" panose="020B0004020202020204" pitchFamily="34" charset="0"/>
                    <a:cs typeface="Arial" panose="020B0604020202020204" pitchFamily="34" charset="0"/>
                  </a:rPr>
                  <a:t>Excellent Human Resource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29D4921-52DE-B2C8-CDBA-B607DC0E408B}"/>
                  </a:ext>
                </a:extLst>
              </p:cNvPr>
              <p:cNvSpPr txBox="1"/>
              <p:nvPr/>
            </p:nvSpPr>
            <p:spPr>
              <a:xfrm>
                <a:off x="10220913" y="4316991"/>
                <a:ext cx="1269308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900" b="0" i="0" u="none" strike="noStrike" kern="120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  <a:latin typeface="Aptos" panose="020B0004020202020204" pitchFamily="34" charset="0"/>
                    <a:cs typeface="Arial" panose="020B0604020202020204" pitchFamily="34" charset="0"/>
                  </a:rPr>
                  <a:t>Technology as Value Driver </a:t>
                </a:r>
                <a:endParaRPr kumimoji="0" lang="en-US" sz="1900" b="0" i="0" u="none" strike="noStrike" kern="1200" cap="none" spc="0" normalizeH="0" baseline="0" noProof="0">
                  <a:ln>
                    <a:noFill/>
                  </a:ln>
                  <a:solidFill>
                    <a:srgbClr val="575757"/>
                  </a:solidFill>
                  <a:effectLst/>
                  <a:uLnTx/>
                  <a:uFillTx/>
                  <a:latin typeface="Aptos" panose="020B00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31" name="bcgIcons_Business Models ">
                <a:extLst>
                  <a:ext uri="{FF2B5EF4-FFF2-40B4-BE49-F238E27FC236}">
                    <a16:creationId xmlns:a16="http://schemas.microsoft.com/office/drawing/2014/main" id="{94735C94-CB4A-A120-C8F4-0F9DAF816B1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455649" y="2329768"/>
                <a:ext cx="1207065" cy="1208184"/>
                <a:chOff x="1682" y="0"/>
                <a:chExt cx="4316" cy="4320"/>
              </a:xfrm>
            </p:grpSpPr>
            <p:sp>
              <p:nvSpPr>
                <p:cNvPr id="32" name="AutoShape 3">
                  <a:extLst>
                    <a:ext uri="{FF2B5EF4-FFF2-40B4-BE49-F238E27FC236}">
                      <a16:creationId xmlns:a16="http://schemas.microsoft.com/office/drawing/2014/main" id="{1AE33BA6-B7C6-1177-72F3-85E54F70F859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3" name="Freeform 4">
                  <a:extLst>
                    <a:ext uri="{FF2B5EF4-FFF2-40B4-BE49-F238E27FC236}">
                      <a16:creationId xmlns:a16="http://schemas.microsoft.com/office/drawing/2014/main" id="{89D887DE-2B6B-67FB-2D80-DABC246EDF1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609" y="1147"/>
                  <a:ext cx="2458" cy="2333"/>
                </a:xfrm>
                <a:custGeom>
                  <a:avLst/>
                  <a:gdLst>
                    <a:gd name="T0" fmla="*/ 44 w 1312"/>
                    <a:gd name="T1" fmla="*/ 654 h 1244"/>
                    <a:gd name="T2" fmla="*/ 132 w 1312"/>
                    <a:gd name="T3" fmla="*/ 924 h 1244"/>
                    <a:gd name="T4" fmla="*/ 91 w 1312"/>
                    <a:gd name="T5" fmla="*/ 942 h 1244"/>
                    <a:gd name="T6" fmla="*/ 0 w 1312"/>
                    <a:gd name="T7" fmla="*/ 660 h 1244"/>
                    <a:gd name="T8" fmla="*/ 44 w 1312"/>
                    <a:gd name="T9" fmla="*/ 654 h 1244"/>
                    <a:gd name="T10" fmla="*/ 1268 w 1312"/>
                    <a:gd name="T11" fmla="*/ 654 h 1244"/>
                    <a:gd name="T12" fmla="*/ 1180 w 1312"/>
                    <a:gd name="T13" fmla="*/ 924 h 1244"/>
                    <a:gd name="T14" fmla="*/ 1221 w 1312"/>
                    <a:gd name="T15" fmla="*/ 942 h 1244"/>
                    <a:gd name="T16" fmla="*/ 1312 w 1312"/>
                    <a:gd name="T17" fmla="*/ 660 h 1244"/>
                    <a:gd name="T18" fmla="*/ 1268 w 1312"/>
                    <a:gd name="T19" fmla="*/ 654 h 1244"/>
                    <a:gd name="T20" fmla="*/ 902 w 1312"/>
                    <a:gd name="T21" fmla="*/ 39 h 1244"/>
                    <a:gd name="T22" fmla="*/ 1101 w 1312"/>
                    <a:gd name="T23" fmla="*/ 184 h 1244"/>
                    <a:gd name="T24" fmla="*/ 1131 w 1312"/>
                    <a:gd name="T25" fmla="*/ 151 h 1244"/>
                    <a:gd name="T26" fmla="*/ 923 w 1312"/>
                    <a:gd name="T27" fmla="*/ 0 h 1244"/>
                    <a:gd name="T28" fmla="*/ 902 w 1312"/>
                    <a:gd name="T29" fmla="*/ 39 h 1244"/>
                    <a:gd name="T30" fmla="*/ 790 w 1312"/>
                    <a:gd name="T31" fmla="*/ 1244 h 1244"/>
                    <a:gd name="T32" fmla="*/ 787 w 1312"/>
                    <a:gd name="T33" fmla="*/ 1202 h 1244"/>
                    <a:gd name="T34" fmla="*/ 787 w 1312"/>
                    <a:gd name="T35" fmla="*/ 1200 h 1244"/>
                    <a:gd name="T36" fmla="*/ 525 w 1312"/>
                    <a:gd name="T37" fmla="*/ 1200 h 1244"/>
                    <a:gd name="T38" fmla="*/ 525 w 1312"/>
                    <a:gd name="T39" fmla="*/ 1202 h 1244"/>
                    <a:gd name="T40" fmla="*/ 522 w 1312"/>
                    <a:gd name="T41" fmla="*/ 1244 h 1244"/>
                    <a:gd name="T42" fmla="*/ 790 w 1312"/>
                    <a:gd name="T43" fmla="*/ 1244 h 1244"/>
                    <a:gd name="T44" fmla="*/ 211 w 1312"/>
                    <a:gd name="T45" fmla="*/ 184 h 1244"/>
                    <a:gd name="T46" fmla="*/ 410 w 1312"/>
                    <a:gd name="T47" fmla="*/ 39 h 1244"/>
                    <a:gd name="T48" fmla="*/ 389 w 1312"/>
                    <a:gd name="T49" fmla="*/ 0 h 1244"/>
                    <a:gd name="T50" fmla="*/ 181 w 1312"/>
                    <a:gd name="T51" fmla="*/ 151 h 1244"/>
                    <a:gd name="T52" fmla="*/ 211 w 1312"/>
                    <a:gd name="T53" fmla="*/ 184 h 1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12" h="1244">
                      <a:moveTo>
                        <a:pt x="44" y="654"/>
                      </a:moveTo>
                      <a:cubicBezTo>
                        <a:pt x="132" y="924"/>
                        <a:pt x="132" y="924"/>
                        <a:pt x="132" y="924"/>
                      </a:cubicBezTo>
                      <a:cubicBezTo>
                        <a:pt x="118" y="929"/>
                        <a:pt x="104" y="935"/>
                        <a:pt x="91" y="942"/>
                      </a:cubicBezTo>
                      <a:cubicBezTo>
                        <a:pt x="0" y="660"/>
                        <a:pt x="0" y="660"/>
                        <a:pt x="0" y="660"/>
                      </a:cubicBezTo>
                      <a:cubicBezTo>
                        <a:pt x="15" y="659"/>
                        <a:pt x="29" y="657"/>
                        <a:pt x="44" y="654"/>
                      </a:cubicBezTo>
                      <a:close/>
                      <a:moveTo>
                        <a:pt x="1268" y="654"/>
                      </a:moveTo>
                      <a:cubicBezTo>
                        <a:pt x="1180" y="924"/>
                        <a:pt x="1180" y="924"/>
                        <a:pt x="1180" y="924"/>
                      </a:cubicBezTo>
                      <a:cubicBezTo>
                        <a:pt x="1194" y="929"/>
                        <a:pt x="1208" y="935"/>
                        <a:pt x="1221" y="942"/>
                      </a:cubicBezTo>
                      <a:cubicBezTo>
                        <a:pt x="1312" y="660"/>
                        <a:pt x="1312" y="660"/>
                        <a:pt x="1312" y="660"/>
                      </a:cubicBezTo>
                      <a:cubicBezTo>
                        <a:pt x="1297" y="659"/>
                        <a:pt x="1283" y="657"/>
                        <a:pt x="1268" y="654"/>
                      </a:cubicBezTo>
                      <a:close/>
                      <a:moveTo>
                        <a:pt x="902" y="39"/>
                      </a:moveTo>
                      <a:cubicBezTo>
                        <a:pt x="1101" y="184"/>
                        <a:pt x="1101" y="184"/>
                        <a:pt x="1101" y="184"/>
                      </a:cubicBezTo>
                      <a:cubicBezTo>
                        <a:pt x="1110" y="172"/>
                        <a:pt x="1120" y="161"/>
                        <a:pt x="1131" y="151"/>
                      </a:cubicBezTo>
                      <a:cubicBezTo>
                        <a:pt x="923" y="0"/>
                        <a:pt x="923" y="0"/>
                        <a:pt x="923" y="0"/>
                      </a:cubicBezTo>
                      <a:cubicBezTo>
                        <a:pt x="917" y="14"/>
                        <a:pt x="910" y="27"/>
                        <a:pt x="902" y="39"/>
                      </a:cubicBezTo>
                      <a:close/>
                      <a:moveTo>
                        <a:pt x="790" y="1244"/>
                      </a:moveTo>
                      <a:cubicBezTo>
                        <a:pt x="788" y="1230"/>
                        <a:pt x="787" y="1216"/>
                        <a:pt x="787" y="1202"/>
                      </a:cubicBezTo>
                      <a:cubicBezTo>
                        <a:pt x="787" y="1201"/>
                        <a:pt x="787" y="1200"/>
                        <a:pt x="787" y="1200"/>
                      </a:cubicBezTo>
                      <a:cubicBezTo>
                        <a:pt x="525" y="1200"/>
                        <a:pt x="525" y="1200"/>
                        <a:pt x="525" y="1200"/>
                      </a:cubicBezTo>
                      <a:cubicBezTo>
                        <a:pt x="525" y="1200"/>
                        <a:pt x="525" y="1201"/>
                        <a:pt x="525" y="1202"/>
                      </a:cubicBezTo>
                      <a:cubicBezTo>
                        <a:pt x="525" y="1216"/>
                        <a:pt x="524" y="1230"/>
                        <a:pt x="522" y="1244"/>
                      </a:cubicBezTo>
                      <a:lnTo>
                        <a:pt x="790" y="1244"/>
                      </a:lnTo>
                      <a:close/>
                      <a:moveTo>
                        <a:pt x="211" y="184"/>
                      </a:moveTo>
                      <a:cubicBezTo>
                        <a:pt x="410" y="39"/>
                        <a:pt x="410" y="39"/>
                        <a:pt x="410" y="39"/>
                      </a:cubicBezTo>
                      <a:cubicBezTo>
                        <a:pt x="402" y="27"/>
                        <a:pt x="395" y="14"/>
                        <a:pt x="389" y="0"/>
                      </a:cubicBezTo>
                      <a:cubicBezTo>
                        <a:pt x="181" y="151"/>
                        <a:pt x="181" y="151"/>
                        <a:pt x="181" y="151"/>
                      </a:cubicBezTo>
                      <a:cubicBezTo>
                        <a:pt x="192" y="161"/>
                        <a:pt x="202" y="172"/>
                        <a:pt x="211" y="18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  <p:sp>
              <p:nvSpPr>
                <p:cNvPr id="34" name="Freeform 5">
                  <a:extLst>
                    <a:ext uri="{FF2B5EF4-FFF2-40B4-BE49-F238E27FC236}">
                      <a16:creationId xmlns:a16="http://schemas.microsoft.com/office/drawing/2014/main" id="{B4A4E269-72AD-E9EC-4430-D8CE015B064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00" y="442"/>
                  <a:ext cx="3476" cy="3432"/>
                </a:xfrm>
                <a:custGeom>
                  <a:avLst/>
                  <a:gdLst>
                    <a:gd name="T0" fmla="*/ 928 w 1856"/>
                    <a:gd name="T1" fmla="*/ 503 h 1830"/>
                    <a:gd name="T2" fmla="*/ 677 w 1856"/>
                    <a:gd name="T3" fmla="*/ 252 h 1830"/>
                    <a:gd name="T4" fmla="*/ 677 w 1856"/>
                    <a:gd name="T5" fmla="*/ 252 h 1830"/>
                    <a:gd name="T6" fmla="*/ 928 w 1856"/>
                    <a:gd name="T7" fmla="*/ 0 h 1830"/>
                    <a:gd name="T8" fmla="*/ 1179 w 1856"/>
                    <a:gd name="T9" fmla="*/ 252 h 1830"/>
                    <a:gd name="T10" fmla="*/ 1179 w 1856"/>
                    <a:gd name="T11" fmla="*/ 252 h 1830"/>
                    <a:gd name="T12" fmla="*/ 928 w 1856"/>
                    <a:gd name="T13" fmla="*/ 503 h 1830"/>
                    <a:gd name="T14" fmla="*/ 502 w 1856"/>
                    <a:gd name="T15" fmla="*/ 742 h 1830"/>
                    <a:gd name="T16" fmla="*/ 502 w 1856"/>
                    <a:gd name="T17" fmla="*/ 742 h 1830"/>
                    <a:gd name="T18" fmla="*/ 251 w 1856"/>
                    <a:gd name="T19" fmla="*/ 491 h 1830"/>
                    <a:gd name="T20" fmla="*/ 0 w 1856"/>
                    <a:gd name="T21" fmla="*/ 742 h 1830"/>
                    <a:gd name="T22" fmla="*/ 0 w 1856"/>
                    <a:gd name="T23" fmla="*/ 742 h 1830"/>
                    <a:gd name="T24" fmla="*/ 251 w 1856"/>
                    <a:gd name="T25" fmla="*/ 993 h 1830"/>
                    <a:gd name="T26" fmla="*/ 502 w 1856"/>
                    <a:gd name="T27" fmla="*/ 742 h 1830"/>
                    <a:gd name="T28" fmla="*/ 1605 w 1856"/>
                    <a:gd name="T29" fmla="*/ 491 h 1830"/>
                    <a:gd name="T30" fmla="*/ 1354 w 1856"/>
                    <a:gd name="T31" fmla="*/ 742 h 1830"/>
                    <a:gd name="T32" fmla="*/ 1354 w 1856"/>
                    <a:gd name="T33" fmla="*/ 742 h 1830"/>
                    <a:gd name="T34" fmla="*/ 1605 w 1856"/>
                    <a:gd name="T35" fmla="*/ 993 h 1830"/>
                    <a:gd name="T36" fmla="*/ 1856 w 1856"/>
                    <a:gd name="T37" fmla="*/ 742 h 1830"/>
                    <a:gd name="T38" fmla="*/ 1856 w 1856"/>
                    <a:gd name="T39" fmla="*/ 742 h 1830"/>
                    <a:gd name="T40" fmla="*/ 1605 w 1856"/>
                    <a:gd name="T41" fmla="*/ 491 h 1830"/>
                    <a:gd name="T42" fmla="*/ 502 w 1856"/>
                    <a:gd name="T43" fmla="*/ 1327 h 1830"/>
                    <a:gd name="T44" fmla="*/ 251 w 1856"/>
                    <a:gd name="T45" fmla="*/ 1578 h 1830"/>
                    <a:gd name="T46" fmla="*/ 251 w 1856"/>
                    <a:gd name="T47" fmla="*/ 1578 h 1830"/>
                    <a:gd name="T48" fmla="*/ 502 w 1856"/>
                    <a:gd name="T49" fmla="*/ 1830 h 1830"/>
                    <a:gd name="T50" fmla="*/ 753 w 1856"/>
                    <a:gd name="T51" fmla="*/ 1578 h 1830"/>
                    <a:gd name="T52" fmla="*/ 753 w 1856"/>
                    <a:gd name="T53" fmla="*/ 1578 h 1830"/>
                    <a:gd name="T54" fmla="*/ 502 w 1856"/>
                    <a:gd name="T55" fmla="*/ 1327 h 1830"/>
                    <a:gd name="T56" fmla="*/ 1354 w 1856"/>
                    <a:gd name="T57" fmla="*/ 1327 h 1830"/>
                    <a:gd name="T58" fmla="*/ 1103 w 1856"/>
                    <a:gd name="T59" fmla="*/ 1578 h 1830"/>
                    <a:gd name="T60" fmla="*/ 1103 w 1856"/>
                    <a:gd name="T61" fmla="*/ 1578 h 1830"/>
                    <a:gd name="T62" fmla="*/ 1354 w 1856"/>
                    <a:gd name="T63" fmla="*/ 1830 h 1830"/>
                    <a:gd name="T64" fmla="*/ 1605 w 1856"/>
                    <a:gd name="T65" fmla="*/ 1578 h 1830"/>
                    <a:gd name="T66" fmla="*/ 1605 w 1856"/>
                    <a:gd name="T67" fmla="*/ 1578 h 1830"/>
                    <a:gd name="T68" fmla="*/ 1354 w 1856"/>
                    <a:gd name="T69" fmla="*/ 1327 h 18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856" h="1830">
                      <a:moveTo>
                        <a:pt x="928" y="503"/>
                      </a:moveTo>
                      <a:cubicBezTo>
                        <a:pt x="789" y="503"/>
                        <a:pt x="677" y="390"/>
                        <a:pt x="677" y="252"/>
                      </a:cubicBezTo>
                      <a:cubicBezTo>
                        <a:pt x="677" y="252"/>
                        <a:pt x="677" y="252"/>
                        <a:pt x="677" y="252"/>
                      </a:cubicBezTo>
                      <a:cubicBezTo>
                        <a:pt x="677" y="113"/>
                        <a:pt x="789" y="0"/>
                        <a:pt x="928" y="0"/>
                      </a:cubicBezTo>
                      <a:cubicBezTo>
                        <a:pt x="1067" y="0"/>
                        <a:pt x="1179" y="113"/>
                        <a:pt x="1179" y="252"/>
                      </a:cubicBezTo>
                      <a:cubicBezTo>
                        <a:pt x="1179" y="252"/>
                        <a:pt x="1179" y="252"/>
                        <a:pt x="1179" y="252"/>
                      </a:cubicBezTo>
                      <a:cubicBezTo>
                        <a:pt x="1179" y="390"/>
                        <a:pt x="1067" y="503"/>
                        <a:pt x="928" y="503"/>
                      </a:cubicBezTo>
                      <a:close/>
                      <a:moveTo>
                        <a:pt x="502" y="742"/>
                      </a:moveTo>
                      <a:cubicBezTo>
                        <a:pt x="502" y="742"/>
                        <a:pt x="502" y="742"/>
                        <a:pt x="502" y="742"/>
                      </a:cubicBezTo>
                      <a:cubicBezTo>
                        <a:pt x="502" y="603"/>
                        <a:pt x="390" y="491"/>
                        <a:pt x="251" y="491"/>
                      </a:cubicBezTo>
                      <a:cubicBezTo>
                        <a:pt x="113" y="491"/>
                        <a:pt x="0" y="603"/>
                        <a:pt x="0" y="742"/>
                      </a:cubicBezTo>
                      <a:cubicBezTo>
                        <a:pt x="0" y="742"/>
                        <a:pt x="0" y="742"/>
                        <a:pt x="0" y="742"/>
                      </a:cubicBezTo>
                      <a:cubicBezTo>
                        <a:pt x="0" y="881"/>
                        <a:pt x="113" y="993"/>
                        <a:pt x="251" y="993"/>
                      </a:cubicBezTo>
                      <a:cubicBezTo>
                        <a:pt x="390" y="993"/>
                        <a:pt x="502" y="881"/>
                        <a:pt x="502" y="742"/>
                      </a:cubicBezTo>
                      <a:close/>
                      <a:moveTo>
                        <a:pt x="1605" y="491"/>
                      </a:moveTo>
                      <a:cubicBezTo>
                        <a:pt x="1466" y="491"/>
                        <a:pt x="1354" y="603"/>
                        <a:pt x="1354" y="742"/>
                      </a:cubicBezTo>
                      <a:cubicBezTo>
                        <a:pt x="1354" y="742"/>
                        <a:pt x="1354" y="742"/>
                        <a:pt x="1354" y="742"/>
                      </a:cubicBezTo>
                      <a:cubicBezTo>
                        <a:pt x="1354" y="881"/>
                        <a:pt x="1466" y="993"/>
                        <a:pt x="1605" y="993"/>
                      </a:cubicBezTo>
                      <a:cubicBezTo>
                        <a:pt x="1743" y="993"/>
                        <a:pt x="1856" y="881"/>
                        <a:pt x="1856" y="742"/>
                      </a:cubicBezTo>
                      <a:cubicBezTo>
                        <a:pt x="1856" y="742"/>
                        <a:pt x="1856" y="742"/>
                        <a:pt x="1856" y="742"/>
                      </a:cubicBezTo>
                      <a:cubicBezTo>
                        <a:pt x="1856" y="603"/>
                        <a:pt x="1743" y="491"/>
                        <a:pt x="1605" y="491"/>
                      </a:cubicBezTo>
                      <a:close/>
                      <a:moveTo>
                        <a:pt x="502" y="1327"/>
                      </a:moveTo>
                      <a:cubicBezTo>
                        <a:pt x="364" y="1327"/>
                        <a:pt x="251" y="1440"/>
                        <a:pt x="251" y="1578"/>
                      </a:cubicBezTo>
                      <a:cubicBezTo>
                        <a:pt x="251" y="1578"/>
                        <a:pt x="251" y="1578"/>
                        <a:pt x="251" y="1578"/>
                      </a:cubicBezTo>
                      <a:cubicBezTo>
                        <a:pt x="251" y="1717"/>
                        <a:pt x="364" y="1830"/>
                        <a:pt x="502" y="1830"/>
                      </a:cubicBezTo>
                      <a:cubicBezTo>
                        <a:pt x="641" y="1830"/>
                        <a:pt x="753" y="1717"/>
                        <a:pt x="753" y="1578"/>
                      </a:cubicBezTo>
                      <a:cubicBezTo>
                        <a:pt x="753" y="1578"/>
                        <a:pt x="753" y="1578"/>
                        <a:pt x="753" y="1578"/>
                      </a:cubicBezTo>
                      <a:cubicBezTo>
                        <a:pt x="753" y="1440"/>
                        <a:pt x="641" y="1327"/>
                        <a:pt x="502" y="1327"/>
                      </a:cubicBezTo>
                      <a:close/>
                      <a:moveTo>
                        <a:pt x="1354" y="1327"/>
                      </a:moveTo>
                      <a:cubicBezTo>
                        <a:pt x="1215" y="1327"/>
                        <a:pt x="1103" y="1440"/>
                        <a:pt x="1103" y="1578"/>
                      </a:cubicBezTo>
                      <a:cubicBezTo>
                        <a:pt x="1103" y="1578"/>
                        <a:pt x="1103" y="1578"/>
                        <a:pt x="1103" y="1578"/>
                      </a:cubicBezTo>
                      <a:cubicBezTo>
                        <a:pt x="1103" y="1717"/>
                        <a:pt x="1215" y="1830"/>
                        <a:pt x="1354" y="1830"/>
                      </a:cubicBezTo>
                      <a:cubicBezTo>
                        <a:pt x="1492" y="1830"/>
                        <a:pt x="1605" y="1717"/>
                        <a:pt x="1605" y="1578"/>
                      </a:cubicBezTo>
                      <a:cubicBezTo>
                        <a:pt x="1605" y="1578"/>
                        <a:pt x="1605" y="1578"/>
                        <a:pt x="1605" y="1578"/>
                      </a:cubicBezTo>
                      <a:cubicBezTo>
                        <a:pt x="1605" y="1440"/>
                        <a:pt x="1492" y="1327"/>
                        <a:pt x="1354" y="1327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/>
                </a:p>
              </p:txBody>
            </p:sp>
          </p:grp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3F7E65FA-138F-CC0F-37DF-3E0CF19563B4}"/>
                  </a:ext>
                </a:extLst>
              </p:cNvPr>
              <p:cNvSpPr/>
              <p:nvPr/>
            </p:nvSpPr>
            <p:spPr>
              <a:xfrm>
                <a:off x="3914609" y="6059706"/>
                <a:ext cx="2892" cy="57271"/>
              </a:xfrm>
              <a:custGeom>
                <a:avLst/>
                <a:gdLst>
                  <a:gd name="connsiteX0" fmla="*/ 0 w 2892"/>
                  <a:gd name="connsiteY0" fmla="*/ 0 h 57271"/>
                  <a:gd name="connsiteX1" fmla="*/ 2892 w 2892"/>
                  <a:gd name="connsiteY1" fmla="*/ 0 h 57271"/>
                  <a:gd name="connsiteX2" fmla="*/ 0 w 2892"/>
                  <a:gd name="connsiteY2" fmla="*/ 57271 h 57271"/>
                  <a:gd name="connsiteX3" fmla="*/ 0 w 2892"/>
                  <a:gd name="connsiteY3" fmla="*/ 0 h 57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92" h="57271">
                    <a:moveTo>
                      <a:pt x="0" y="0"/>
                    </a:moveTo>
                    <a:lnTo>
                      <a:pt x="2892" y="0"/>
                    </a:lnTo>
                    <a:lnTo>
                      <a:pt x="0" y="572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362A247B-1538-E1C4-8AF3-6653686DDCFB}"/>
                  </a:ext>
                </a:extLst>
              </p:cNvPr>
              <p:cNvSpPr/>
              <p:nvPr/>
            </p:nvSpPr>
            <p:spPr>
              <a:xfrm>
                <a:off x="8143935" y="6059706"/>
                <a:ext cx="2892" cy="57271"/>
              </a:xfrm>
              <a:custGeom>
                <a:avLst/>
                <a:gdLst>
                  <a:gd name="connsiteX0" fmla="*/ 0 w 2892"/>
                  <a:gd name="connsiteY0" fmla="*/ 0 h 57271"/>
                  <a:gd name="connsiteX1" fmla="*/ 2892 w 2892"/>
                  <a:gd name="connsiteY1" fmla="*/ 0 h 57271"/>
                  <a:gd name="connsiteX2" fmla="*/ 2892 w 2892"/>
                  <a:gd name="connsiteY2" fmla="*/ 57271 h 57271"/>
                  <a:gd name="connsiteX3" fmla="*/ 0 w 2892"/>
                  <a:gd name="connsiteY3" fmla="*/ 0 h 572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92" h="57271">
                    <a:moveTo>
                      <a:pt x="0" y="0"/>
                    </a:moveTo>
                    <a:lnTo>
                      <a:pt x="2892" y="0"/>
                    </a:lnTo>
                    <a:lnTo>
                      <a:pt x="2892" y="572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pic>
            <p:nvPicPr>
              <p:cNvPr id="62" name="Graphic 61" descr="Earth Globe - Asia with solid fill">
                <a:extLst>
                  <a:ext uri="{FF2B5EF4-FFF2-40B4-BE49-F238E27FC236}">
                    <a16:creationId xmlns:a16="http://schemas.microsoft.com/office/drawing/2014/main" id="{EE8CFC2C-0794-23EE-D548-EDBF2EA0E0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2480837" y="4741212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64" name="Graphic 63" descr="Seesaw with solid fill">
                <a:extLst>
                  <a:ext uri="{FF2B5EF4-FFF2-40B4-BE49-F238E27FC236}">
                    <a16:creationId xmlns:a16="http://schemas.microsoft.com/office/drawing/2014/main" id="{BF60A2B1-BA72-FC6C-45EA-0E63E69B53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762629" y="302831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70" name="Graphic 69" descr="Board Of Directors with solid fill">
                <a:extLst>
                  <a:ext uri="{FF2B5EF4-FFF2-40B4-BE49-F238E27FC236}">
                    <a16:creationId xmlns:a16="http://schemas.microsoft.com/office/drawing/2014/main" id="{D4F218B5-672B-F24F-E446-C36C8B4073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497322" y="3108658"/>
                <a:ext cx="914400" cy="914400"/>
              </a:xfrm>
              <a:prstGeom prst="rect">
                <a:avLst/>
              </a:prstGeom>
            </p:spPr>
          </p:pic>
          <p:pic>
            <p:nvPicPr>
              <p:cNvPr id="72" name="Graphic 71" descr="Plug with solid fill">
                <a:extLst>
                  <a:ext uri="{FF2B5EF4-FFF2-40B4-BE49-F238E27FC236}">
                    <a16:creationId xmlns:a16="http://schemas.microsoft.com/office/drawing/2014/main" id="{F2A19DDC-233D-B4A4-EC58-049D02F6E5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8462953" y="4733293"/>
                <a:ext cx="914400" cy="914400"/>
              </a:xfrm>
              <a:prstGeom prst="rect">
                <a:avLst/>
              </a:prstGeom>
            </p:spPr>
          </p:pic>
        </p:grp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6161F22-4EAB-8F59-E207-10EC603F0F9B}"/>
                </a:ext>
              </a:extLst>
            </p:cNvPr>
            <p:cNvSpPr/>
            <p:nvPr/>
          </p:nvSpPr>
          <p:spPr>
            <a:xfrm rot="8255646">
              <a:off x="8112937" y="4332254"/>
              <a:ext cx="2216818" cy="2134302"/>
            </a:xfrm>
            <a:custGeom>
              <a:avLst/>
              <a:gdLst>
                <a:gd name="connsiteX0" fmla="*/ 0 w 2736850"/>
                <a:gd name="connsiteY0" fmla="*/ 2736850 h 2736850"/>
                <a:gd name="connsiteX1" fmla="*/ 977900 w 2736850"/>
                <a:gd name="connsiteY1" fmla="*/ 0 h 2736850"/>
                <a:gd name="connsiteX2" fmla="*/ 2736850 w 2736850"/>
                <a:gd name="connsiteY2" fmla="*/ 1212850 h 2736850"/>
                <a:gd name="connsiteX0" fmla="*/ 0 w 2736850"/>
                <a:gd name="connsiteY0" fmla="*/ 2775601 h 2775601"/>
                <a:gd name="connsiteX1" fmla="*/ 977900 w 2736850"/>
                <a:gd name="connsiteY1" fmla="*/ 38751 h 2775601"/>
                <a:gd name="connsiteX2" fmla="*/ 2736850 w 2736850"/>
                <a:gd name="connsiteY2" fmla="*/ 1251601 h 2775601"/>
                <a:gd name="connsiteX0" fmla="*/ 0 w 2736850"/>
                <a:gd name="connsiteY0" fmla="*/ 2739844 h 2739844"/>
                <a:gd name="connsiteX1" fmla="*/ 977900 w 2736850"/>
                <a:gd name="connsiteY1" fmla="*/ 2994 h 2739844"/>
                <a:gd name="connsiteX2" fmla="*/ 2736850 w 2736850"/>
                <a:gd name="connsiteY2" fmla="*/ 1215844 h 2739844"/>
                <a:gd name="connsiteX0" fmla="*/ 0 w 2736850"/>
                <a:gd name="connsiteY0" fmla="*/ 2737685 h 2737685"/>
                <a:gd name="connsiteX1" fmla="*/ 977900 w 2736850"/>
                <a:gd name="connsiteY1" fmla="*/ 835 h 2737685"/>
                <a:gd name="connsiteX2" fmla="*/ 2736850 w 2736850"/>
                <a:gd name="connsiteY2" fmla="*/ 1213685 h 2737685"/>
                <a:gd name="connsiteX0" fmla="*/ 456 w 2737306"/>
                <a:gd name="connsiteY0" fmla="*/ 2737710 h 2737710"/>
                <a:gd name="connsiteX1" fmla="*/ 978356 w 2737306"/>
                <a:gd name="connsiteY1" fmla="*/ 860 h 2737710"/>
                <a:gd name="connsiteX2" fmla="*/ 2737306 w 2737306"/>
                <a:gd name="connsiteY2" fmla="*/ 1213710 h 2737710"/>
                <a:gd name="connsiteX0" fmla="*/ 438 w 2737288"/>
                <a:gd name="connsiteY0" fmla="*/ 2766272 h 2766272"/>
                <a:gd name="connsiteX1" fmla="*/ 1011675 w 2737288"/>
                <a:gd name="connsiteY1" fmla="*/ 847 h 2766272"/>
                <a:gd name="connsiteX2" fmla="*/ 2737288 w 2737288"/>
                <a:gd name="connsiteY2" fmla="*/ 1242272 h 276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737288" h="2766272">
                  <a:moveTo>
                    <a:pt x="438" y="2766272"/>
                  </a:moveTo>
                  <a:cubicBezTo>
                    <a:pt x="-21257" y="1796839"/>
                    <a:pt x="769846" y="-45191"/>
                    <a:pt x="1011675" y="847"/>
                  </a:cubicBezTo>
                  <a:cubicBezTo>
                    <a:pt x="1253504" y="46885"/>
                    <a:pt x="2150971" y="837989"/>
                    <a:pt x="2737288" y="1242272"/>
                  </a:cubicBezTo>
                </a:path>
              </a:pathLst>
            </a:custGeom>
            <a:noFill/>
            <a:ln w="76200" cap="flat" cmpd="sng" algn="ctr">
              <a:solidFill>
                <a:srgbClr val="00206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6690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BC709C64-2A6E-2C15-5F3B-F010E0C4F9D0}"/>
              </a:ext>
            </a:extLst>
          </p:cNvPr>
          <p:cNvGrpSpPr/>
          <p:nvPr/>
        </p:nvGrpSpPr>
        <p:grpSpPr>
          <a:xfrm>
            <a:off x="2324100" y="1219199"/>
            <a:ext cx="7172325" cy="4753761"/>
            <a:chOff x="2734444" y="1219200"/>
            <a:chExt cx="6104756" cy="2838450"/>
          </a:xfrm>
        </p:grpSpPr>
        <p:sp>
          <p:nvSpPr>
            <p:cNvPr id="5" name="Rounded Rectangle 4"/>
            <p:cNvSpPr/>
            <p:nvPr/>
          </p:nvSpPr>
          <p:spPr>
            <a:xfrm>
              <a:off x="3574157" y="1219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ducing ONGC Videsh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574157" y="1676400"/>
              <a:ext cx="5257800" cy="381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Footprints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3574157" y="21336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s and Production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574157" y="2619375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Partners 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3574157" y="3124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 @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3581400" y="367665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ing attractiveness of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734444" y="1219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734444" y="1676400"/>
              <a:ext cx="685800" cy="381000"/>
            </a:xfrm>
            <a:prstGeom prst="roundRect">
              <a:avLst/>
            </a:prstGeom>
            <a:solidFill>
              <a:schemeClr val="tx1">
                <a:lumMod val="95000"/>
                <a:lumOff val="5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2734444" y="2133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734444" y="25908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2734444" y="3124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2734444" y="3657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200"/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6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EF3FA5F-E9BA-3CBB-8B32-ECBB0F5E53E0}"/>
              </a:ext>
            </a:extLst>
          </p:cNvPr>
          <p:cNvSpPr txBox="1">
            <a:spLocks/>
          </p:cNvSpPr>
          <p:nvPr/>
        </p:nvSpPr>
        <p:spPr>
          <a:xfrm>
            <a:off x="601107" y="63279"/>
            <a:ext cx="9144000" cy="5334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defTabSz="914400">
              <a:spcBef>
                <a:spcPct val="0"/>
              </a:spcBef>
              <a:buNone/>
              <a:defRPr sz="44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esentation Overview</a:t>
            </a:r>
            <a:endParaRPr lang="en-IN" sz="3200" b="1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349469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83096" y="41580"/>
            <a:ext cx="8077200" cy="584775"/>
          </a:xfr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200" b="1">
                <a:latin typeface="Calibri"/>
                <a:ea typeface="+mn-ea"/>
                <a:cs typeface="Calibri"/>
              </a:rPr>
              <a:t>Global Footprints</a:t>
            </a:r>
          </a:p>
        </p:txBody>
      </p:sp>
      <p:grpSp>
        <p:nvGrpSpPr>
          <p:cNvPr id="1203" name="Group 1202"/>
          <p:cNvGrpSpPr>
            <a:grpSpLocks/>
          </p:cNvGrpSpPr>
          <p:nvPr/>
        </p:nvGrpSpPr>
        <p:grpSpPr>
          <a:xfrm>
            <a:off x="2140712" y="1850909"/>
            <a:ext cx="6990588" cy="3638479"/>
            <a:chOff x="314325" y="1368425"/>
            <a:chExt cx="8542338" cy="4498975"/>
          </a:xfrm>
        </p:grpSpPr>
        <p:sp>
          <p:nvSpPr>
            <p:cNvPr id="5" name="Freeform 4"/>
            <p:cNvSpPr>
              <a:spLocks noChangeAspect="1"/>
            </p:cNvSpPr>
            <p:nvPr/>
          </p:nvSpPr>
          <p:spPr bwMode="auto">
            <a:xfrm>
              <a:off x="4173538" y="1644650"/>
              <a:ext cx="9525" cy="14288"/>
            </a:xfrm>
            <a:custGeom>
              <a:avLst/>
              <a:gdLst>
                <a:gd name="T0" fmla="*/ 5715 w 5"/>
                <a:gd name="T1" fmla="*/ 10206 h 7"/>
                <a:gd name="T2" fmla="*/ 1905 w 5"/>
                <a:gd name="T3" fmla="*/ 14288 h 7"/>
                <a:gd name="T4" fmla="*/ 1905 w 5"/>
                <a:gd name="T5" fmla="*/ 6123 h 7"/>
                <a:gd name="T6" fmla="*/ 7620 w 5"/>
                <a:gd name="T7" fmla="*/ 2041 h 7"/>
                <a:gd name="T8" fmla="*/ 5715 w 5"/>
                <a:gd name="T9" fmla="*/ 10206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3" y="5"/>
                  </a:moveTo>
                  <a:cubicBezTo>
                    <a:pt x="3" y="6"/>
                    <a:pt x="1" y="7"/>
                    <a:pt x="1" y="7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2" y="2"/>
                    <a:pt x="3" y="0"/>
                    <a:pt x="4" y="1"/>
                  </a:cubicBezTo>
                  <a:cubicBezTo>
                    <a:pt x="5" y="2"/>
                    <a:pt x="4" y="4"/>
                    <a:pt x="3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" name="Freeform 5"/>
            <p:cNvSpPr>
              <a:spLocks noChangeAspect="1"/>
            </p:cNvSpPr>
            <p:nvPr/>
          </p:nvSpPr>
          <p:spPr bwMode="auto">
            <a:xfrm>
              <a:off x="4121150" y="1441450"/>
              <a:ext cx="19050" cy="17463"/>
            </a:xfrm>
            <a:custGeom>
              <a:avLst/>
              <a:gdLst>
                <a:gd name="T0" fmla="*/ 13335 w 10"/>
                <a:gd name="T1" fmla="*/ 7761 h 9"/>
                <a:gd name="T2" fmla="*/ 19050 w 10"/>
                <a:gd name="T3" fmla="*/ 17463 h 9"/>
                <a:gd name="T4" fmla="*/ 7620 w 10"/>
                <a:gd name="T5" fmla="*/ 11642 h 9"/>
                <a:gd name="T6" fmla="*/ 1905 w 10"/>
                <a:gd name="T7" fmla="*/ 0 h 9"/>
                <a:gd name="T8" fmla="*/ 13335 w 10"/>
                <a:gd name="T9" fmla="*/ 776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9"/>
                <a:gd name="T17" fmla="*/ 10 w 10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9">
                  <a:moveTo>
                    <a:pt x="7" y="4"/>
                  </a:moveTo>
                  <a:cubicBezTo>
                    <a:pt x="8" y="5"/>
                    <a:pt x="10" y="8"/>
                    <a:pt x="10" y="9"/>
                  </a:cubicBezTo>
                  <a:cubicBezTo>
                    <a:pt x="9" y="9"/>
                    <a:pt x="5" y="7"/>
                    <a:pt x="4" y="6"/>
                  </a:cubicBezTo>
                  <a:cubicBezTo>
                    <a:pt x="2" y="4"/>
                    <a:pt x="0" y="0"/>
                    <a:pt x="1" y="0"/>
                  </a:cubicBezTo>
                  <a:cubicBezTo>
                    <a:pt x="2" y="0"/>
                    <a:pt x="5" y="3"/>
                    <a:pt x="7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" name="Freeform 6"/>
            <p:cNvSpPr>
              <a:spLocks noChangeAspect="1"/>
            </p:cNvSpPr>
            <p:nvPr/>
          </p:nvSpPr>
          <p:spPr bwMode="auto">
            <a:xfrm>
              <a:off x="4148138" y="1439863"/>
              <a:ext cx="15875" cy="12700"/>
            </a:xfrm>
            <a:custGeom>
              <a:avLst/>
              <a:gdLst>
                <a:gd name="T0" fmla="*/ 9922 w 8"/>
                <a:gd name="T1" fmla="*/ 7257 h 7"/>
                <a:gd name="T2" fmla="*/ 13891 w 8"/>
                <a:gd name="T3" fmla="*/ 12700 h 7"/>
                <a:gd name="T4" fmla="*/ 7938 w 8"/>
                <a:gd name="T5" fmla="*/ 9071 h 7"/>
                <a:gd name="T6" fmla="*/ 1984 w 8"/>
                <a:gd name="T7" fmla="*/ 0 h 7"/>
                <a:gd name="T8" fmla="*/ 9922 w 8"/>
                <a:gd name="T9" fmla="*/ 725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7"/>
                <a:gd name="T17" fmla="*/ 8 w 8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7">
                  <a:moveTo>
                    <a:pt x="5" y="4"/>
                  </a:moveTo>
                  <a:cubicBezTo>
                    <a:pt x="6" y="5"/>
                    <a:pt x="8" y="7"/>
                    <a:pt x="7" y="7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2" y="3"/>
                    <a:pt x="0" y="1"/>
                    <a:pt x="1" y="0"/>
                  </a:cubicBezTo>
                  <a:cubicBezTo>
                    <a:pt x="1" y="0"/>
                    <a:pt x="4" y="3"/>
                    <a:pt x="5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" name="Freeform 7"/>
            <p:cNvSpPr>
              <a:spLocks noChangeAspect="1"/>
            </p:cNvSpPr>
            <p:nvPr/>
          </p:nvSpPr>
          <p:spPr bwMode="auto">
            <a:xfrm>
              <a:off x="4156075" y="1458913"/>
              <a:ext cx="11113" cy="9525"/>
            </a:xfrm>
            <a:custGeom>
              <a:avLst/>
              <a:gdLst>
                <a:gd name="T0" fmla="*/ 7409 w 6"/>
                <a:gd name="T1" fmla="*/ 3810 h 5"/>
                <a:gd name="T2" fmla="*/ 9261 w 6"/>
                <a:gd name="T3" fmla="*/ 9525 h 5"/>
                <a:gd name="T4" fmla="*/ 3704 w 6"/>
                <a:gd name="T5" fmla="*/ 5715 h 5"/>
                <a:gd name="T6" fmla="*/ 1852 w 6"/>
                <a:gd name="T7" fmla="*/ 0 h 5"/>
                <a:gd name="T8" fmla="*/ 7409 w 6"/>
                <a:gd name="T9" fmla="*/ 381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4" y="2"/>
                  </a:moveTo>
                  <a:cubicBezTo>
                    <a:pt x="4" y="3"/>
                    <a:pt x="6" y="5"/>
                    <a:pt x="5" y="5"/>
                  </a:cubicBezTo>
                  <a:cubicBezTo>
                    <a:pt x="5" y="5"/>
                    <a:pt x="3" y="4"/>
                    <a:pt x="2" y="3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1" y="0"/>
                    <a:pt x="2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" name="Freeform 8"/>
            <p:cNvSpPr>
              <a:spLocks noChangeAspect="1"/>
            </p:cNvSpPr>
            <p:nvPr/>
          </p:nvSpPr>
          <p:spPr bwMode="auto">
            <a:xfrm>
              <a:off x="4146550" y="1789113"/>
              <a:ext cx="7938" cy="6350"/>
            </a:xfrm>
            <a:custGeom>
              <a:avLst/>
              <a:gdLst>
                <a:gd name="T0" fmla="*/ 5953 w 4"/>
                <a:gd name="T1" fmla="*/ 4233 h 3"/>
                <a:gd name="T2" fmla="*/ 3969 w 4"/>
                <a:gd name="T3" fmla="*/ 6350 h 3"/>
                <a:gd name="T4" fmla="*/ 1985 w 4"/>
                <a:gd name="T5" fmla="*/ 4233 h 3"/>
                <a:gd name="T6" fmla="*/ 3969 w 4"/>
                <a:gd name="T7" fmla="*/ 0 h 3"/>
                <a:gd name="T8" fmla="*/ 5953 w 4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2"/>
                  </a:moveTo>
                  <a:cubicBezTo>
                    <a:pt x="3" y="3"/>
                    <a:pt x="3" y="3"/>
                    <a:pt x="2" y="3"/>
                  </a:cubicBezTo>
                  <a:cubicBezTo>
                    <a:pt x="1" y="3"/>
                    <a:pt x="0" y="2"/>
                    <a:pt x="1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4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" name="Freeform 9"/>
            <p:cNvSpPr>
              <a:spLocks noChangeAspect="1"/>
            </p:cNvSpPr>
            <p:nvPr/>
          </p:nvSpPr>
          <p:spPr bwMode="auto">
            <a:xfrm>
              <a:off x="4178300" y="1584325"/>
              <a:ext cx="9525" cy="11113"/>
            </a:xfrm>
            <a:custGeom>
              <a:avLst/>
              <a:gdLst>
                <a:gd name="T0" fmla="*/ 5715 w 5"/>
                <a:gd name="T1" fmla="*/ 7409 h 6"/>
                <a:gd name="T2" fmla="*/ 1905 w 5"/>
                <a:gd name="T3" fmla="*/ 9261 h 6"/>
                <a:gd name="T4" fmla="*/ 1905 w 5"/>
                <a:gd name="T5" fmla="*/ 5557 h 6"/>
                <a:gd name="T6" fmla="*/ 5715 w 5"/>
                <a:gd name="T7" fmla="*/ 1852 h 6"/>
                <a:gd name="T8" fmla="*/ 5715 w 5"/>
                <a:gd name="T9" fmla="*/ 7409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3" y="4"/>
                  </a:moveTo>
                  <a:cubicBezTo>
                    <a:pt x="3" y="5"/>
                    <a:pt x="2" y="6"/>
                    <a:pt x="1" y="5"/>
                  </a:cubicBezTo>
                  <a:cubicBezTo>
                    <a:pt x="0" y="5"/>
                    <a:pt x="1" y="4"/>
                    <a:pt x="1" y="3"/>
                  </a:cubicBezTo>
                  <a:cubicBezTo>
                    <a:pt x="1" y="2"/>
                    <a:pt x="2" y="0"/>
                    <a:pt x="3" y="1"/>
                  </a:cubicBezTo>
                  <a:cubicBezTo>
                    <a:pt x="5" y="2"/>
                    <a:pt x="4" y="3"/>
                    <a:pt x="3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" name="Freeform 10"/>
            <p:cNvSpPr>
              <a:spLocks noChangeAspect="1"/>
            </p:cNvSpPr>
            <p:nvPr/>
          </p:nvSpPr>
          <p:spPr bwMode="auto">
            <a:xfrm>
              <a:off x="4143375" y="1536700"/>
              <a:ext cx="9525" cy="9525"/>
            </a:xfrm>
            <a:custGeom>
              <a:avLst/>
              <a:gdLst>
                <a:gd name="T0" fmla="*/ 5715 w 5"/>
                <a:gd name="T1" fmla="*/ 7620 h 5"/>
                <a:gd name="T2" fmla="*/ 1905 w 5"/>
                <a:gd name="T3" fmla="*/ 7620 h 5"/>
                <a:gd name="T4" fmla="*/ 3810 w 5"/>
                <a:gd name="T5" fmla="*/ 3810 h 5"/>
                <a:gd name="T6" fmla="*/ 9525 w 5"/>
                <a:gd name="T7" fmla="*/ 1905 h 5"/>
                <a:gd name="T8" fmla="*/ 5715 w 5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3" y="4"/>
                  </a:moveTo>
                  <a:cubicBezTo>
                    <a:pt x="2" y="4"/>
                    <a:pt x="1" y="5"/>
                    <a:pt x="1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1"/>
                    <a:pt x="5" y="0"/>
                    <a:pt x="5" y="1"/>
                  </a:cubicBezTo>
                  <a:cubicBezTo>
                    <a:pt x="5" y="2"/>
                    <a:pt x="4" y="3"/>
                    <a:pt x="3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" name="Freeform 11"/>
            <p:cNvSpPr>
              <a:spLocks noChangeAspect="1"/>
            </p:cNvSpPr>
            <p:nvPr/>
          </p:nvSpPr>
          <p:spPr bwMode="auto">
            <a:xfrm>
              <a:off x="4121150" y="1712913"/>
              <a:ext cx="6350" cy="4762"/>
            </a:xfrm>
            <a:custGeom>
              <a:avLst/>
              <a:gdLst>
                <a:gd name="T0" fmla="*/ 2117 w 3"/>
                <a:gd name="T1" fmla="*/ 4762 h 2"/>
                <a:gd name="T2" fmla="*/ 0 w 3"/>
                <a:gd name="T3" fmla="*/ 2381 h 2"/>
                <a:gd name="T4" fmla="*/ 4233 w 3"/>
                <a:gd name="T5" fmla="*/ 0 h 2"/>
                <a:gd name="T6" fmla="*/ 6350 w 3"/>
                <a:gd name="T7" fmla="*/ 2381 h 2"/>
                <a:gd name="T8" fmla="*/ 2117 w 3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" name="Freeform 12"/>
            <p:cNvSpPr>
              <a:spLocks noChangeAspect="1"/>
            </p:cNvSpPr>
            <p:nvPr/>
          </p:nvSpPr>
          <p:spPr bwMode="auto">
            <a:xfrm>
              <a:off x="4111625" y="1708150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1588 h 2"/>
                <a:gd name="T4" fmla="*/ 4233 w 3"/>
                <a:gd name="T5" fmla="*/ 0 h 2"/>
                <a:gd name="T6" fmla="*/ 6350 w 3"/>
                <a:gd name="T7" fmla="*/ 1588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" name="Freeform 13"/>
            <p:cNvSpPr>
              <a:spLocks noChangeAspect="1"/>
            </p:cNvSpPr>
            <p:nvPr/>
          </p:nvSpPr>
          <p:spPr bwMode="auto">
            <a:xfrm>
              <a:off x="4102100" y="1703388"/>
              <a:ext cx="6350" cy="4762"/>
            </a:xfrm>
            <a:custGeom>
              <a:avLst/>
              <a:gdLst>
                <a:gd name="T0" fmla="*/ 2117 w 3"/>
                <a:gd name="T1" fmla="*/ 4762 h 2"/>
                <a:gd name="T2" fmla="*/ 0 w 3"/>
                <a:gd name="T3" fmla="*/ 2381 h 2"/>
                <a:gd name="T4" fmla="*/ 2117 w 3"/>
                <a:gd name="T5" fmla="*/ 0 h 2"/>
                <a:gd name="T6" fmla="*/ 4233 w 3"/>
                <a:gd name="T7" fmla="*/ 4762 h 2"/>
                <a:gd name="T8" fmla="*/ 2117 w 3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1"/>
                    <a:pt x="3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" name="Freeform 14"/>
            <p:cNvSpPr>
              <a:spLocks noChangeAspect="1"/>
            </p:cNvSpPr>
            <p:nvPr/>
          </p:nvSpPr>
          <p:spPr bwMode="auto">
            <a:xfrm>
              <a:off x="4157663" y="1787525"/>
              <a:ext cx="4762" cy="4763"/>
            </a:xfrm>
            <a:custGeom>
              <a:avLst/>
              <a:gdLst>
                <a:gd name="T0" fmla="*/ 2381 w 2"/>
                <a:gd name="T1" fmla="*/ 2382 h 2"/>
                <a:gd name="T2" fmla="*/ 0 w 2"/>
                <a:gd name="T3" fmla="*/ 4763 h 2"/>
                <a:gd name="T4" fmla="*/ 0 w 2"/>
                <a:gd name="T5" fmla="*/ 2382 h 2"/>
                <a:gd name="T6" fmla="*/ 2381 w 2"/>
                <a:gd name="T7" fmla="*/ 0 h 2"/>
                <a:gd name="T8" fmla="*/ 2381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1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" name="Freeform 15"/>
            <p:cNvSpPr>
              <a:spLocks noChangeAspect="1"/>
            </p:cNvSpPr>
            <p:nvPr/>
          </p:nvSpPr>
          <p:spPr bwMode="auto">
            <a:xfrm>
              <a:off x="4138613" y="1622425"/>
              <a:ext cx="1587" cy="3175"/>
            </a:xfrm>
            <a:custGeom>
              <a:avLst/>
              <a:gdLst>
                <a:gd name="T0" fmla="*/ 1587 w 1"/>
                <a:gd name="T1" fmla="*/ 1588 h 2"/>
                <a:gd name="T2" fmla="*/ 0 w 1"/>
                <a:gd name="T3" fmla="*/ 3175 h 2"/>
                <a:gd name="T4" fmla="*/ 0 w 1"/>
                <a:gd name="T5" fmla="*/ 1588 h 2"/>
                <a:gd name="T6" fmla="*/ 1587 w 1"/>
                <a:gd name="T7" fmla="*/ 0 h 2"/>
                <a:gd name="T8" fmla="*/ 1587 w 1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" name="Freeform 16"/>
            <p:cNvSpPr>
              <a:spLocks noChangeAspect="1"/>
            </p:cNvSpPr>
            <p:nvPr/>
          </p:nvSpPr>
          <p:spPr bwMode="auto">
            <a:xfrm>
              <a:off x="4144963" y="1620838"/>
              <a:ext cx="3175" cy="4762"/>
            </a:xfrm>
            <a:custGeom>
              <a:avLst/>
              <a:gdLst>
                <a:gd name="T0" fmla="*/ 3175 w 2"/>
                <a:gd name="T1" fmla="*/ 1587 h 3"/>
                <a:gd name="T2" fmla="*/ 3175 w 2"/>
                <a:gd name="T3" fmla="*/ 4762 h 3"/>
                <a:gd name="T4" fmla="*/ 1588 w 2"/>
                <a:gd name="T5" fmla="*/ 3175 h 3"/>
                <a:gd name="T6" fmla="*/ 1588 w 2"/>
                <a:gd name="T7" fmla="*/ 0 h 3"/>
                <a:gd name="T8" fmla="*/ 3175 w 2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3"/>
                    <a:pt x="2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" name="Freeform 17"/>
            <p:cNvSpPr>
              <a:spLocks noChangeAspect="1"/>
            </p:cNvSpPr>
            <p:nvPr/>
          </p:nvSpPr>
          <p:spPr bwMode="auto">
            <a:xfrm>
              <a:off x="4152900" y="1635125"/>
              <a:ext cx="4763" cy="6350"/>
            </a:xfrm>
            <a:custGeom>
              <a:avLst/>
              <a:gdLst>
                <a:gd name="T0" fmla="*/ 3175 w 3"/>
                <a:gd name="T1" fmla="*/ 4233 h 3"/>
                <a:gd name="T2" fmla="*/ 1588 w 3"/>
                <a:gd name="T3" fmla="*/ 6350 h 3"/>
                <a:gd name="T4" fmla="*/ 1588 w 3"/>
                <a:gd name="T5" fmla="*/ 2117 h 3"/>
                <a:gd name="T6" fmla="*/ 3175 w 3"/>
                <a:gd name="T7" fmla="*/ 2117 h 3"/>
                <a:gd name="T8" fmla="*/ 3175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" name="Freeform 18"/>
            <p:cNvSpPr>
              <a:spLocks noChangeAspect="1"/>
            </p:cNvSpPr>
            <p:nvPr/>
          </p:nvSpPr>
          <p:spPr bwMode="auto">
            <a:xfrm>
              <a:off x="4124325" y="1631950"/>
              <a:ext cx="4763" cy="1588"/>
            </a:xfrm>
            <a:custGeom>
              <a:avLst/>
              <a:gdLst>
                <a:gd name="T0" fmla="*/ 1588 w 3"/>
                <a:gd name="T1" fmla="*/ 1588 h 1"/>
                <a:gd name="T2" fmla="*/ 0 w 3"/>
                <a:gd name="T3" fmla="*/ 1588 h 1"/>
                <a:gd name="T4" fmla="*/ 1588 w 3"/>
                <a:gd name="T5" fmla="*/ 0 h 1"/>
                <a:gd name="T6" fmla="*/ 4763 w 3"/>
                <a:gd name="T7" fmla="*/ 0 h 1"/>
                <a:gd name="T8" fmla="*/ 1588 w 3"/>
                <a:gd name="T9" fmla="*/ 1588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1" y="1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" name="Freeform 19"/>
            <p:cNvSpPr>
              <a:spLocks noChangeAspect="1"/>
            </p:cNvSpPr>
            <p:nvPr/>
          </p:nvSpPr>
          <p:spPr bwMode="auto">
            <a:xfrm>
              <a:off x="4149725" y="1624013"/>
              <a:ext cx="6350" cy="6350"/>
            </a:xfrm>
            <a:custGeom>
              <a:avLst/>
              <a:gdLst>
                <a:gd name="T0" fmla="*/ 4233 w 3"/>
                <a:gd name="T1" fmla="*/ 6350 h 3"/>
                <a:gd name="T2" fmla="*/ 2117 w 3"/>
                <a:gd name="T3" fmla="*/ 6350 h 3"/>
                <a:gd name="T4" fmla="*/ 2117 w 3"/>
                <a:gd name="T5" fmla="*/ 4233 h 3"/>
                <a:gd name="T6" fmla="*/ 4233 w 3"/>
                <a:gd name="T7" fmla="*/ 2117 h 3"/>
                <a:gd name="T8" fmla="*/ 4233 w 3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3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" name="Freeform 20"/>
            <p:cNvSpPr>
              <a:spLocks noChangeAspect="1"/>
            </p:cNvSpPr>
            <p:nvPr/>
          </p:nvSpPr>
          <p:spPr bwMode="auto">
            <a:xfrm>
              <a:off x="4167188" y="1611313"/>
              <a:ext cx="4762" cy="4762"/>
            </a:xfrm>
            <a:custGeom>
              <a:avLst/>
              <a:gdLst>
                <a:gd name="T0" fmla="*/ 2381 w 2"/>
                <a:gd name="T1" fmla="*/ 3175 h 3"/>
                <a:gd name="T2" fmla="*/ 0 w 2"/>
                <a:gd name="T3" fmla="*/ 4762 h 3"/>
                <a:gd name="T4" fmla="*/ 0 w 2"/>
                <a:gd name="T5" fmla="*/ 1587 h 3"/>
                <a:gd name="T6" fmla="*/ 2381 w 2"/>
                <a:gd name="T7" fmla="*/ 0 h 3"/>
                <a:gd name="T8" fmla="*/ 2381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" name="Freeform 21"/>
            <p:cNvSpPr>
              <a:spLocks noChangeAspect="1"/>
            </p:cNvSpPr>
            <p:nvPr/>
          </p:nvSpPr>
          <p:spPr bwMode="auto">
            <a:xfrm>
              <a:off x="4146550" y="1598613"/>
              <a:ext cx="6350" cy="7937"/>
            </a:xfrm>
            <a:custGeom>
              <a:avLst/>
              <a:gdLst>
                <a:gd name="T0" fmla="*/ 4233 w 3"/>
                <a:gd name="T1" fmla="*/ 5953 h 4"/>
                <a:gd name="T2" fmla="*/ 2117 w 3"/>
                <a:gd name="T3" fmla="*/ 7937 h 4"/>
                <a:gd name="T4" fmla="*/ 0 w 3"/>
                <a:gd name="T5" fmla="*/ 3969 h 4"/>
                <a:gd name="T6" fmla="*/ 4233 w 3"/>
                <a:gd name="T7" fmla="*/ 1984 h 4"/>
                <a:gd name="T8" fmla="*/ 4233 w 3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3"/>
                  </a:moveTo>
                  <a:cubicBezTo>
                    <a:pt x="2" y="3"/>
                    <a:pt x="1" y="4"/>
                    <a:pt x="1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3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" name="Freeform 22"/>
            <p:cNvSpPr>
              <a:spLocks noChangeAspect="1"/>
            </p:cNvSpPr>
            <p:nvPr/>
          </p:nvSpPr>
          <p:spPr bwMode="auto">
            <a:xfrm>
              <a:off x="4148138" y="1697038"/>
              <a:ext cx="9525" cy="39687"/>
            </a:xfrm>
            <a:custGeom>
              <a:avLst/>
              <a:gdLst>
                <a:gd name="T0" fmla="*/ 3810 w 5"/>
                <a:gd name="T1" fmla="*/ 1890 h 21"/>
                <a:gd name="T2" fmla="*/ 0 w 5"/>
                <a:gd name="T3" fmla="*/ 11339 h 21"/>
                <a:gd name="T4" fmla="*/ 5715 w 5"/>
                <a:gd name="T5" fmla="*/ 37797 h 21"/>
                <a:gd name="T6" fmla="*/ 9525 w 5"/>
                <a:gd name="T7" fmla="*/ 37797 h 21"/>
                <a:gd name="T8" fmla="*/ 7620 w 5"/>
                <a:gd name="T9" fmla="*/ 7559 h 21"/>
                <a:gd name="T10" fmla="*/ 3810 w 5"/>
                <a:gd name="T11" fmla="*/ 1890 h 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1"/>
                <a:gd name="T20" fmla="*/ 5 w 5"/>
                <a:gd name="T21" fmla="*/ 21 h 2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1">
                  <a:moveTo>
                    <a:pt x="2" y="1"/>
                  </a:moveTo>
                  <a:cubicBezTo>
                    <a:pt x="0" y="2"/>
                    <a:pt x="0" y="4"/>
                    <a:pt x="0" y="6"/>
                  </a:cubicBezTo>
                  <a:cubicBezTo>
                    <a:pt x="0" y="11"/>
                    <a:pt x="1" y="16"/>
                    <a:pt x="3" y="20"/>
                  </a:cubicBezTo>
                  <a:cubicBezTo>
                    <a:pt x="3" y="21"/>
                    <a:pt x="5" y="20"/>
                    <a:pt x="5" y="20"/>
                  </a:cubicBezTo>
                  <a:cubicBezTo>
                    <a:pt x="5" y="14"/>
                    <a:pt x="5" y="9"/>
                    <a:pt x="4" y="4"/>
                  </a:cubicBezTo>
                  <a:cubicBezTo>
                    <a:pt x="4" y="3"/>
                    <a:pt x="3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" name="Freeform 23"/>
            <p:cNvSpPr>
              <a:spLocks noChangeAspect="1"/>
            </p:cNvSpPr>
            <p:nvPr/>
          </p:nvSpPr>
          <p:spPr bwMode="auto">
            <a:xfrm>
              <a:off x="4149725" y="1757363"/>
              <a:ext cx="36513" cy="22225"/>
            </a:xfrm>
            <a:custGeom>
              <a:avLst/>
              <a:gdLst>
                <a:gd name="T0" fmla="*/ 1922 w 19"/>
                <a:gd name="T1" fmla="*/ 3704 h 12"/>
                <a:gd name="T2" fmla="*/ 1922 w 19"/>
                <a:gd name="T3" fmla="*/ 18521 h 12"/>
                <a:gd name="T4" fmla="*/ 17296 w 19"/>
                <a:gd name="T5" fmla="*/ 18521 h 12"/>
                <a:gd name="T6" fmla="*/ 30748 w 19"/>
                <a:gd name="T7" fmla="*/ 18521 h 12"/>
                <a:gd name="T8" fmla="*/ 36513 w 19"/>
                <a:gd name="T9" fmla="*/ 12965 h 12"/>
                <a:gd name="T10" fmla="*/ 34591 w 19"/>
                <a:gd name="T11" fmla="*/ 9260 h 12"/>
                <a:gd name="T12" fmla="*/ 26904 w 19"/>
                <a:gd name="T13" fmla="*/ 12965 h 12"/>
                <a:gd name="T14" fmla="*/ 19217 w 19"/>
                <a:gd name="T15" fmla="*/ 7408 h 12"/>
                <a:gd name="T16" fmla="*/ 23061 w 19"/>
                <a:gd name="T17" fmla="*/ 3704 h 12"/>
                <a:gd name="T18" fmla="*/ 21139 w 19"/>
                <a:gd name="T19" fmla="*/ 0 h 12"/>
                <a:gd name="T20" fmla="*/ 15374 w 19"/>
                <a:gd name="T21" fmla="*/ 7408 h 12"/>
                <a:gd name="T22" fmla="*/ 9609 w 19"/>
                <a:gd name="T23" fmla="*/ 1852 h 12"/>
                <a:gd name="T24" fmla="*/ 1922 w 19"/>
                <a:gd name="T25" fmla="*/ 3704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12"/>
                <a:gd name="T41" fmla="*/ 19 w 19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12">
                  <a:moveTo>
                    <a:pt x="1" y="2"/>
                  </a:moveTo>
                  <a:cubicBezTo>
                    <a:pt x="2" y="4"/>
                    <a:pt x="1" y="8"/>
                    <a:pt x="1" y="10"/>
                  </a:cubicBezTo>
                  <a:cubicBezTo>
                    <a:pt x="2" y="12"/>
                    <a:pt x="7" y="10"/>
                    <a:pt x="9" y="10"/>
                  </a:cubicBezTo>
                  <a:cubicBezTo>
                    <a:pt x="11" y="10"/>
                    <a:pt x="14" y="11"/>
                    <a:pt x="16" y="10"/>
                  </a:cubicBezTo>
                  <a:cubicBezTo>
                    <a:pt x="17" y="10"/>
                    <a:pt x="18" y="9"/>
                    <a:pt x="19" y="7"/>
                  </a:cubicBezTo>
                  <a:cubicBezTo>
                    <a:pt x="19" y="7"/>
                    <a:pt x="19" y="5"/>
                    <a:pt x="18" y="5"/>
                  </a:cubicBezTo>
                  <a:cubicBezTo>
                    <a:pt x="17" y="5"/>
                    <a:pt x="16" y="8"/>
                    <a:pt x="14" y="7"/>
                  </a:cubicBezTo>
                  <a:cubicBezTo>
                    <a:pt x="13" y="7"/>
                    <a:pt x="11" y="6"/>
                    <a:pt x="10" y="4"/>
                  </a:cubicBezTo>
                  <a:cubicBezTo>
                    <a:pt x="10" y="3"/>
                    <a:pt x="12" y="3"/>
                    <a:pt x="12" y="2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9" y="1"/>
                    <a:pt x="10" y="4"/>
                    <a:pt x="8" y="4"/>
                  </a:cubicBezTo>
                  <a:cubicBezTo>
                    <a:pt x="7" y="4"/>
                    <a:pt x="7" y="1"/>
                    <a:pt x="5" y="1"/>
                  </a:cubicBezTo>
                  <a:cubicBezTo>
                    <a:pt x="4" y="1"/>
                    <a:pt x="0" y="0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" name="Freeform 24"/>
            <p:cNvSpPr>
              <a:spLocks noChangeAspect="1"/>
            </p:cNvSpPr>
            <p:nvPr/>
          </p:nvSpPr>
          <p:spPr bwMode="auto">
            <a:xfrm>
              <a:off x="4117975" y="1773238"/>
              <a:ext cx="12700" cy="15875"/>
            </a:xfrm>
            <a:custGeom>
              <a:avLst/>
              <a:gdLst>
                <a:gd name="T0" fmla="*/ 3629 w 7"/>
                <a:gd name="T1" fmla="*/ 1764 h 9"/>
                <a:gd name="T2" fmla="*/ 1814 w 7"/>
                <a:gd name="T3" fmla="*/ 14111 h 9"/>
                <a:gd name="T4" fmla="*/ 9071 w 7"/>
                <a:gd name="T5" fmla="*/ 14111 h 9"/>
                <a:gd name="T6" fmla="*/ 12700 w 7"/>
                <a:gd name="T7" fmla="*/ 10583 h 9"/>
                <a:gd name="T8" fmla="*/ 9071 w 7"/>
                <a:gd name="T9" fmla="*/ 7056 h 9"/>
                <a:gd name="T10" fmla="*/ 10886 w 7"/>
                <a:gd name="T11" fmla="*/ 3528 h 9"/>
                <a:gd name="T12" fmla="*/ 3629 w 7"/>
                <a:gd name="T13" fmla="*/ 1764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9"/>
                <a:gd name="T23" fmla="*/ 7 w 7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9">
                  <a:moveTo>
                    <a:pt x="2" y="1"/>
                  </a:moveTo>
                  <a:cubicBezTo>
                    <a:pt x="1" y="3"/>
                    <a:pt x="0" y="6"/>
                    <a:pt x="1" y="8"/>
                  </a:cubicBezTo>
                  <a:cubicBezTo>
                    <a:pt x="2" y="9"/>
                    <a:pt x="4" y="9"/>
                    <a:pt x="5" y="8"/>
                  </a:cubicBezTo>
                  <a:cubicBezTo>
                    <a:pt x="6" y="8"/>
                    <a:pt x="7" y="7"/>
                    <a:pt x="7" y="6"/>
                  </a:cubicBezTo>
                  <a:cubicBezTo>
                    <a:pt x="7" y="5"/>
                    <a:pt x="6" y="5"/>
                    <a:pt x="5" y="4"/>
                  </a:cubicBezTo>
                  <a:cubicBezTo>
                    <a:pt x="5" y="3"/>
                    <a:pt x="6" y="2"/>
                    <a:pt x="6" y="2"/>
                  </a:cubicBezTo>
                  <a:cubicBezTo>
                    <a:pt x="5" y="1"/>
                    <a:pt x="3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" name="Freeform 25"/>
            <p:cNvSpPr>
              <a:spLocks noChangeAspect="1"/>
            </p:cNvSpPr>
            <p:nvPr/>
          </p:nvSpPr>
          <p:spPr bwMode="auto">
            <a:xfrm>
              <a:off x="4087813" y="1801813"/>
              <a:ext cx="36512" cy="19050"/>
            </a:xfrm>
            <a:custGeom>
              <a:avLst/>
              <a:gdLst>
                <a:gd name="T0" fmla="*/ 1922 w 19"/>
                <a:gd name="T1" fmla="*/ 1905 h 10"/>
                <a:gd name="T2" fmla="*/ 1922 w 19"/>
                <a:gd name="T3" fmla="*/ 7620 h 10"/>
                <a:gd name="T4" fmla="*/ 13452 w 19"/>
                <a:gd name="T5" fmla="*/ 11430 h 10"/>
                <a:gd name="T6" fmla="*/ 21139 w 19"/>
                <a:gd name="T7" fmla="*/ 15240 h 10"/>
                <a:gd name="T8" fmla="*/ 34590 w 19"/>
                <a:gd name="T9" fmla="*/ 15240 h 10"/>
                <a:gd name="T10" fmla="*/ 30747 w 19"/>
                <a:gd name="T11" fmla="*/ 7620 h 10"/>
                <a:gd name="T12" fmla="*/ 24982 w 19"/>
                <a:gd name="T13" fmla="*/ 3810 h 10"/>
                <a:gd name="T14" fmla="*/ 1922 w 19"/>
                <a:gd name="T15" fmla="*/ 1905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10"/>
                <a:gd name="T26" fmla="*/ 19 w 19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10">
                  <a:moveTo>
                    <a:pt x="1" y="1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2" y="6"/>
                    <a:pt x="5" y="6"/>
                    <a:pt x="7" y="6"/>
                  </a:cubicBezTo>
                  <a:cubicBezTo>
                    <a:pt x="8" y="7"/>
                    <a:pt x="9" y="8"/>
                    <a:pt x="11" y="8"/>
                  </a:cubicBezTo>
                  <a:cubicBezTo>
                    <a:pt x="13" y="9"/>
                    <a:pt x="16" y="10"/>
                    <a:pt x="18" y="8"/>
                  </a:cubicBezTo>
                  <a:cubicBezTo>
                    <a:pt x="19" y="7"/>
                    <a:pt x="17" y="6"/>
                    <a:pt x="16" y="4"/>
                  </a:cubicBezTo>
                  <a:cubicBezTo>
                    <a:pt x="15" y="3"/>
                    <a:pt x="14" y="2"/>
                    <a:pt x="13" y="2"/>
                  </a:cubicBezTo>
                  <a:cubicBezTo>
                    <a:pt x="9" y="1"/>
                    <a:pt x="5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" name="Freeform 26"/>
            <p:cNvSpPr>
              <a:spLocks noChangeAspect="1"/>
            </p:cNvSpPr>
            <p:nvPr/>
          </p:nvSpPr>
          <p:spPr bwMode="auto">
            <a:xfrm>
              <a:off x="4022725" y="1868488"/>
              <a:ext cx="63500" cy="30162"/>
            </a:xfrm>
            <a:custGeom>
              <a:avLst/>
              <a:gdLst>
                <a:gd name="T0" fmla="*/ 1924 w 33"/>
                <a:gd name="T1" fmla="*/ 1885 h 16"/>
                <a:gd name="T2" fmla="*/ 1924 w 33"/>
                <a:gd name="T3" fmla="*/ 7541 h 16"/>
                <a:gd name="T4" fmla="*/ 17318 w 33"/>
                <a:gd name="T5" fmla="*/ 16966 h 16"/>
                <a:gd name="T6" fmla="*/ 30788 w 33"/>
                <a:gd name="T7" fmla="*/ 18851 h 16"/>
                <a:gd name="T8" fmla="*/ 57727 w 33"/>
                <a:gd name="T9" fmla="*/ 30162 h 16"/>
                <a:gd name="T10" fmla="*/ 57727 w 33"/>
                <a:gd name="T11" fmla="*/ 26392 h 16"/>
                <a:gd name="T12" fmla="*/ 40409 w 33"/>
                <a:gd name="T13" fmla="*/ 16966 h 16"/>
                <a:gd name="T14" fmla="*/ 44258 w 33"/>
                <a:gd name="T15" fmla="*/ 15081 h 16"/>
                <a:gd name="T16" fmla="*/ 61576 w 33"/>
                <a:gd name="T17" fmla="*/ 20736 h 16"/>
                <a:gd name="T18" fmla="*/ 59652 w 33"/>
                <a:gd name="T19" fmla="*/ 15081 h 16"/>
                <a:gd name="T20" fmla="*/ 34636 w 33"/>
                <a:gd name="T21" fmla="*/ 5655 h 16"/>
                <a:gd name="T22" fmla="*/ 17318 w 33"/>
                <a:gd name="T23" fmla="*/ 1885 h 16"/>
                <a:gd name="T24" fmla="*/ 1924 w 33"/>
                <a:gd name="T25" fmla="*/ 1885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16"/>
                <a:gd name="T41" fmla="*/ 33 w 33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16">
                  <a:moveTo>
                    <a:pt x="1" y="1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3" y="6"/>
                    <a:pt x="6" y="8"/>
                    <a:pt x="9" y="9"/>
                  </a:cubicBezTo>
                  <a:cubicBezTo>
                    <a:pt x="11" y="10"/>
                    <a:pt x="14" y="9"/>
                    <a:pt x="16" y="10"/>
                  </a:cubicBezTo>
                  <a:cubicBezTo>
                    <a:pt x="21" y="12"/>
                    <a:pt x="25" y="15"/>
                    <a:pt x="30" y="16"/>
                  </a:cubicBezTo>
                  <a:cubicBezTo>
                    <a:pt x="30" y="16"/>
                    <a:pt x="30" y="14"/>
                    <a:pt x="30" y="14"/>
                  </a:cubicBezTo>
                  <a:cubicBezTo>
                    <a:pt x="27" y="12"/>
                    <a:pt x="23" y="11"/>
                    <a:pt x="21" y="9"/>
                  </a:cubicBezTo>
                  <a:cubicBezTo>
                    <a:pt x="20" y="8"/>
                    <a:pt x="22" y="8"/>
                    <a:pt x="23" y="8"/>
                  </a:cubicBezTo>
                  <a:cubicBezTo>
                    <a:pt x="26" y="9"/>
                    <a:pt x="29" y="11"/>
                    <a:pt x="32" y="11"/>
                  </a:cubicBezTo>
                  <a:cubicBezTo>
                    <a:pt x="33" y="11"/>
                    <a:pt x="32" y="9"/>
                    <a:pt x="31" y="8"/>
                  </a:cubicBezTo>
                  <a:cubicBezTo>
                    <a:pt x="27" y="6"/>
                    <a:pt x="22" y="4"/>
                    <a:pt x="18" y="3"/>
                  </a:cubicBezTo>
                  <a:cubicBezTo>
                    <a:pt x="15" y="2"/>
                    <a:pt x="12" y="1"/>
                    <a:pt x="9" y="1"/>
                  </a:cubicBezTo>
                  <a:cubicBezTo>
                    <a:pt x="6" y="1"/>
                    <a:pt x="4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" name="Freeform 27"/>
            <p:cNvSpPr>
              <a:spLocks noChangeAspect="1"/>
            </p:cNvSpPr>
            <p:nvPr/>
          </p:nvSpPr>
          <p:spPr bwMode="auto">
            <a:xfrm>
              <a:off x="4024313" y="1860550"/>
              <a:ext cx="58737" cy="15875"/>
            </a:xfrm>
            <a:custGeom>
              <a:avLst/>
              <a:gdLst>
                <a:gd name="T0" fmla="*/ 1895 w 31"/>
                <a:gd name="T1" fmla="*/ 1984 h 8"/>
                <a:gd name="T2" fmla="*/ 3789 w 31"/>
                <a:gd name="T3" fmla="*/ 5953 h 8"/>
                <a:gd name="T4" fmla="*/ 30316 w 31"/>
                <a:gd name="T5" fmla="*/ 5953 h 8"/>
                <a:gd name="T6" fmla="*/ 43579 w 31"/>
                <a:gd name="T7" fmla="*/ 13891 h 8"/>
                <a:gd name="T8" fmla="*/ 56842 w 31"/>
                <a:gd name="T9" fmla="*/ 13891 h 8"/>
                <a:gd name="T10" fmla="*/ 53053 w 31"/>
                <a:gd name="T11" fmla="*/ 9922 h 8"/>
                <a:gd name="T12" fmla="*/ 54948 w 31"/>
                <a:gd name="T13" fmla="*/ 3969 h 8"/>
                <a:gd name="T14" fmla="*/ 47369 w 31"/>
                <a:gd name="T15" fmla="*/ 0 h 8"/>
                <a:gd name="T16" fmla="*/ 28421 w 31"/>
                <a:gd name="T17" fmla="*/ 1984 h 8"/>
                <a:gd name="T18" fmla="*/ 1895 w 31"/>
                <a:gd name="T19" fmla="*/ 1984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8"/>
                <a:gd name="T32" fmla="*/ 31 w 31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8">
                  <a:moveTo>
                    <a:pt x="1" y="1"/>
                  </a:moveTo>
                  <a:cubicBezTo>
                    <a:pt x="0" y="1"/>
                    <a:pt x="2" y="3"/>
                    <a:pt x="2" y="3"/>
                  </a:cubicBezTo>
                  <a:cubicBezTo>
                    <a:pt x="7" y="4"/>
                    <a:pt x="12" y="2"/>
                    <a:pt x="16" y="3"/>
                  </a:cubicBezTo>
                  <a:cubicBezTo>
                    <a:pt x="19" y="4"/>
                    <a:pt x="21" y="6"/>
                    <a:pt x="23" y="7"/>
                  </a:cubicBezTo>
                  <a:cubicBezTo>
                    <a:pt x="25" y="7"/>
                    <a:pt x="28" y="8"/>
                    <a:pt x="30" y="7"/>
                  </a:cubicBezTo>
                  <a:cubicBezTo>
                    <a:pt x="31" y="7"/>
                    <a:pt x="28" y="6"/>
                    <a:pt x="28" y="5"/>
                  </a:cubicBezTo>
                  <a:cubicBezTo>
                    <a:pt x="27" y="4"/>
                    <a:pt x="30" y="3"/>
                    <a:pt x="29" y="2"/>
                  </a:cubicBezTo>
                  <a:cubicBezTo>
                    <a:pt x="28" y="1"/>
                    <a:pt x="27" y="0"/>
                    <a:pt x="25" y="0"/>
                  </a:cubicBezTo>
                  <a:cubicBezTo>
                    <a:pt x="22" y="0"/>
                    <a:pt x="19" y="1"/>
                    <a:pt x="15" y="1"/>
                  </a:cubicBezTo>
                  <a:cubicBezTo>
                    <a:pt x="10" y="1"/>
                    <a:pt x="6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" name="Freeform 29"/>
            <p:cNvSpPr>
              <a:spLocks noChangeAspect="1"/>
            </p:cNvSpPr>
            <p:nvPr/>
          </p:nvSpPr>
          <p:spPr bwMode="auto">
            <a:xfrm>
              <a:off x="7700963" y="4205288"/>
              <a:ext cx="241300" cy="244475"/>
            </a:xfrm>
            <a:custGeom>
              <a:avLst/>
              <a:gdLst>
                <a:gd name="T0" fmla="*/ 224200 w 127"/>
                <a:gd name="T1" fmla="*/ 231105 h 128"/>
                <a:gd name="T2" fmla="*/ 191900 w 127"/>
                <a:gd name="T3" fmla="*/ 219645 h 128"/>
                <a:gd name="T4" fmla="*/ 191900 w 127"/>
                <a:gd name="T5" fmla="*/ 206276 h 128"/>
                <a:gd name="T6" fmla="*/ 182400 w 127"/>
                <a:gd name="T7" fmla="*/ 190996 h 128"/>
                <a:gd name="T8" fmla="*/ 186200 w 127"/>
                <a:gd name="T9" fmla="*/ 179536 h 128"/>
                <a:gd name="T10" fmla="*/ 176700 w 127"/>
                <a:gd name="T11" fmla="*/ 158527 h 128"/>
                <a:gd name="T12" fmla="*/ 159600 w 127"/>
                <a:gd name="T13" fmla="*/ 133697 h 128"/>
                <a:gd name="T14" fmla="*/ 115900 w 127"/>
                <a:gd name="T15" fmla="*/ 114598 h 128"/>
                <a:gd name="T16" fmla="*/ 89300 w 127"/>
                <a:gd name="T17" fmla="*/ 106958 h 128"/>
                <a:gd name="T18" fmla="*/ 81700 w 127"/>
                <a:gd name="T19" fmla="*/ 101228 h 128"/>
                <a:gd name="T20" fmla="*/ 66500 w 127"/>
                <a:gd name="T21" fmla="*/ 85948 h 128"/>
                <a:gd name="T22" fmla="*/ 66500 w 127"/>
                <a:gd name="T23" fmla="*/ 72579 h 128"/>
                <a:gd name="T24" fmla="*/ 58900 w 127"/>
                <a:gd name="T25" fmla="*/ 95498 h 128"/>
                <a:gd name="T26" fmla="*/ 45600 w 127"/>
                <a:gd name="T27" fmla="*/ 101228 h 128"/>
                <a:gd name="T28" fmla="*/ 45600 w 127"/>
                <a:gd name="T29" fmla="*/ 89768 h 128"/>
                <a:gd name="T30" fmla="*/ 24700 w 127"/>
                <a:gd name="T31" fmla="*/ 70669 h 128"/>
                <a:gd name="T32" fmla="*/ 47500 w 127"/>
                <a:gd name="T33" fmla="*/ 66849 h 128"/>
                <a:gd name="T34" fmla="*/ 60800 w 127"/>
                <a:gd name="T35" fmla="*/ 64939 h 128"/>
                <a:gd name="T36" fmla="*/ 70300 w 127"/>
                <a:gd name="T37" fmla="*/ 49659 h 128"/>
                <a:gd name="T38" fmla="*/ 32300 w 127"/>
                <a:gd name="T39" fmla="*/ 53479 h 128"/>
                <a:gd name="T40" fmla="*/ 17100 w 127"/>
                <a:gd name="T41" fmla="*/ 32469 h 128"/>
                <a:gd name="T42" fmla="*/ 7600 w 127"/>
                <a:gd name="T43" fmla="*/ 22920 h 128"/>
                <a:gd name="T44" fmla="*/ 30400 w 127"/>
                <a:gd name="T45" fmla="*/ 5730 h 128"/>
                <a:gd name="T46" fmla="*/ 62700 w 127"/>
                <a:gd name="T47" fmla="*/ 11460 h 128"/>
                <a:gd name="T48" fmla="*/ 81700 w 127"/>
                <a:gd name="T49" fmla="*/ 26739 h 128"/>
                <a:gd name="T50" fmla="*/ 85500 w 127"/>
                <a:gd name="T51" fmla="*/ 70669 h 128"/>
                <a:gd name="T52" fmla="*/ 89300 w 127"/>
                <a:gd name="T53" fmla="*/ 64939 h 128"/>
                <a:gd name="T54" fmla="*/ 104500 w 127"/>
                <a:gd name="T55" fmla="*/ 85948 h 128"/>
                <a:gd name="T56" fmla="*/ 129200 w 127"/>
                <a:gd name="T57" fmla="*/ 53479 h 128"/>
                <a:gd name="T58" fmla="*/ 150100 w 127"/>
                <a:gd name="T59" fmla="*/ 40109 h 128"/>
                <a:gd name="T60" fmla="*/ 178600 w 127"/>
                <a:gd name="T61" fmla="*/ 34379 h 128"/>
                <a:gd name="T62" fmla="*/ 220400 w 127"/>
                <a:gd name="T63" fmla="*/ 57299 h 128"/>
                <a:gd name="T64" fmla="*/ 241300 w 127"/>
                <a:gd name="T65" fmla="*/ 166167 h 128"/>
                <a:gd name="T66" fmla="*/ 239400 w 127"/>
                <a:gd name="T67" fmla="*/ 183356 h 1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7"/>
                <a:gd name="T103" fmla="*/ 0 h 128"/>
                <a:gd name="T104" fmla="*/ 127 w 127"/>
                <a:gd name="T105" fmla="*/ 128 h 1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7" h="128">
                  <a:moveTo>
                    <a:pt x="124" y="128"/>
                  </a:moveTo>
                  <a:cubicBezTo>
                    <a:pt x="122" y="127"/>
                    <a:pt x="120" y="124"/>
                    <a:pt x="118" y="121"/>
                  </a:cubicBezTo>
                  <a:cubicBezTo>
                    <a:pt x="116" y="119"/>
                    <a:pt x="114" y="116"/>
                    <a:pt x="110" y="115"/>
                  </a:cubicBezTo>
                  <a:cubicBezTo>
                    <a:pt x="107" y="114"/>
                    <a:pt x="104" y="115"/>
                    <a:pt x="101" y="115"/>
                  </a:cubicBezTo>
                  <a:cubicBezTo>
                    <a:pt x="100" y="115"/>
                    <a:pt x="98" y="115"/>
                    <a:pt x="98" y="114"/>
                  </a:cubicBezTo>
                  <a:cubicBezTo>
                    <a:pt x="98" y="112"/>
                    <a:pt x="100" y="110"/>
                    <a:pt x="101" y="108"/>
                  </a:cubicBezTo>
                  <a:cubicBezTo>
                    <a:pt x="101" y="107"/>
                    <a:pt x="101" y="105"/>
                    <a:pt x="100" y="103"/>
                  </a:cubicBezTo>
                  <a:cubicBezTo>
                    <a:pt x="99" y="102"/>
                    <a:pt x="97" y="102"/>
                    <a:pt x="96" y="100"/>
                  </a:cubicBezTo>
                  <a:cubicBezTo>
                    <a:pt x="95" y="99"/>
                    <a:pt x="94" y="97"/>
                    <a:pt x="95" y="95"/>
                  </a:cubicBezTo>
                  <a:cubicBezTo>
                    <a:pt x="95" y="94"/>
                    <a:pt x="98" y="95"/>
                    <a:pt x="98" y="94"/>
                  </a:cubicBezTo>
                  <a:cubicBezTo>
                    <a:pt x="99" y="93"/>
                    <a:pt x="97" y="93"/>
                    <a:pt x="96" y="92"/>
                  </a:cubicBezTo>
                  <a:cubicBezTo>
                    <a:pt x="95" y="89"/>
                    <a:pt x="94" y="86"/>
                    <a:pt x="93" y="83"/>
                  </a:cubicBezTo>
                  <a:cubicBezTo>
                    <a:pt x="92" y="80"/>
                    <a:pt x="90" y="78"/>
                    <a:pt x="89" y="76"/>
                  </a:cubicBezTo>
                  <a:cubicBezTo>
                    <a:pt x="87" y="74"/>
                    <a:pt x="86" y="72"/>
                    <a:pt x="84" y="70"/>
                  </a:cubicBezTo>
                  <a:cubicBezTo>
                    <a:pt x="81" y="68"/>
                    <a:pt x="77" y="67"/>
                    <a:pt x="74" y="65"/>
                  </a:cubicBezTo>
                  <a:cubicBezTo>
                    <a:pt x="70" y="63"/>
                    <a:pt x="66" y="61"/>
                    <a:pt x="61" y="60"/>
                  </a:cubicBezTo>
                  <a:cubicBezTo>
                    <a:pt x="59" y="59"/>
                    <a:pt x="57" y="60"/>
                    <a:pt x="55" y="60"/>
                  </a:cubicBezTo>
                  <a:cubicBezTo>
                    <a:pt x="52" y="59"/>
                    <a:pt x="49" y="58"/>
                    <a:pt x="47" y="56"/>
                  </a:cubicBezTo>
                  <a:cubicBezTo>
                    <a:pt x="46" y="55"/>
                    <a:pt x="48" y="53"/>
                    <a:pt x="47" y="52"/>
                  </a:cubicBezTo>
                  <a:cubicBezTo>
                    <a:pt x="46" y="51"/>
                    <a:pt x="45" y="54"/>
                    <a:pt x="43" y="53"/>
                  </a:cubicBezTo>
                  <a:cubicBezTo>
                    <a:pt x="41" y="53"/>
                    <a:pt x="40" y="52"/>
                    <a:pt x="39" y="51"/>
                  </a:cubicBezTo>
                  <a:cubicBezTo>
                    <a:pt x="37" y="49"/>
                    <a:pt x="35" y="47"/>
                    <a:pt x="35" y="45"/>
                  </a:cubicBezTo>
                  <a:cubicBezTo>
                    <a:pt x="34" y="43"/>
                    <a:pt x="37" y="42"/>
                    <a:pt x="37" y="40"/>
                  </a:cubicBezTo>
                  <a:cubicBezTo>
                    <a:pt x="37" y="39"/>
                    <a:pt x="36" y="37"/>
                    <a:pt x="35" y="38"/>
                  </a:cubicBezTo>
                  <a:cubicBezTo>
                    <a:pt x="34" y="40"/>
                    <a:pt x="33" y="43"/>
                    <a:pt x="32" y="45"/>
                  </a:cubicBezTo>
                  <a:cubicBezTo>
                    <a:pt x="32" y="47"/>
                    <a:pt x="32" y="48"/>
                    <a:pt x="31" y="50"/>
                  </a:cubicBezTo>
                  <a:cubicBezTo>
                    <a:pt x="30" y="52"/>
                    <a:pt x="28" y="53"/>
                    <a:pt x="27" y="54"/>
                  </a:cubicBezTo>
                  <a:cubicBezTo>
                    <a:pt x="26" y="54"/>
                    <a:pt x="24" y="54"/>
                    <a:pt x="24" y="53"/>
                  </a:cubicBezTo>
                  <a:cubicBezTo>
                    <a:pt x="22" y="52"/>
                    <a:pt x="22" y="50"/>
                    <a:pt x="22" y="48"/>
                  </a:cubicBezTo>
                  <a:cubicBezTo>
                    <a:pt x="22" y="47"/>
                    <a:pt x="25" y="48"/>
                    <a:pt x="24" y="47"/>
                  </a:cubicBezTo>
                  <a:cubicBezTo>
                    <a:pt x="23" y="44"/>
                    <a:pt x="22" y="41"/>
                    <a:pt x="19" y="39"/>
                  </a:cubicBezTo>
                  <a:cubicBezTo>
                    <a:pt x="18" y="37"/>
                    <a:pt x="15" y="38"/>
                    <a:pt x="13" y="37"/>
                  </a:cubicBezTo>
                  <a:cubicBezTo>
                    <a:pt x="13" y="36"/>
                    <a:pt x="15" y="35"/>
                    <a:pt x="17" y="35"/>
                  </a:cubicBezTo>
                  <a:cubicBezTo>
                    <a:pt x="19" y="34"/>
                    <a:pt x="22" y="36"/>
                    <a:pt x="25" y="35"/>
                  </a:cubicBezTo>
                  <a:cubicBezTo>
                    <a:pt x="27" y="35"/>
                    <a:pt x="27" y="31"/>
                    <a:pt x="29" y="31"/>
                  </a:cubicBezTo>
                  <a:cubicBezTo>
                    <a:pt x="30" y="31"/>
                    <a:pt x="31" y="33"/>
                    <a:pt x="32" y="34"/>
                  </a:cubicBezTo>
                  <a:cubicBezTo>
                    <a:pt x="33" y="34"/>
                    <a:pt x="35" y="33"/>
                    <a:pt x="35" y="32"/>
                  </a:cubicBezTo>
                  <a:cubicBezTo>
                    <a:pt x="36" y="31"/>
                    <a:pt x="38" y="28"/>
                    <a:pt x="37" y="26"/>
                  </a:cubicBezTo>
                  <a:cubicBezTo>
                    <a:pt x="36" y="25"/>
                    <a:pt x="33" y="27"/>
                    <a:pt x="32" y="27"/>
                  </a:cubicBezTo>
                  <a:cubicBezTo>
                    <a:pt x="27" y="27"/>
                    <a:pt x="22" y="29"/>
                    <a:pt x="17" y="28"/>
                  </a:cubicBezTo>
                  <a:cubicBezTo>
                    <a:pt x="15" y="27"/>
                    <a:pt x="15" y="25"/>
                    <a:pt x="14" y="23"/>
                  </a:cubicBezTo>
                  <a:cubicBezTo>
                    <a:pt x="13" y="21"/>
                    <a:pt x="11" y="18"/>
                    <a:pt x="9" y="17"/>
                  </a:cubicBezTo>
                  <a:cubicBezTo>
                    <a:pt x="7" y="16"/>
                    <a:pt x="3" y="18"/>
                    <a:pt x="1" y="17"/>
                  </a:cubicBezTo>
                  <a:cubicBezTo>
                    <a:pt x="0" y="15"/>
                    <a:pt x="3" y="14"/>
                    <a:pt x="4" y="12"/>
                  </a:cubicBezTo>
                  <a:cubicBezTo>
                    <a:pt x="5" y="11"/>
                    <a:pt x="5" y="8"/>
                    <a:pt x="6" y="7"/>
                  </a:cubicBezTo>
                  <a:cubicBezTo>
                    <a:pt x="9" y="4"/>
                    <a:pt x="13" y="4"/>
                    <a:pt x="16" y="3"/>
                  </a:cubicBezTo>
                  <a:cubicBezTo>
                    <a:pt x="18" y="2"/>
                    <a:pt x="20" y="0"/>
                    <a:pt x="23" y="1"/>
                  </a:cubicBezTo>
                  <a:cubicBezTo>
                    <a:pt x="27" y="1"/>
                    <a:pt x="30" y="4"/>
                    <a:pt x="33" y="6"/>
                  </a:cubicBezTo>
                  <a:cubicBezTo>
                    <a:pt x="35" y="6"/>
                    <a:pt x="37" y="4"/>
                    <a:pt x="39" y="5"/>
                  </a:cubicBezTo>
                  <a:cubicBezTo>
                    <a:pt x="41" y="7"/>
                    <a:pt x="43" y="11"/>
                    <a:pt x="43" y="14"/>
                  </a:cubicBezTo>
                  <a:cubicBezTo>
                    <a:pt x="44" y="18"/>
                    <a:pt x="40" y="22"/>
                    <a:pt x="41" y="26"/>
                  </a:cubicBezTo>
                  <a:cubicBezTo>
                    <a:pt x="41" y="30"/>
                    <a:pt x="43" y="34"/>
                    <a:pt x="45" y="37"/>
                  </a:cubicBezTo>
                  <a:cubicBezTo>
                    <a:pt x="46" y="38"/>
                    <a:pt x="46" y="35"/>
                    <a:pt x="46" y="34"/>
                  </a:cubicBezTo>
                  <a:cubicBezTo>
                    <a:pt x="46" y="33"/>
                    <a:pt x="47" y="33"/>
                    <a:pt x="47" y="34"/>
                  </a:cubicBezTo>
                  <a:cubicBezTo>
                    <a:pt x="48" y="36"/>
                    <a:pt x="47" y="40"/>
                    <a:pt x="49" y="42"/>
                  </a:cubicBezTo>
                  <a:cubicBezTo>
                    <a:pt x="50" y="44"/>
                    <a:pt x="53" y="46"/>
                    <a:pt x="55" y="45"/>
                  </a:cubicBezTo>
                  <a:cubicBezTo>
                    <a:pt x="60" y="43"/>
                    <a:pt x="64" y="38"/>
                    <a:pt x="67" y="33"/>
                  </a:cubicBezTo>
                  <a:cubicBezTo>
                    <a:pt x="68" y="32"/>
                    <a:pt x="67" y="29"/>
                    <a:pt x="68" y="28"/>
                  </a:cubicBezTo>
                  <a:cubicBezTo>
                    <a:pt x="71" y="27"/>
                    <a:pt x="74" y="29"/>
                    <a:pt x="76" y="28"/>
                  </a:cubicBezTo>
                  <a:cubicBezTo>
                    <a:pt x="78" y="27"/>
                    <a:pt x="77" y="23"/>
                    <a:pt x="79" y="21"/>
                  </a:cubicBezTo>
                  <a:cubicBezTo>
                    <a:pt x="81" y="19"/>
                    <a:pt x="84" y="18"/>
                    <a:pt x="87" y="17"/>
                  </a:cubicBezTo>
                  <a:cubicBezTo>
                    <a:pt x="89" y="17"/>
                    <a:pt x="92" y="17"/>
                    <a:pt x="94" y="18"/>
                  </a:cubicBezTo>
                  <a:cubicBezTo>
                    <a:pt x="100" y="22"/>
                    <a:pt x="105" y="27"/>
                    <a:pt x="111" y="30"/>
                  </a:cubicBezTo>
                  <a:cubicBezTo>
                    <a:pt x="112" y="31"/>
                    <a:pt x="115" y="29"/>
                    <a:pt x="116" y="30"/>
                  </a:cubicBezTo>
                  <a:cubicBezTo>
                    <a:pt x="120" y="31"/>
                    <a:pt x="124" y="32"/>
                    <a:pt x="127" y="34"/>
                  </a:cubicBezTo>
                  <a:lnTo>
                    <a:pt x="127" y="87"/>
                  </a:lnTo>
                  <a:cubicBezTo>
                    <a:pt x="127" y="89"/>
                    <a:pt x="124" y="90"/>
                    <a:pt x="124" y="92"/>
                  </a:cubicBezTo>
                  <a:cubicBezTo>
                    <a:pt x="124" y="93"/>
                    <a:pt x="126" y="95"/>
                    <a:pt x="126" y="96"/>
                  </a:cubicBezTo>
                  <a:lnTo>
                    <a:pt x="124" y="128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" name="Freeform 30"/>
            <p:cNvSpPr>
              <a:spLocks noChangeAspect="1"/>
            </p:cNvSpPr>
            <p:nvPr/>
          </p:nvSpPr>
          <p:spPr bwMode="auto">
            <a:xfrm>
              <a:off x="7512050" y="4445000"/>
              <a:ext cx="42863" cy="42863"/>
            </a:xfrm>
            <a:custGeom>
              <a:avLst/>
              <a:gdLst>
                <a:gd name="T0" fmla="*/ 37272 w 23"/>
                <a:gd name="T1" fmla="*/ 0 h 23"/>
                <a:gd name="T2" fmla="*/ 29818 w 23"/>
                <a:gd name="T3" fmla="*/ 7454 h 23"/>
                <a:gd name="T4" fmla="*/ 16772 w 23"/>
                <a:gd name="T5" fmla="*/ 11182 h 23"/>
                <a:gd name="T6" fmla="*/ 7454 w 23"/>
                <a:gd name="T7" fmla="*/ 18636 h 23"/>
                <a:gd name="T8" fmla="*/ 5591 w 23"/>
                <a:gd name="T9" fmla="*/ 31681 h 23"/>
                <a:gd name="T10" fmla="*/ 0 w 23"/>
                <a:gd name="T11" fmla="*/ 39136 h 23"/>
                <a:gd name="T12" fmla="*/ 5591 w 23"/>
                <a:gd name="T13" fmla="*/ 40999 h 23"/>
                <a:gd name="T14" fmla="*/ 20500 w 23"/>
                <a:gd name="T15" fmla="*/ 35409 h 23"/>
                <a:gd name="T16" fmla="*/ 26091 w 23"/>
                <a:gd name="T17" fmla="*/ 33545 h 23"/>
                <a:gd name="T18" fmla="*/ 37272 w 23"/>
                <a:gd name="T19" fmla="*/ 22363 h 23"/>
                <a:gd name="T20" fmla="*/ 42863 w 23"/>
                <a:gd name="T21" fmla="*/ 14909 h 23"/>
                <a:gd name="T22" fmla="*/ 42863 w 23"/>
                <a:gd name="T23" fmla="*/ 5591 h 23"/>
                <a:gd name="T24" fmla="*/ 37272 w 23"/>
                <a:gd name="T25" fmla="*/ 0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23"/>
                <a:gd name="T41" fmla="*/ 23 w 23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23">
                  <a:moveTo>
                    <a:pt x="20" y="0"/>
                  </a:moveTo>
                  <a:cubicBezTo>
                    <a:pt x="19" y="2"/>
                    <a:pt x="18" y="3"/>
                    <a:pt x="16" y="4"/>
                  </a:cubicBezTo>
                  <a:cubicBezTo>
                    <a:pt x="14" y="5"/>
                    <a:pt x="11" y="5"/>
                    <a:pt x="9" y="6"/>
                  </a:cubicBezTo>
                  <a:cubicBezTo>
                    <a:pt x="7" y="7"/>
                    <a:pt x="5" y="8"/>
                    <a:pt x="4" y="10"/>
                  </a:cubicBezTo>
                  <a:cubicBezTo>
                    <a:pt x="3" y="12"/>
                    <a:pt x="4" y="15"/>
                    <a:pt x="3" y="17"/>
                  </a:cubicBezTo>
                  <a:cubicBezTo>
                    <a:pt x="3" y="18"/>
                    <a:pt x="1" y="20"/>
                    <a:pt x="0" y="21"/>
                  </a:cubicBezTo>
                  <a:cubicBezTo>
                    <a:pt x="0" y="22"/>
                    <a:pt x="2" y="23"/>
                    <a:pt x="3" y="22"/>
                  </a:cubicBezTo>
                  <a:cubicBezTo>
                    <a:pt x="6" y="22"/>
                    <a:pt x="8" y="20"/>
                    <a:pt x="11" y="19"/>
                  </a:cubicBezTo>
                  <a:cubicBezTo>
                    <a:pt x="12" y="18"/>
                    <a:pt x="13" y="19"/>
                    <a:pt x="14" y="18"/>
                  </a:cubicBezTo>
                  <a:cubicBezTo>
                    <a:pt x="16" y="17"/>
                    <a:pt x="18" y="14"/>
                    <a:pt x="20" y="12"/>
                  </a:cubicBezTo>
                  <a:cubicBezTo>
                    <a:pt x="21" y="11"/>
                    <a:pt x="22" y="10"/>
                    <a:pt x="23" y="8"/>
                  </a:cubicBezTo>
                  <a:cubicBezTo>
                    <a:pt x="23" y="7"/>
                    <a:pt x="23" y="5"/>
                    <a:pt x="23" y="3"/>
                  </a:cubicBezTo>
                  <a:cubicBezTo>
                    <a:pt x="22" y="2"/>
                    <a:pt x="21" y="1"/>
                    <a:pt x="2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" name="Freeform 31"/>
            <p:cNvSpPr>
              <a:spLocks noChangeAspect="1"/>
            </p:cNvSpPr>
            <p:nvPr/>
          </p:nvSpPr>
          <p:spPr bwMode="auto">
            <a:xfrm>
              <a:off x="4933950" y="4818063"/>
              <a:ext cx="392113" cy="374650"/>
            </a:xfrm>
            <a:custGeom>
              <a:avLst/>
              <a:gdLst>
                <a:gd name="T0" fmla="*/ 373078 w 206"/>
                <a:gd name="T1" fmla="*/ 135026 h 197"/>
                <a:gd name="T2" fmla="*/ 363561 w 206"/>
                <a:gd name="T3" fmla="*/ 150240 h 197"/>
                <a:gd name="T4" fmla="*/ 340720 w 206"/>
                <a:gd name="T5" fmla="*/ 136928 h 197"/>
                <a:gd name="T6" fmla="*/ 346430 w 206"/>
                <a:gd name="T7" fmla="*/ 112205 h 197"/>
                <a:gd name="T8" fmla="*/ 373078 w 206"/>
                <a:gd name="T9" fmla="*/ 114107 h 197"/>
                <a:gd name="T10" fmla="*/ 369271 w 206"/>
                <a:gd name="T11" fmla="*/ 98892 h 197"/>
                <a:gd name="T12" fmla="*/ 367368 w 206"/>
                <a:gd name="T13" fmla="*/ 57053 h 197"/>
                <a:gd name="T14" fmla="*/ 363561 w 206"/>
                <a:gd name="T15" fmla="*/ 30428 h 197"/>
                <a:gd name="T16" fmla="*/ 357851 w 206"/>
                <a:gd name="T17" fmla="*/ 7607 h 197"/>
                <a:gd name="T18" fmla="*/ 346430 w 206"/>
                <a:gd name="T19" fmla="*/ 3804 h 197"/>
                <a:gd name="T20" fmla="*/ 319781 w 206"/>
                <a:gd name="T21" fmla="*/ 1902 h 197"/>
                <a:gd name="T22" fmla="*/ 298843 w 206"/>
                <a:gd name="T23" fmla="*/ 5705 h 197"/>
                <a:gd name="T24" fmla="*/ 277905 w 206"/>
                <a:gd name="T25" fmla="*/ 19018 h 197"/>
                <a:gd name="T26" fmla="*/ 251257 w 206"/>
                <a:gd name="T27" fmla="*/ 57053 h 197"/>
                <a:gd name="T28" fmla="*/ 226512 w 206"/>
                <a:gd name="T29" fmla="*/ 72268 h 197"/>
                <a:gd name="T30" fmla="*/ 218898 w 206"/>
                <a:gd name="T31" fmla="*/ 100794 h 197"/>
                <a:gd name="T32" fmla="*/ 194153 w 206"/>
                <a:gd name="T33" fmla="*/ 104598 h 197"/>
                <a:gd name="T34" fmla="*/ 173215 w 206"/>
                <a:gd name="T35" fmla="*/ 89384 h 197"/>
                <a:gd name="T36" fmla="*/ 154180 w 206"/>
                <a:gd name="T37" fmla="*/ 93187 h 197"/>
                <a:gd name="T38" fmla="*/ 140856 w 206"/>
                <a:gd name="T39" fmla="*/ 117910 h 197"/>
                <a:gd name="T40" fmla="*/ 125628 w 206"/>
                <a:gd name="T41" fmla="*/ 133124 h 197"/>
                <a:gd name="T42" fmla="*/ 98980 w 206"/>
                <a:gd name="T43" fmla="*/ 135026 h 197"/>
                <a:gd name="T44" fmla="*/ 102787 w 206"/>
                <a:gd name="T45" fmla="*/ 110303 h 197"/>
                <a:gd name="T46" fmla="*/ 93270 w 206"/>
                <a:gd name="T47" fmla="*/ 83678 h 197"/>
                <a:gd name="T48" fmla="*/ 83752 w 206"/>
                <a:gd name="T49" fmla="*/ 182571 h 197"/>
                <a:gd name="T50" fmla="*/ 70428 w 206"/>
                <a:gd name="T51" fmla="*/ 192079 h 197"/>
                <a:gd name="T52" fmla="*/ 53297 w 206"/>
                <a:gd name="T53" fmla="*/ 193981 h 197"/>
                <a:gd name="T54" fmla="*/ 24745 w 206"/>
                <a:gd name="T55" fmla="*/ 192079 h 197"/>
                <a:gd name="T56" fmla="*/ 13324 w 206"/>
                <a:gd name="T57" fmla="*/ 171160 h 197"/>
                <a:gd name="T58" fmla="*/ 7614 w 206"/>
                <a:gd name="T59" fmla="*/ 186374 h 197"/>
                <a:gd name="T60" fmla="*/ 5710 w 206"/>
                <a:gd name="T61" fmla="*/ 205392 h 197"/>
                <a:gd name="T62" fmla="*/ 30455 w 206"/>
                <a:gd name="T63" fmla="*/ 266249 h 197"/>
                <a:gd name="T64" fmla="*/ 39973 w 206"/>
                <a:gd name="T65" fmla="*/ 309990 h 197"/>
                <a:gd name="T66" fmla="*/ 32359 w 206"/>
                <a:gd name="T67" fmla="*/ 315695 h 197"/>
                <a:gd name="T68" fmla="*/ 41876 w 206"/>
                <a:gd name="T69" fmla="*/ 344222 h 197"/>
                <a:gd name="T70" fmla="*/ 53297 w 206"/>
                <a:gd name="T71" fmla="*/ 355632 h 197"/>
                <a:gd name="T72" fmla="*/ 78042 w 206"/>
                <a:gd name="T73" fmla="*/ 372748 h 197"/>
                <a:gd name="T74" fmla="*/ 102787 w 206"/>
                <a:gd name="T75" fmla="*/ 357534 h 197"/>
                <a:gd name="T76" fmla="*/ 127532 w 206"/>
                <a:gd name="T77" fmla="*/ 351829 h 197"/>
                <a:gd name="T78" fmla="*/ 157987 w 206"/>
                <a:gd name="T79" fmla="*/ 351829 h 197"/>
                <a:gd name="T80" fmla="*/ 192250 w 206"/>
                <a:gd name="T81" fmla="*/ 351829 h 197"/>
                <a:gd name="T82" fmla="*/ 213188 w 206"/>
                <a:gd name="T83" fmla="*/ 346123 h 197"/>
                <a:gd name="T84" fmla="*/ 234126 w 206"/>
                <a:gd name="T85" fmla="*/ 338516 h 197"/>
                <a:gd name="T86" fmla="*/ 268388 w 206"/>
                <a:gd name="T87" fmla="*/ 317597 h 197"/>
                <a:gd name="T88" fmla="*/ 302650 w 206"/>
                <a:gd name="T89" fmla="*/ 281463 h 197"/>
                <a:gd name="T90" fmla="*/ 327395 w 206"/>
                <a:gd name="T91" fmla="*/ 254838 h 197"/>
                <a:gd name="T92" fmla="*/ 348333 w 206"/>
                <a:gd name="T93" fmla="*/ 211097 h 197"/>
                <a:gd name="T94" fmla="*/ 373078 w 206"/>
                <a:gd name="T95" fmla="*/ 192079 h 197"/>
                <a:gd name="T96" fmla="*/ 386403 w 206"/>
                <a:gd name="T97" fmla="*/ 154044 h 19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6"/>
                <a:gd name="T148" fmla="*/ 0 h 197"/>
                <a:gd name="T149" fmla="*/ 206 w 206"/>
                <a:gd name="T150" fmla="*/ 197 h 19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6" h="197">
                  <a:moveTo>
                    <a:pt x="206" y="72"/>
                  </a:moveTo>
                  <a:lnTo>
                    <a:pt x="196" y="71"/>
                  </a:lnTo>
                  <a:cubicBezTo>
                    <a:pt x="196" y="74"/>
                    <a:pt x="195" y="76"/>
                    <a:pt x="194" y="77"/>
                  </a:cubicBezTo>
                  <a:cubicBezTo>
                    <a:pt x="193" y="78"/>
                    <a:pt x="192" y="79"/>
                    <a:pt x="191" y="79"/>
                  </a:cubicBezTo>
                  <a:cubicBezTo>
                    <a:pt x="189" y="79"/>
                    <a:pt x="186" y="78"/>
                    <a:pt x="185" y="77"/>
                  </a:cubicBezTo>
                  <a:cubicBezTo>
                    <a:pt x="182" y="76"/>
                    <a:pt x="180" y="74"/>
                    <a:pt x="179" y="72"/>
                  </a:cubicBezTo>
                  <a:cubicBezTo>
                    <a:pt x="178" y="70"/>
                    <a:pt x="178" y="67"/>
                    <a:pt x="179" y="65"/>
                  </a:cubicBezTo>
                  <a:cubicBezTo>
                    <a:pt x="179" y="63"/>
                    <a:pt x="181" y="61"/>
                    <a:pt x="182" y="59"/>
                  </a:cubicBezTo>
                  <a:cubicBezTo>
                    <a:pt x="184" y="57"/>
                    <a:pt x="185" y="55"/>
                    <a:pt x="187" y="55"/>
                  </a:cubicBezTo>
                  <a:cubicBezTo>
                    <a:pt x="190" y="55"/>
                    <a:pt x="193" y="58"/>
                    <a:pt x="196" y="60"/>
                  </a:cubicBezTo>
                  <a:cubicBezTo>
                    <a:pt x="195" y="58"/>
                    <a:pt x="194" y="57"/>
                    <a:pt x="194" y="56"/>
                  </a:cubicBezTo>
                  <a:cubicBezTo>
                    <a:pt x="194" y="55"/>
                    <a:pt x="194" y="54"/>
                    <a:pt x="194" y="52"/>
                  </a:cubicBezTo>
                  <a:cubicBezTo>
                    <a:pt x="195" y="47"/>
                    <a:pt x="195" y="42"/>
                    <a:pt x="195" y="37"/>
                  </a:cubicBezTo>
                  <a:cubicBezTo>
                    <a:pt x="195" y="35"/>
                    <a:pt x="194" y="32"/>
                    <a:pt x="193" y="30"/>
                  </a:cubicBezTo>
                  <a:cubicBezTo>
                    <a:pt x="192" y="27"/>
                    <a:pt x="191" y="25"/>
                    <a:pt x="191" y="22"/>
                  </a:cubicBezTo>
                  <a:cubicBezTo>
                    <a:pt x="190" y="20"/>
                    <a:pt x="191" y="18"/>
                    <a:pt x="191" y="16"/>
                  </a:cubicBezTo>
                  <a:cubicBezTo>
                    <a:pt x="191" y="15"/>
                    <a:pt x="189" y="13"/>
                    <a:pt x="189" y="12"/>
                  </a:cubicBezTo>
                  <a:cubicBezTo>
                    <a:pt x="188" y="9"/>
                    <a:pt x="188" y="7"/>
                    <a:pt x="188" y="4"/>
                  </a:cubicBezTo>
                  <a:cubicBezTo>
                    <a:pt x="187" y="4"/>
                    <a:pt x="187" y="5"/>
                    <a:pt x="186" y="4"/>
                  </a:cubicBezTo>
                  <a:cubicBezTo>
                    <a:pt x="185" y="4"/>
                    <a:pt x="184" y="2"/>
                    <a:pt x="182" y="2"/>
                  </a:cubicBezTo>
                  <a:cubicBezTo>
                    <a:pt x="180" y="2"/>
                    <a:pt x="178" y="2"/>
                    <a:pt x="177" y="2"/>
                  </a:cubicBezTo>
                  <a:cubicBezTo>
                    <a:pt x="174" y="2"/>
                    <a:pt x="171" y="1"/>
                    <a:pt x="168" y="1"/>
                  </a:cubicBezTo>
                  <a:cubicBezTo>
                    <a:pt x="166" y="0"/>
                    <a:pt x="164" y="0"/>
                    <a:pt x="161" y="0"/>
                  </a:cubicBezTo>
                  <a:cubicBezTo>
                    <a:pt x="160" y="1"/>
                    <a:pt x="158" y="2"/>
                    <a:pt x="157" y="3"/>
                  </a:cubicBezTo>
                  <a:cubicBezTo>
                    <a:pt x="156" y="4"/>
                    <a:pt x="154" y="5"/>
                    <a:pt x="153" y="5"/>
                  </a:cubicBezTo>
                  <a:cubicBezTo>
                    <a:pt x="150" y="7"/>
                    <a:pt x="148" y="9"/>
                    <a:pt x="146" y="10"/>
                  </a:cubicBezTo>
                  <a:cubicBezTo>
                    <a:pt x="142" y="14"/>
                    <a:pt x="137" y="17"/>
                    <a:pt x="134" y="21"/>
                  </a:cubicBezTo>
                  <a:cubicBezTo>
                    <a:pt x="133" y="23"/>
                    <a:pt x="134" y="27"/>
                    <a:pt x="132" y="30"/>
                  </a:cubicBezTo>
                  <a:cubicBezTo>
                    <a:pt x="131" y="32"/>
                    <a:pt x="129" y="34"/>
                    <a:pt x="126" y="36"/>
                  </a:cubicBezTo>
                  <a:cubicBezTo>
                    <a:pt x="124" y="37"/>
                    <a:pt x="121" y="37"/>
                    <a:pt x="119" y="38"/>
                  </a:cubicBezTo>
                  <a:cubicBezTo>
                    <a:pt x="117" y="41"/>
                    <a:pt x="118" y="44"/>
                    <a:pt x="117" y="47"/>
                  </a:cubicBezTo>
                  <a:cubicBezTo>
                    <a:pt x="116" y="49"/>
                    <a:pt x="116" y="51"/>
                    <a:pt x="115" y="53"/>
                  </a:cubicBezTo>
                  <a:cubicBezTo>
                    <a:pt x="112" y="54"/>
                    <a:pt x="109" y="54"/>
                    <a:pt x="106" y="54"/>
                  </a:cubicBezTo>
                  <a:cubicBezTo>
                    <a:pt x="105" y="55"/>
                    <a:pt x="104" y="55"/>
                    <a:pt x="102" y="55"/>
                  </a:cubicBezTo>
                  <a:cubicBezTo>
                    <a:pt x="100" y="55"/>
                    <a:pt x="97" y="54"/>
                    <a:pt x="95" y="53"/>
                  </a:cubicBezTo>
                  <a:cubicBezTo>
                    <a:pt x="93" y="51"/>
                    <a:pt x="93" y="48"/>
                    <a:pt x="91" y="47"/>
                  </a:cubicBezTo>
                  <a:cubicBezTo>
                    <a:pt x="90" y="46"/>
                    <a:pt x="88" y="46"/>
                    <a:pt x="86" y="47"/>
                  </a:cubicBezTo>
                  <a:cubicBezTo>
                    <a:pt x="84" y="47"/>
                    <a:pt x="82" y="48"/>
                    <a:pt x="81" y="49"/>
                  </a:cubicBezTo>
                  <a:cubicBezTo>
                    <a:pt x="80" y="52"/>
                    <a:pt x="80" y="55"/>
                    <a:pt x="78" y="57"/>
                  </a:cubicBezTo>
                  <a:cubicBezTo>
                    <a:pt x="77" y="59"/>
                    <a:pt x="76" y="61"/>
                    <a:pt x="74" y="62"/>
                  </a:cubicBezTo>
                  <a:cubicBezTo>
                    <a:pt x="72" y="64"/>
                    <a:pt x="69" y="65"/>
                    <a:pt x="67" y="67"/>
                  </a:cubicBezTo>
                  <a:cubicBezTo>
                    <a:pt x="66" y="67"/>
                    <a:pt x="67" y="70"/>
                    <a:pt x="66" y="70"/>
                  </a:cubicBezTo>
                  <a:cubicBezTo>
                    <a:pt x="63" y="71"/>
                    <a:pt x="60" y="69"/>
                    <a:pt x="57" y="69"/>
                  </a:cubicBezTo>
                  <a:cubicBezTo>
                    <a:pt x="55" y="70"/>
                    <a:pt x="53" y="72"/>
                    <a:pt x="52" y="71"/>
                  </a:cubicBezTo>
                  <a:cubicBezTo>
                    <a:pt x="50" y="70"/>
                    <a:pt x="50" y="68"/>
                    <a:pt x="50" y="66"/>
                  </a:cubicBezTo>
                  <a:cubicBezTo>
                    <a:pt x="51" y="63"/>
                    <a:pt x="54" y="61"/>
                    <a:pt x="54" y="58"/>
                  </a:cubicBezTo>
                  <a:cubicBezTo>
                    <a:pt x="54" y="56"/>
                    <a:pt x="52" y="55"/>
                    <a:pt x="51" y="53"/>
                  </a:cubicBezTo>
                  <a:cubicBezTo>
                    <a:pt x="50" y="50"/>
                    <a:pt x="51" y="47"/>
                    <a:pt x="49" y="44"/>
                  </a:cubicBezTo>
                  <a:cubicBezTo>
                    <a:pt x="48" y="42"/>
                    <a:pt x="46" y="41"/>
                    <a:pt x="45" y="40"/>
                  </a:cubicBezTo>
                  <a:lnTo>
                    <a:pt x="44" y="96"/>
                  </a:lnTo>
                  <a:cubicBezTo>
                    <a:pt x="43" y="97"/>
                    <a:pt x="42" y="98"/>
                    <a:pt x="41" y="99"/>
                  </a:cubicBezTo>
                  <a:cubicBezTo>
                    <a:pt x="39" y="100"/>
                    <a:pt x="38" y="100"/>
                    <a:pt x="37" y="101"/>
                  </a:cubicBezTo>
                  <a:cubicBezTo>
                    <a:pt x="36" y="102"/>
                    <a:pt x="35" y="104"/>
                    <a:pt x="34" y="104"/>
                  </a:cubicBezTo>
                  <a:cubicBezTo>
                    <a:pt x="32" y="105"/>
                    <a:pt x="30" y="102"/>
                    <a:pt x="28" y="102"/>
                  </a:cubicBezTo>
                  <a:cubicBezTo>
                    <a:pt x="25" y="102"/>
                    <a:pt x="23" y="104"/>
                    <a:pt x="20" y="104"/>
                  </a:cubicBezTo>
                  <a:cubicBezTo>
                    <a:pt x="18" y="103"/>
                    <a:pt x="15" y="103"/>
                    <a:pt x="13" y="101"/>
                  </a:cubicBezTo>
                  <a:cubicBezTo>
                    <a:pt x="11" y="100"/>
                    <a:pt x="12" y="97"/>
                    <a:pt x="11" y="95"/>
                  </a:cubicBezTo>
                  <a:cubicBezTo>
                    <a:pt x="10" y="93"/>
                    <a:pt x="9" y="90"/>
                    <a:pt x="7" y="90"/>
                  </a:cubicBezTo>
                  <a:cubicBezTo>
                    <a:pt x="6" y="89"/>
                    <a:pt x="4" y="91"/>
                    <a:pt x="4" y="92"/>
                  </a:cubicBezTo>
                  <a:cubicBezTo>
                    <a:pt x="3" y="94"/>
                    <a:pt x="4" y="96"/>
                    <a:pt x="4" y="98"/>
                  </a:cubicBezTo>
                  <a:cubicBezTo>
                    <a:pt x="3" y="98"/>
                    <a:pt x="1" y="98"/>
                    <a:pt x="0" y="98"/>
                  </a:cubicBezTo>
                  <a:cubicBezTo>
                    <a:pt x="1" y="102"/>
                    <a:pt x="2" y="104"/>
                    <a:pt x="3" y="108"/>
                  </a:cubicBezTo>
                  <a:cubicBezTo>
                    <a:pt x="5" y="112"/>
                    <a:pt x="6" y="116"/>
                    <a:pt x="8" y="120"/>
                  </a:cubicBezTo>
                  <a:cubicBezTo>
                    <a:pt x="11" y="127"/>
                    <a:pt x="14" y="133"/>
                    <a:pt x="16" y="140"/>
                  </a:cubicBezTo>
                  <a:cubicBezTo>
                    <a:pt x="18" y="144"/>
                    <a:pt x="21" y="148"/>
                    <a:pt x="22" y="153"/>
                  </a:cubicBezTo>
                  <a:cubicBezTo>
                    <a:pt x="22" y="156"/>
                    <a:pt x="23" y="160"/>
                    <a:pt x="21" y="163"/>
                  </a:cubicBezTo>
                  <a:cubicBezTo>
                    <a:pt x="20" y="164"/>
                    <a:pt x="18" y="159"/>
                    <a:pt x="17" y="160"/>
                  </a:cubicBezTo>
                  <a:cubicBezTo>
                    <a:pt x="15" y="161"/>
                    <a:pt x="16" y="164"/>
                    <a:pt x="17" y="166"/>
                  </a:cubicBezTo>
                  <a:cubicBezTo>
                    <a:pt x="18" y="170"/>
                    <a:pt x="21" y="173"/>
                    <a:pt x="22" y="177"/>
                  </a:cubicBezTo>
                  <a:cubicBezTo>
                    <a:pt x="23" y="178"/>
                    <a:pt x="22" y="180"/>
                    <a:pt x="22" y="181"/>
                  </a:cubicBezTo>
                  <a:cubicBezTo>
                    <a:pt x="23" y="182"/>
                    <a:pt x="24" y="182"/>
                    <a:pt x="25" y="183"/>
                  </a:cubicBezTo>
                  <a:cubicBezTo>
                    <a:pt x="26" y="184"/>
                    <a:pt x="27" y="186"/>
                    <a:pt x="28" y="187"/>
                  </a:cubicBezTo>
                  <a:cubicBezTo>
                    <a:pt x="31" y="189"/>
                    <a:pt x="33" y="190"/>
                    <a:pt x="36" y="192"/>
                  </a:cubicBezTo>
                  <a:cubicBezTo>
                    <a:pt x="38" y="193"/>
                    <a:pt x="39" y="196"/>
                    <a:pt x="41" y="196"/>
                  </a:cubicBezTo>
                  <a:cubicBezTo>
                    <a:pt x="43" y="197"/>
                    <a:pt x="44" y="194"/>
                    <a:pt x="45" y="193"/>
                  </a:cubicBezTo>
                  <a:cubicBezTo>
                    <a:pt x="48" y="191"/>
                    <a:pt x="51" y="189"/>
                    <a:pt x="54" y="188"/>
                  </a:cubicBezTo>
                  <a:cubicBezTo>
                    <a:pt x="57" y="188"/>
                    <a:pt x="60" y="189"/>
                    <a:pt x="62" y="188"/>
                  </a:cubicBezTo>
                  <a:cubicBezTo>
                    <a:pt x="64" y="188"/>
                    <a:pt x="65" y="186"/>
                    <a:pt x="67" y="185"/>
                  </a:cubicBezTo>
                  <a:cubicBezTo>
                    <a:pt x="69" y="184"/>
                    <a:pt x="70" y="182"/>
                    <a:pt x="72" y="182"/>
                  </a:cubicBezTo>
                  <a:cubicBezTo>
                    <a:pt x="75" y="182"/>
                    <a:pt x="79" y="185"/>
                    <a:pt x="83" y="185"/>
                  </a:cubicBezTo>
                  <a:cubicBezTo>
                    <a:pt x="85" y="185"/>
                    <a:pt x="86" y="181"/>
                    <a:pt x="87" y="181"/>
                  </a:cubicBezTo>
                  <a:cubicBezTo>
                    <a:pt x="92" y="181"/>
                    <a:pt x="96" y="185"/>
                    <a:pt x="101" y="185"/>
                  </a:cubicBezTo>
                  <a:cubicBezTo>
                    <a:pt x="103" y="185"/>
                    <a:pt x="102" y="182"/>
                    <a:pt x="104" y="182"/>
                  </a:cubicBezTo>
                  <a:cubicBezTo>
                    <a:pt x="106" y="181"/>
                    <a:pt x="109" y="183"/>
                    <a:pt x="112" y="182"/>
                  </a:cubicBezTo>
                  <a:cubicBezTo>
                    <a:pt x="113" y="182"/>
                    <a:pt x="113" y="179"/>
                    <a:pt x="114" y="178"/>
                  </a:cubicBezTo>
                  <a:cubicBezTo>
                    <a:pt x="117" y="177"/>
                    <a:pt x="120" y="179"/>
                    <a:pt x="123" y="178"/>
                  </a:cubicBezTo>
                  <a:cubicBezTo>
                    <a:pt x="126" y="177"/>
                    <a:pt x="128" y="176"/>
                    <a:pt x="131" y="174"/>
                  </a:cubicBezTo>
                  <a:cubicBezTo>
                    <a:pt x="135" y="172"/>
                    <a:pt x="138" y="169"/>
                    <a:pt x="141" y="167"/>
                  </a:cubicBezTo>
                  <a:cubicBezTo>
                    <a:pt x="144" y="164"/>
                    <a:pt x="146" y="161"/>
                    <a:pt x="149" y="158"/>
                  </a:cubicBezTo>
                  <a:cubicBezTo>
                    <a:pt x="153" y="154"/>
                    <a:pt x="156" y="151"/>
                    <a:pt x="159" y="148"/>
                  </a:cubicBezTo>
                  <a:cubicBezTo>
                    <a:pt x="160" y="146"/>
                    <a:pt x="162" y="144"/>
                    <a:pt x="164" y="143"/>
                  </a:cubicBezTo>
                  <a:cubicBezTo>
                    <a:pt x="167" y="140"/>
                    <a:pt x="170" y="137"/>
                    <a:pt x="172" y="134"/>
                  </a:cubicBezTo>
                  <a:cubicBezTo>
                    <a:pt x="175" y="131"/>
                    <a:pt x="177" y="126"/>
                    <a:pt x="178" y="122"/>
                  </a:cubicBezTo>
                  <a:cubicBezTo>
                    <a:pt x="180" y="118"/>
                    <a:pt x="181" y="114"/>
                    <a:pt x="183" y="111"/>
                  </a:cubicBezTo>
                  <a:cubicBezTo>
                    <a:pt x="184" y="109"/>
                    <a:pt x="186" y="107"/>
                    <a:pt x="188" y="106"/>
                  </a:cubicBezTo>
                  <a:cubicBezTo>
                    <a:pt x="190" y="104"/>
                    <a:pt x="194" y="103"/>
                    <a:pt x="196" y="101"/>
                  </a:cubicBezTo>
                  <a:cubicBezTo>
                    <a:pt x="198" y="98"/>
                    <a:pt x="199" y="96"/>
                    <a:pt x="200" y="93"/>
                  </a:cubicBezTo>
                  <a:cubicBezTo>
                    <a:pt x="201" y="89"/>
                    <a:pt x="202" y="85"/>
                    <a:pt x="203" y="81"/>
                  </a:cubicBezTo>
                  <a:cubicBezTo>
                    <a:pt x="204" y="78"/>
                    <a:pt x="205" y="75"/>
                    <a:pt x="206" y="7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" name="Freeform 32"/>
            <p:cNvSpPr>
              <a:spLocks noChangeAspect="1"/>
            </p:cNvSpPr>
            <p:nvPr/>
          </p:nvSpPr>
          <p:spPr bwMode="auto">
            <a:xfrm>
              <a:off x="5272088" y="4922838"/>
              <a:ext cx="34925" cy="46037"/>
            </a:xfrm>
            <a:custGeom>
              <a:avLst/>
              <a:gdLst>
                <a:gd name="T0" fmla="*/ 34925 w 18"/>
                <a:gd name="T1" fmla="*/ 30691 h 24"/>
                <a:gd name="T2" fmla="*/ 34925 w 18"/>
                <a:gd name="T3" fmla="*/ 21100 h 24"/>
                <a:gd name="T4" fmla="*/ 34925 w 18"/>
                <a:gd name="T5" fmla="*/ 9591 h 24"/>
                <a:gd name="T6" fmla="*/ 17463 w 18"/>
                <a:gd name="T7" fmla="*/ 0 h 24"/>
                <a:gd name="T8" fmla="*/ 7761 w 18"/>
                <a:gd name="T9" fmla="*/ 7673 h 24"/>
                <a:gd name="T10" fmla="*/ 1940 w 18"/>
                <a:gd name="T11" fmla="*/ 19182 h 24"/>
                <a:gd name="T12" fmla="*/ 1940 w 18"/>
                <a:gd name="T13" fmla="*/ 32610 h 24"/>
                <a:gd name="T14" fmla="*/ 13582 w 18"/>
                <a:gd name="T15" fmla="*/ 42201 h 24"/>
                <a:gd name="T16" fmla="*/ 25224 w 18"/>
                <a:gd name="T17" fmla="*/ 46037 h 24"/>
                <a:gd name="T18" fmla="*/ 31044 w 18"/>
                <a:gd name="T19" fmla="*/ 42201 h 24"/>
                <a:gd name="T20" fmla="*/ 34925 w 18"/>
                <a:gd name="T21" fmla="*/ 30691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24"/>
                <a:gd name="T35" fmla="*/ 18 w 18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24">
                  <a:moveTo>
                    <a:pt x="18" y="16"/>
                  </a:moveTo>
                  <a:cubicBezTo>
                    <a:pt x="18" y="14"/>
                    <a:pt x="18" y="13"/>
                    <a:pt x="18" y="11"/>
                  </a:cubicBezTo>
                  <a:cubicBezTo>
                    <a:pt x="18" y="9"/>
                    <a:pt x="17" y="7"/>
                    <a:pt x="18" y="5"/>
                  </a:cubicBezTo>
                  <a:cubicBezTo>
                    <a:pt x="15" y="3"/>
                    <a:pt x="12" y="0"/>
                    <a:pt x="9" y="0"/>
                  </a:cubicBezTo>
                  <a:cubicBezTo>
                    <a:pt x="7" y="0"/>
                    <a:pt x="6" y="2"/>
                    <a:pt x="4" y="4"/>
                  </a:cubicBezTo>
                  <a:cubicBezTo>
                    <a:pt x="3" y="6"/>
                    <a:pt x="1" y="8"/>
                    <a:pt x="1" y="10"/>
                  </a:cubicBezTo>
                  <a:cubicBezTo>
                    <a:pt x="0" y="12"/>
                    <a:pt x="0" y="15"/>
                    <a:pt x="1" y="17"/>
                  </a:cubicBezTo>
                  <a:cubicBezTo>
                    <a:pt x="2" y="19"/>
                    <a:pt x="4" y="21"/>
                    <a:pt x="7" y="22"/>
                  </a:cubicBezTo>
                  <a:cubicBezTo>
                    <a:pt x="8" y="23"/>
                    <a:pt x="11" y="24"/>
                    <a:pt x="13" y="24"/>
                  </a:cubicBezTo>
                  <a:cubicBezTo>
                    <a:pt x="14" y="24"/>
                    <a:pt x="15" y="23"/>
                    <a:pt x="16" y="22"/>
                  </a:cubicBezTo>
                  <a:cubicBezTo>
                    <a:pt x="17" y="21"/>
                    <a:pt x="18" y="19"/>
                    <a:pt x="18" y="1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" name="Freeform 33"/>
            <p:cNvSpPr>
              <a:spLocks noChangeAspect="1"/>
            </p:cNvSpPr>
            <p:nvPr/>
          </p:nvSpPr>
          <p:spPr bwMode="auto">
            <a:xfrm>
              <a:off x="4821238" y="4670425"/>
              <a:ext cx="325437" cy="347663"/>
            </a:xfrm>
            <a:custGeom>
              <a:avLst/>
              <a:gdLst>
                <a:gd name="T0" fmla="*/ 325437 w 171"/>
                <a:gd name="T1" fmla="*/ 28654 h 182"/>
                <a:gd name="T2" fmla="*/ 315921 w 171"/>
                <a:gd name="T3" fmla="*/ 26743 h 182"/>
                <a:gd name="T4" fmla="*/ 310212 w 171"/>
                <a:gd name="T5" fmla="*/ 32474 h 182"/>
                <a:gd name="T6" fmla="*/ 302599 w 171"/>
                <a:gd name="T7" fmla="*/ 28654 h 182"/>
                <a:gd name="T8" fmla="*/ 291180 w 171"/>
                <a:gd name="T9" fmla="*/ 43935 h 182"/>
                <a:gd name="T10" fmla="*/ 281665 w 171"/>
                <a:gd name="T11" fmla="*/ 43935 h 182"/>
                <a:gd name="T12" fmla="*/ 272149 w 171"/>
                <a:gd name="T13" fmla="*/ 32474 h 182"/>
                <a:gd name="T14" fmla="*/ 256924 w 171"/>
                <a:gd name="T15" fmla="*/ 34384 h 182"/>
                <a:gd name="T16" fmla="*/ 234086 w 171"/>
                <a:gd name="T17" fmla="*/ 40115 h 182"/>
                <a:gd name="T18" fmla="*/ 224571 w 171"/>
                <a:gd name="T19" fmla="*/ 40115 h 182"/>
                <a:gd name="T20" fmla="*/ 224571 w 171"/>
                <a:gd name="T21" fmla="*/ 143268 h 182"/>
                <a:gd name="T22" fmla="*/ 197927 w 171"/>
                <a:gd name="T23" fmla="*/ 143268 h 182"/>
                <a:gd name="T24" fmla="*/ 197927 w 171"/>
                <a:gd name="T25" fmla="*/ 223498 h 182"/>
                <a:gd name="T26" fmla="*/ 196023 w 171"/>
                <a:gd name="T27" fmla="*/ 330471 h 182"/>
                <a:gd name="T28" fmla="*/ 190314 w 171"/>
                <a:gd name="T29" fmla="*/ 336202 h 182"/>
                <a:gd name="T30" fmla="*/ 182701 w 171"/>
                <a:gd name="T31" fmla="*/ 340022 h 182"/>
                <a:gd name="T32" fmla="*/ 176992 w 171"/>
                <a:gd name="T33" fmla="*/ 345753 h 182"/>
                <a:gd name="T34" fmla="*/ 165573 w 171"/>
                <a:gd name="T35" fmla="*/ 341932 h 182"/>
                <a:gd name="T36" fmla="*/ 150348 w 171"/>
                <a:gd name="T37" fmla="*/ 345753 h 182"/>
                <a:gd name="T38" fmla="*/ 137026 w 171"/>
                <a:gd name="T39" fmla="*/ 340022 h 182"/>
                <a:gd name="T40" fmla="*/ 133220 w 171"/>
                <a:gd name="T41" fmla="*/ 328561 h 182"/>
                <a:gd name="T42" fmla="*/ 125607 w 171"/>
                <a:gd name="T43" fmla="*/ 319009 h 182"/>
                <a:gd name="T44" fmla="*/ 119898 w 171"/>
                <a:gd name="T45" fmla="*/ 322830 h 182"/>
                <a:gd name="T46" fmla="*/ 119898 w 171"/>
                <a:gd name="T47" fmla="*/ 334291 h 182"/>
                <a:gd name="T48" fmla="*/ 112285 w 171"/>
                <a:gd name="T49" fmla="*/ 334291 h 182"/>
                <a:gd name="T50" fmla="*/ 95157 w 171"/>
                <a:gd name="T51" fmla="*/ 320920 h 182"/>
                <a:gd name="T52" fmla="*/ 83738 w 171"/>
                <a:gd name="T53" fmla="*/ 294176 h 182"/>
                <a:gd name="T54" fmla="*/ 83738 w 171"/>
                <a:gd name="T55" fmla="*/ 278895 h 182"/>
                <a:gd name="T56" fmla="*/ 76126 w 171"/>
                <a:gd name="T57" fmla="*/ 267433 h 182"/>
                <a:gd name="T58" fmla="*/ 78029 w 171"/>
                <a:gd name="T59" fmla="*/ 257882 h 182"/>
                <a:gd name="T60" fmla="*/ 74222 w 171"/>
                <a:gd name="T61" fmla="*/ 248331 h 182"/>
                <a:gd name="T62" fmla="*/ 74222 w 171"/>
                <a:gd name="T63" fmla="*/ 234959 h 182"/>
                <a:gd name="T64" fmla="*/ 70416 w 171"/>
                <a:gd name="T65" fmla="*/ 217767 h 182"/>
                <a:gd name="T66" fmla="*/ 66610 w 171"/>
                <a:gd name="T67" fmla="*/ 196754 h 182"/>
                <a:gd name="T68" fmla="*/ 66610 w 171"/>
                <a:gd name="T69" fmla="*/ 175742 h 182"/>
                <a:gd name="T70" fmla="*/ 70416 w 171"/>
                <a:gd name="T71" fmla="*/ 162370 h 182"/>
                <a:gd name="T72" fmla="*/ 49482 w 171"/>
                <a:gd name="T73" fmla="*/ 135627 h 182"/>
                <a:gd name="T74" fmla="*/ 38063 w 171"/>
                <a:gd name="T75" fmla="*/ 112704 h 182"/>
                <a:gd name="T76" fmla="*/ 38063 w 171"/>
                <a:gd name="T77" fmla="*/ 93602 h 182"/>
                <a:gd name="T78" fmla="*/ 24741 w 171"/>
                <a:gd name="T79" fmla="*/ 78320 h 182"/>
                <a:gd name="T80" fmla="*/ 19031 w 171"/>
                <a:gd name="T81" fmla="*/ 59217 h 182"/>
                <a:gd name="T82" fmla="*/ 1903 w 171"/>
                <a:gd name="T83" fmla="*/ 36294 h 182"/>
                <a:gd name="T84" fmla="*/ 0 w 171"/>
                <a:gd name="T85" fmla="*/ 19102 h 182"/>
                <a:gd name="T86" fmla="*/ 3806 w 171"/>
                <a:gd name="T87" fmla="*/ 7641 h 182"/>
                <a:gd name="T88" fmla="*/ 17128 w 171"/>
                <a:gd name="T89" fmla="*/ 7641 h 182"/>
                <a:gd name="T90" fmla="*/ 32353 w 171"/>
                <a:gd name="T91" fmla="*/ 0 h 182"/>
                <a:gd name="T92" fmla="*/ 45675 w 171"/>
                <a:gd name="T93" fmla="*/ 3820 h 182"/>
                <a:gd name="T94" fmla="*/ 57094 w 171"/>
                <a:gd name="T95" fmla="*/ 11461 h 182"/>
                <a:gd name="T96" fmla="*/ 161767 w 171"/>
                <a:gd name="T97" fmla="*/ 11461 h 182"/>
                <a:gd name="T98" fmla="*/ 173186 w 171"/>
                <a:gd name="T99" fmla="*/ 22923 h 182"/>
                <a:gd name="T100" fmla="*/ 188411 w 171"/>
                <a:gd name="T101" fmla="*/ 26743 h 182"/>
                <a:gd name="T102" fmla="*/ 211249 w 171"/>
                <a:gd name="T103" fmla="*/ 30564 h 182"/>
                <a:gd name="T104" fmla="*/ 224571 w 171"/>
                <a:gd name="T105" fmla="*/ 26743 h 182"/>
                <a:gd name="T106" fmla="*/ 239796 w 171"/>
                <a:gd name="T107" fmla="*/ 30564 h 182"/>
                <a:gd name="T108" fmla="*/ 285471 w 171"/>
                <a:gd name="T109" fmla="*/ 21013 h 182"/>
                <a:gd name="T110" fmla="*/ 306406 w 171"/>
                <a:gd name="T111" fmla="*/ 15282 h 182"/>
                <a:gd name="T112" fmla="*/ 315921 w 171"/>
                <a:gd name="T113" fmla="*/ 17192 h 182"/>
                <a:gd name="T114" fmla="*/ 325437 w 171"/>
                <a:gd name="T115" fmla="*/ 28654 h 18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1"/>
                <a:gd name="T175" fmla="*/ 0 h 182"/>
                <a:gd name="T176" fmla="*/ 171 w 171"/>
                <a:gd name="T177" fmla="*/ 182 h 18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1" h="182">
                  <a:moveTo>
                    <a:pt x="171" y="15"/>
                  </a:moveTo>
                  <a:cubicBezTo>
                    <a:pt x="169" y="14"/>
                    <a:pt x="167" y="14"/>
                    <a:pt x="166" y="14"/>
                  </a:cubicBezTo>
                  <a:cubicBezTo>
                    <a:pt x="165" y="15"/>
                    <a:pt x="164" y="17"/>
                    <a:pt x="163" y="17"/>
                  </a:cubicBezTo>
                  <a:cubicBezTo>
                    <a:pt x="161" y="17"/>
                    <a:pt x="160" y="15"/>
                    <a:pt x="159" y="15"/>
                  </a:cubicBezTo>
                  <a:cubicBezTo>
                    <a:pt x="156" y="17"/>
                    <a:pt x="155" y="21"/>
                    <a:pt x="153" y="23"/>
                  </a:cubicBezTo>
                  <a:cubicBezTo>
                    <a:pt x="152" y="24"/>
                    <a:pt x="150" y="24"/>
                    <a:pt x="148" y="23"/>
                  </a:cubicBezTo>
                  <a:cubicBezTo>
                    <a:pt x="146" y="22"/>
                    <a:pt x="146" y="18"/>
                    <a:pt x="143" y="17"/>
                  </a:cubicBezTo>
                  <a:cubicBezTo>
                    <a:pt x="141" y="16"/>
                    <a:pt x="138" y="17"/>
                    <a:pt x="135" y="18"/>
                  </a:cubicBezTo>
                  <a:cubicBezTo>
                    <a:pt x="131" y="18"/>
                    <a:pt x="127" y="21"/>
                    <a:pt x="123" y="21"/>
                  </a:cubicBezTo>
                  <a:lnTo>
                    <a:pt x="118" y="21"/>
                  </a:lnTo>
                  <a:lnTo>
                    <a:pt x="118" y="75"/>
                  </a:lnTo>
                  <a:lnTo>
                    <a:pt x="104" y="75"/>
                  </a:lnTo>
                  <a:lnTo>
                    <a:pt x="104" y="117"/>
                  </a:lnTo>
                  <a:lnTo>
                    <a:pt x="103" y="173"/>
                  </a:lnTo>
                  <a:cubicBezTo>
                    <a:pt x="102" y="174"/>
                    <a:pt x="101" y="175"/>
                    <a:pt x="100" y="176"/>
                  </a:cubicBezTo>
                  <a:cubicBezTo>
                    <a:pt x="98" y="177"/>
                    <a:pt x="97" y="177"/>
                    <a:pt x="96" y="178"/>
                  </a:cubicBezTo>
                  <a:cubicBezTo>
                    <a:pt x="95" y="179"/>
                    <a:pt x="94" y="181"/>
                    <a:pt x="93" y="181"/>
                  </a:cubicBezTo>
                  <a:cubicBezTo>
                    <a:pt x="91" y="182"/>
                    <a:pt x="89" y="179"/>
                    <a:pt x="87" y="179"/>
                  </a:cubicBezTo>
                  <a:cubicBezTo>
                    <a:pt x="84" y="179"/>
                    <a:pt x="82" y="181"/>
                    <a:pt x="79" y="181"/>
                  </a:cubicBezTo>
                  <a:cubicBezTo>
                    <a:pt x="77" y="180"/>
                    <a:pt x="74" y="180"/>
                    <a:pt x="72" y="178"/>
                  </a:cubicBezTo>
                  <a:cubicBezTo>
                    <a:pt x="70" y="177"/>
                    <a:pt x="71" y="174"/>
                    <a:pt x="70" y="172"/>
                  </a:cubicBezTo>
                  <a:cubicBezTo>
                    <a:pt x="69" y="170"/>
                    <a:pt x="68" y="167"/>
                    <a:pt x="66" y="167"/>
                  </a:cubicBezTo>
                  <a:cubicBezTo>
                    <a:pt x="65" y="166"/>
                    <a:pt x="63" y="168"/>
                    <a:pt x="63" y="169"/>
                  </a:cubicBezTo>
                  <a:cubicBezTo>
                    <a:pt x="62" y="171"/>
                    <a:pt x="63" y="173"/>
                    <a:pt x="63" y="175"/>
                  </a:cubicBezTo>
                  <a:cubicBezTo>
                    <a:pt x="62" y="175"/>
                    <a:pt x="60" y="175"/>
                    <a:pt x="59" y="175"/>
                  </a:cubicBezTo>
                  <a:cubicBezTo>
                    <a:pt x="56" y="173"/>
                    <a:pt x="53" y="171"/>
                    <a:pt x="50" y="168"/>
                  </a:cubicBezTo>
                  <a:cubicBezTo>
                    <a:pt x="48" y="164"/>
                    <a:pt x="46" y="159"/>
                    <a:pt x="44" y="154"/>
                  </a:cubicBezTo>
                  <a:cubicBezTo>
                    <a:pt x="44" y="152"/>
                    <a:pt x="44" y="149"/>
                    <a:pt x="44" y="146"/>
                  </a:cubicBezTo>
                  <a:cubicBezTo>
                    <a:pt x="43" y="143"/>
                    <a:pt x="41" y="142"/>
                    <a:pt x="40" y="140"/>
                  </a:cubicBezTo>
                  <a:cubicBezTo>
                    <a:pt x="40" y="138"/>
                    <a:pt x="41" y="137"/>
                    <a:pt x="41" y="135"/>
                  </a:cubicBezTo>
                  <a:cubicBezTo>
                    <a:pt x="40" y="133"/>
                    <a:pt x="39" y="132"/>
                    <a:pt x="39" y="130"/>
                  </a:cubicBezTo>
                  <a:cubicBezTo>
                    <a:pt x="38" y="127"/>
                    <a:pt x="39" y="125"/>
                    <a:pt x="39" y="123"/>
                  </a:cubicBezTo>
                  <a:cubicBezTo>
                    <a:pt x="38" y="120"/>
                    <a:pt x="37" y="117"/>
                    <a:pt x="37" y="114"/>
                  </a:cubicBezTo>
                  <a:cubicBezTo>
                    <a:pt x="36" y="110"/>
                    <a:pt x="35" y="107"/>
                    <a:pt x="35" y="103"/>
                  </a:cubicBezTo>
                  <a:cubicBezTo>
                    <a:pt x="35" y="99"/>
                    <a:pt x="34" y="96"/>
                    <a:pt x="35" y="92"/>
                  </a:cubicBezTo>
                  <a:cubicBezTo>
                    <a:pt x="35" y="89"/>
                    <a:pt x="38" y="87"/>
                    <a:pt x="37" y="85"/>
                  </a:cubicBezTo>
                  <a:cubicBezTo>
                    <a:pt x="35" y="79"/>
                    <a:pt x="30" y="76"/>
                    <a:pt x="26" y="71"/>
                  </a:cubicBezTo>
                  <a:cubicBezTo>
                    <a:pt x="24" y="67"/>
                    <a:pt x="21" y="63"/>
                    <a:pt x="20" y="59"/>
                  </a:cubicBezTo>
                  <a:cubicBezTo>
                    <a:pt x="19" y="56"/>
                    <a:pt x="21" y="52"/>
                    <a:pt x="20" y="49"/>
                  </a:cubicBezTo>
                  <a:cubicBezTo>
                    <a:pt x="18" y="46"/>
                    <a:pt x="15" y="44"/>
                    <a:pt x="13" y="41"/>
                  </a:cubicBezTo>
                  <a:cubicBezTo>
                    <a:pt x="12" y="38"/>
                    <a:pt x="12" y="34"/>
                    <a:pt x="10" y="31"/>
                  </a:cubicBezTo>
                  <a:cubicBezTo>
                    <a:pt x="7" y="26"/>
                    <a:pt x="3" y="23"/>
                    <a:pt x="1" y="19"/>
                  </a:cubicBezTo>
                  <a:cubicBezTo>
                    <a:pt x="0" y="16"/>
                    <a:pt x="0" y="13"/>
                    <a:pt x="0" y="10"/>
                  </a:cubicBezTo>
                  <a:cubicBezTo>
                    <a:pt x="0" y="8"/>
                    <a:pt x="1" y="6"/>
                    <a:pt x="2" y="4"/>
                  </a:cubicBezTo>
                  <a:cubicBezTo>
                    <a:pt x="4" y="4"/>
                    <a:pt x="6" y="4"/>
                    <a:pt x="9" y="4"/>
                  </a:cubicBezTo>
                  <a:cubicBezTo>
                    <a:pt x="12" y="3"/>
                    <a:pt x="14" y="0"/>
                    <a:pt x="17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8" y="6"/>
                    <a:pt x="30" y="6"/>
                  </a:cubicBezTo>
                  <a:cubicBezTo>
                    <a:pt x="48" y="7"/>
                    <a:pt x="67" y="4"/>
                    <a:pt x="85" y="6"/>
                  </a:cubicBezTo>
                  <a:cubicBezTo>
                    <a:pt x="88" y="6"/>
                    <a:pt x="89" y="10"/>
                    <a:pt x="91" y="12"/>
                  </a:cubicBezTo>
                  <a:cubicBezTo>
                    <a:pt x="94" y="13"/>
                    <a:pt x="96" y="14"/>
                    <a:pt x="99" y="14"/>
                  </a:cubicBezTo>
                  <a:cubicBezTo>
                    <a:pt x="103" y="15"/>
                    <a:pt x="107" y="16"/>
                    <a:pt x="111" y="16"/>
                  </a:cubicBezTo>
                  <a:cubicBezTo>
                    <a:pt x="113" y="16"/>
                    <a:pt x="116" y="14"/>
                    <a:pt x="118" y="14"/>
                  </a:cubicBezTo>
                  <a:cubicBezTo>
                    <a:pt x="121" y="14"/>
                    <a:pt x="124" y="16"/>
                    <a:pt x="126" y="16"/>
                  </a:cubicBezTo>
                  <a:cubicBezTo>
                    <a:pt x="134" y="15"/>
                    <a:pt x="142" y="12"/>
                    <a:pt x="150" y="11"/>
                  </a:cubicBezTo>
                  <a:cubicBezTo>
                    <a:pt x="154" y="10"/>
                    <a:pt x="157" y="9"/>
                    <a:pt x="161" y="8"/>
                  </a:cubicBezTo>
                  <a:cubicBezTo>
                    <a:pt x="163" y="8"/>
                    <a:pt x="165" y="8"/>
                    <a:pt x="166" y="9"/>
                  </a:cubicBezTo>
                  <a:cubicBezTo>
                    <a:pt x="168" y="10"/>
                    <a:pt x="169" y="13"/>
                    <a:pt x="171" y="1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" name="Freeform 34"/>
            <p:cNvSpPr>
              <a:spLocks noChangeAspect="1"/>
            </p:cNvSpPr>
            <p:nvPr/>
          </p:nvSpPr>
          <p:spPr bwMode="auto">
            <a:xfrm>
              <a:off x="5019675" y="4697413"/>
              <a:ext cx="220663" cy="257175"/>
            </a:xfrm>
            <a:custGeom>
              <a:avLst/>
              <a:gdLst>
                <a:gd name="T0" fmla="*/ 220663 w 116"/>
                <a:gd name="T1" fmla="*/ 120015 h 135"/>
                <a:gd name="T2" fmla="*/ 216858 w 116"/>
                <a:gd name="T3" fmla="*/ 116205 h 135"/>
                <a:gd name="T4" fmla="*/ 216858 w 116"/>
                <a:gd name="T5" fmla="*/ 110490 h 135"/>
                <a:gd name="T6" fmla="*/ 203543 w 116"/>
                <a:gd name="T7" fmla="*/ 104775 h 135"/>
                <a:gd name="T8" fmla="*/ 192129 w 116"/>
                <a:gd name="T9" fmla="*/ 102870 h 135"/>
                <a:gd name="T10" fmla="*/ 184520 w 116"/>
                <a:gd name="T11" fmla="*/ 91440 h 135"/>
                <a:gd name="T12" fmla="*/ 184520 w 116"/>
                <a:gd name="T13" fmla="*/ 74295 h 135"/>
                <a:gd name="T14" fmla="*/ 176911 w 116"/>
                <a:gd name="T15" fmla="*/ 74295 h 135"/>
                <a:gd name="T16" fmla="*/ 176911 w 116"/>
                <a:gd name="T17" fmla="*/ 62865 h 135"/>
                <a:gd name="T18" fmla="*/ 157888 w 116"/>
                <a:gd name="T19" fmla="*/ 51435 h 135"/>
                <a:gd name="T20" fmla="*/ 148377 w 116"/>
                <a:gd name="T21" fmla="*/ 47625 h 135"/>
                <a:gd name="T22" fmla="*/ 142670 w 116"/>
                <a:gd name="T23" fmla="*/ 28575 h 135"/>
                <a:gd name="T24" fmla="*/ 135061 w 116"/>
                <a:gd name="T25" fmla="*/ 17145 h 135"/>
                <a:gd name="T26" fmla="*/ 127452 w 116"/>
                <a:gd name="T27" fmla="*/ 1905 h 135"/>
                <a:gd name="T28" fmla="*/ 117941 w 116"/>
                <a:gd name="T29" fmla="*/ 0 h 135"/>
                <a:gd name="T30" fmla="*/ 112234 w 116"/>
                <a:gd name="T31" fmla="*/ 5715 h 135"/>
                <a:gd name="T32" fmla="*/ 104625 w 116"/>
                <a:gd name="T33" fmla="*/ 1905 h 135"/>
                <a:gd name="T34" fmla="*/ 93211 w 116"/>
                <a:gd name="T35" fmla="*/ 17145 h 135"/>
                <a:gd name="T36" fmla="*/ 83700 w 116"/>
                <a:gd name="T37" fmla="*/ 17145 h 135"/>
                <a:gd name="T38" fmla="*/ 74188 w 116"/>
                <a:gd name="T39" fmla="*/ 5715 h 135"/>
                <a:gd name="T40" fmla="*/ 58970 w 116"/>
                <a:gd name="T41" fmla="*/ 7620 h 135"/>
                <a:gd name="T42" fmla="*/ 36143 w 116"/>
                <a:gd name="T43" fmla="*/ 13335 h 135"/>
                <a:gd name="T44" fmla="*/ 26632 w 116"/>
                <a:gd name="T45" fmla="*/ 13335 h 135"/>
                <a:gd name="T46" fmla="*/ 26632 w 116"/>
                <a:gd name="T47" fmla="*/ 116205 h 135"/>
                <a:gd name="T48" fmla="*/ 0 w 116"/>
                <a:gd name="T49" fmla="*/ 116205 h 135"/>
                <a:gd name="T50" fmla="*/ 0 w 116"/>
                <a:gd name="T51" fmla="*/ 196215 h 135"/>
                <a:gd name="T52" fmla="*/ 7609 w 116"/>
                <a:gd name="T53" fmla="*/ 203835 h 135"/>
                <a:gd name="T54" fmla="*/ 11414 w 116"/>
                <a:gd name="T55" fmla="*/ 220980 h 135"/>
                <a:gd name="T56" fmla="*/ 17120 w 116"/>
                <a:gd name="T57" fmla="*/ 230505 h 135"/>
                <a:gd name="T58" fmla="*/ 9511 w 116"/>
                <a:gd name="T59" fmla="*/ 245745 h 135"/>
                <a:gd name="T60" fmla="*/ 13316 w 116"/>
                <a:gd name="T61" fmla="*/ 255270 h 135"/>
                <a:gd name="T62" fmla="*/ 22827 w 116"/>
                <a:gd name="T63" fmla="*/ 251460 h 135"/>
                <a:gd name="T64" fmla="*/ 39948 w 116"/>
                <a:gd name="T65" fmla="*/ 253365 h 135"/>
                <a:gd name="T66" fmla="*/ 41850 w 116"/>
                <a:gd name="T67" fmla="*/ 247650 h 135"/>
                <a:gd name="T68" fmla="*/ 55166 w 116"/>
                <a:gd name="T69" fmla="*/ 238125 h 135"/>
                <a:gd name="T70" fmla="*/ 62775 w 116"/>
                <a:gd name="T71" fmla="*/ 228600 h 135"/>
                <a:gd name="T72" fmla="*/ 68482 w 116"/>
                <a:gd name="T73" fmla="*/ 213360 h 135"/>
                <a:gd name="T74" fmla="*/ 77993 w 116"/>
                <a:gd name="T75" fmla="*/ 209550 h 135"/>
                <a:gd name="T76" fmla="*/ 87504 w 116"/>
                <a:gd name="T77" fmla="*/ 209550 h 135"/>
                <a:gd name="T78" fmla="*/ 95113 w 116"/>
                <a:gd name="T79" fmla="*/ 220980 h 135"/>
                <a:gd name="T80" fmla="*/ 108429 w 116"/>
                <a:gd name="T81" fmla="*/ 224790 h 135"/>
                <a:gd name="T82" fmla="*/ 116038 w 116"/>
                <a:gd name="T83" fmla="*/ 222885 h 135"/>
                <a:gd name="T84" fmla="*/ 133159 w 116"/>
                <a:gd name="T85" fmla="*/ 220980 h 135"/>
                <a:gd name="T86" fmla="*/ 136963 w 116"/>
                <a:gd name="T87" fmla="*/ 209550 h 135"/>
                <a:gd name="T88" fmla="*/ 140768 w 116"/>
                <a:gd name="T89" fmla="*/ 192405 h 135"/>
                <a:gd name="T90" fmla="*/ 154084 w 116"/>
                <a:gd name="T91" fmla="*/ 188595 h 135"/>
                <a:gd name="T92" fmla="*/ 165497 w 116"/>
                <a:gd name="T93" fmla="*/ 177165 h 135"/>
                <a:gd name="T94" fmla="*/ 169302 w 116"/>
                <a:gd name="T95" fmla="*/ 160020 h 135"/>
                <a:gd name="T96" fmla="*/ 192129 w 116"/>
                <a:gd name="T97" fmla="*/ 139065 h 135"/>
                <a:gd name="T98" fmla="*/ 205445 w 116"/>
                <a:gd name="T99" fmla="*/ 129540 h 135"/>
                <a:gd name="T100" fmla="*/ 213054 w 116"/>
                <a:gd name="T101" fmla="*/ 125730 h 135"/>
                <a:gd name="T102" fmla="*/ 220663 w 116"/>
                <a:gd name="T103" fmla="*/ 120015 h 13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6"/>
                <a:gd name="T157" fmla="*/ 0 h 135"/>
                <a:gd name="T158" fmla="*/ 116 w 116"/>
                <a:gd name="T159" fmla="*/ 135 h 13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6" h="135">
                  <a:moveTo>
                    <a:pt x="116" y="63"/>
                  </a:moveTo>
                  <a:cubicBezTo>
                    <a:pt x="115" y="63"/>
                    <a:pt x="115" y="62"/>
                    <a:pt x="114" y="61"/>
                  </a:cubicBezTo>
                  <a:cubicBezTo>
                    <a:pt x="114" y="60"/>
                    <a:pt x="115" y="58"/>
                    <a:pt x="114" y="58"/>
                  </a:cubicBezTo>
                  <a:cubicBezTo>
                    <a:pt x="112" y="56"/>
                    <a:pt x="110" y="56"/>
                    <a:pt x="107" y="55"/>
                  </a:cubicBezTo>
                  <a:cubicBezTo>
                    <a:pt x="105" y="54"/>
                    <a:pt x="103" y="56"/>
                    <a:pt x="101" y="54"/>
                  </a:cubicBezTo>
                  <a:cubicBezTo>
                    <a:pt x="99" y="53"/>
                    <a:pt x="98" y="51"/>
                    <a:pt x="97" y="48"/>
                  </a:cubicBezTo>
                  <a:cubicBezTo>
                    <a:pt x="97" y="45"/>
                    <a:pt x="99" y="41"/>
                    <a:pt x="97" y="39"/>
                  </a:cubicBezTo>
                  <a:cubicBezTo>
                    <a:pt x="97" y="37"/>
                    <a:pt x="94" y="40"/>
                    <a:pt x="93" y="39"/>
                  </a:cubicBezTo>
                  <a:cubicBezTo>
                    <a:pt x="92" y="37"/>
                    <a:pt x="94" y="35"/>
                    <a:pt x="93" y="33"/>
                  </a:cubicBezTo>
                  <a:cubicBezTo>
                    <a:pt x="90" y="31"/>
                    <a:pt x="86" y="29"/>
                    <a:pt x="83" y="27"/>
                  </a:cubicBezTo>
                  <a:cubicBezTo>
                    <a:pt x="81" y="26"/>
                    <a:pt x="79" y="27"/>
                    <a:pt x="78" y="25"/>
                  </a:cubicBezTo>
                  <a:cubicBezTo>
                    <a:pt x="76" y="22"/>
                    <a:pt x="76" y="18"/>
                    <a:pt x="75" y="15"/>
                  </a:cubicBezTo>
                  <a:cubicBezTo>
                    <a:pt x="74" y="13"/>
                    <a:pt x="73" y="11"/>
                    <a:pt x="71" y="9"/>
                  </a:cubicBezTo>
                  <a:cubicBezTo>
                    <a:pt x="70" y="6"/>
                    <a:pt x="68" y="3"/>
                    <a:pt x="67" y="1"/>
                  </a:cubicBezTo>
                  <a:cubicBezTo>
                    <a:pt x="65" y="0"/>
                    <a:pt x="63" y="0"/>
                    <a:pt x="62" y="0"/>
                  </a:cubicBezTo>
                  <a:cubicBezTo>
                    <a:pt x="61" y="1"/>
                    <a:pt x="60" y="3"/>
                    <a:pt x="59" y="3"/>
                  </a:cubicBezTo>
                  <a:cubicBezTo>
                    <a:pt x="57" y="3"/>
                    <a:pt x="56" y="1"/>
                    <a:pt x="55" y="1"/>
                  </a:cubicBezTo>
                  <a:cubicBezTo>
                    <a:pt x="52" y="3"/>
                    <a:pt x="51" y="7"/>
                    <a:pt x="49" y="9"/>
                  </a:cubicBezTo>
                  <a:cubicBezTo>
                    <a:pt x="48" y="10"/>
                    <a:pt x="46" y="10"/>
                    <a:pt x="44" y="9"/>
                  </a:cubicBezTo>
                  <a:cubicBezTo>
                    <a:pt x="42" y="8"/>
                    <a:pt x="42" y="4"/>
                    <a:pt x="39" y="3"/>
                  </a:cubicBezTo>
                  <a:cubicBezTo>
                    <a:pt x="37" y="2"/>
                    <a:pt x="34" y="3"/>
                    <a:pt x="31" y="4"/>
                  </a:cubicBezTo>
                  <a:cubicBezTo>
                    <a:pt x="27" y="4"/>
                    <a:pt x="23" y="7"/>
                    <a:pt x="19" y="7"/>
                  </a:cubicBezTo>
                  <a:lnTo>
                    <a:pt x="14" y="7"/>
                  </a:lnTo>
                  <a:lnTo>
                    <a:pt x="14" y="61"/>
                  </a:lnTo>
                  <a:lnTo>
                    <a:pt x="0" y="61"/>
                  </a:lnTo>
                  <a:lnTo>
                    <a:pt x="0" y="103"/>
                  </a:lnTo>
                  <a:cubicBezTo>
                    <a:pt x="1" y="104"/>
                    <a:pt x="3" y="105"/>
                    <a:pt x="4" y="107"/>
                  </a:cubicBezTo>
                  <a:cubicBezTo>
                    <a:pt x="6" y="110"/>
                    <a:pt x="5" y="113"/>
                    <a:pt x="6" y="116"/>
                  </a:cubicBezTo>
                  <a:cubicBezTo>
                    <a:pt x="7" y="118"/>
                    <a:pt x="9" y="119"/>
                    <a:pt x="9" y="121"/>
                  </a:cubicBezTo>
                  <a:cubicBezTo>
                    <a:pt x="9" y="124"/>
                    <a:pt x="6" y="126"/>
                    <a:pt x="5" y="129"/>
                  </a:cubicBezTo>
                  <a:cubicBezTo>
                    <a:pt x="5" y="131"/>
                    <a:pt x="5" y="133"/>
                    <a:pt x="7" y="134"/>
                  </a:cubicBezTo>
                  <a:cubicBezTo>
                    <a:pt x="8" y="135"/>
                    <a:pt x="10" y="133"/>
                    <a:pt x="12" y="132"/>
                  </a:cubicBezTo>
                  <a:cubicBezTo>
                    <a:pt x="15" y="132"/>
                    <a:pt x="18" y="134"/>
                    <a:pt x="21" y="133"/>
                  </a:cubicBezTo>
                  <a:cubicBezTo>
                    <a:pt x="22" y="133"/>
                    <a:pt x="21" y="130"/>
                    <a:pt x="22" y="130"/>
                  </a:cubicBezTo>
                  <a:cubicBezTo>
                    <a:pt x="24" y="128"/>
                    <a:pt x="27" y="127"/>
                    <a:pt x="29" y="125"/>
                  </a:cubicBezTo>
                  <a:cubicBezTo>
                    <a:pt x="31" y="124"/>
                    <a:pt x="32" y="122"/>
                    <a:pt x="33" y="120"/>
                  </a:cubicBezTo>
                  <a:cubicBezTo>
                    <a:pt x="35" y="118"/>
                    <a:pt x="35" y="115"/>
                    <a:pt x="36" y="112"/>
                  </a:cubicBezTo>
                  <a:cubicBezTo>
                    <a:pt x="37" y="111"/>
                    <a:pt x="39" y="110"/>
                    <a:pt x="41" y="110"/>
                  </a:cubicBezTo>
                  <a:cubicBezTo>
                    <a:pt x="43" y="109"/>
                    <a:pt x="45" y="109"/>
                    <a:pt x="46" y="110"/>
                  </a:cubicBezTo>
                  <a:cubicBezTo>
                    <a:pt x="48" y="111"/>
                    <a:pt x="48" y="114"/>
                    <a:pt x="50" y="116"/>
                  </a:cubicBezTo>
                  <a:cubicBezTo>
                    <a:pt x="52" y="117"/>
                    <a:pt x="55" y="118"/>
                    <a:pt x="57" y="118"/>
                  </a:cubicBezTo>
                  <a:cubicBezTo>
                    <a:pt x="59" y="118"/>
                    <a:pt x="60" y="118"/>
                    <a:pt x="61" y="117"/>
                  </a:cubicBezTo>
                  <a:cubicBezTo>
                    <a:pt x="64" y="117"/>
                    <a:pt x="67" y="117"/>
                    <a:pt x="70" y="116"/>
                  </a:cubicBezTo>
                  <a:cubicBezTo>
                    <a:pt x="71" y="114"/>
                    <a:pt x="71" y="112"/>
                    <a:pt x="72" y="110"/>
                  </a:cubicBezTo>
                  <a:cubicBezTo>
                    <a:pt x="73" y="107"/>
                    <a:pt x="72" y="104"/>
                    <a:pt x="74" y="101"/>
                  </a:cubicBezTo>
                  <a:cubicBezTo>
                    <a:pt x="76" y="100"/>
                    <a:pt x="79" y="100"/>
                    <a:pt x="81" y="99"/>
                  </a:cubicBezTo>
                  <a:cubicBezTo>
                    <a:pt x="84" y="97"/>
                    <a:pt x="86" y="95"/>
                    <a:pt x="87" y="93"/>
                  </a:cubicBezTo>
                  <a:cubicBezTo>
                    <a:pt x="89" y="90"/>
                    <a:pt x="88" y="86"/>
                    <a:pt x="89" y="84"/>
                  </a:cubicBezTo>
                  <a:cubicBezTo>
                    <a:pt x="92" y="80"/>
                    <a:pt x="97" y="77"/>
                    <a:pt x="101" y="73"/>
                  </a:cubicBezTo>
                  <a:cubicBezTo>
                    <a:pt x="103" y="72"/>
                    <a:pt x="105" y="70"/>
                    <a:pt x="108" y="68"/>
                  </a:cubicBezTo>
                  <a:cubicBezTo>
                    <a:pt x="109" y="68"/>
                    <a:pt x="111" y="67"/>
                    <a:pt x="112" y="66"/>
                  </a:cubicBezTo>
                  <a:cubicBezTo>
                    <a:pt x="113" y="65"/>
                    <a:pt x="115" y="64"/>
                    <a:pt x="116" y="6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" name="Freeform 35"/>
            <p:cNvSpPr>
              <a:spLocks noChangeAspect="1"/>
            </p:cNvSpPr>
            <p:nvPr/>
          </p:nvSpPr>
          <p:spPr bwMode="auto">
            <a:xfrm>
              <a:off x="5146675" y="4632325"/>
              <a:ext cx="187325" cy="195263"/>
            </a:xfrm>
            <a:custGeom>
              <a:avLst/>
              <a:gdLst>
                <a:gd name="T0" fmla="*/ 145272 w 98"/>
                <a:gd name="T1" fmla="*/ 193349 h 102"/>
                <a:gd name="T2" fmla="*/ 172033 w 98"/>
                <a:gd name="T3" fmla="*/ 162719 h 102"/>
                <a:gd name="T4" fmla="*/ 172033 w 98"/>
                <a:gd name="T5" fmla="*/ 145490 h 102"/>
                <a:gd name="T6" fmla="*/ 175856 w 98"/>
                <a:gd name="T7" fmla="*/ 139747 h 102"/>
                <a:gd name="T8" fmla="*/ 179679 w 98"/>
                <a:gd name="T9" fmla="*/ 130175 h 102"/>
                <a:gd name="T10" fmla="*/ 185414 w 98"/>
                <a:gd name="T11" fmla="*/ 120604 h 102"/>
                <a:gd name="T12" fmla="*/ 177768 w 98"/>
                <a:gd name="T13" fmla="*/ 114861 h 102"/>
                <a:gd name="T14" fmla="*/ 179679 w 98"/>
                <a:gd name="T15" fmla="*/ 107203 h 102"/>
                <a:gd name="T16" fmla="*/ 173945 w 98"/>
                <a:gd name="T17" fmla="*/ 97632 h 102"/>
                <a:gd name="T18" fmla="*/ 177768 w 98"/>
                <a:gd name="T19" fmla="*/ 93803 h 102"/>
                <a:gd name="T20" fmla="*/ 187325 w 98"/>
                <a:gd name="T21" fmla="*/ 82317 h 102"/>
                <a:gd name="T22" fmla="*/ 183502 w 98"/>
                <a:gd name="T23" fmla="*/ 70831 h 102"/>
                <a:gd name="T24" fmla="*/ 183502 w 98"/>
                <a:gd name="T25" fmla="*/ 51687 h 102"/>
                <a:gd name="T26" fmla="*/ 175856 w 98"/>
                <a:gd name="T27" fmla="*/ 34458 h 102"/>
                <a:gd name="T28" fmla="*/ 160564 w 98"/>
                <a:gd name="T29" fmla="*/ 30629 h 102"/>
                <a:gd name="T30" fmla="*/ 154830 w 98"/>
                <a:gd name="T31" fmla="*/ 22972 h 102"/>
                <a:gd name="T32" fmla="*/ 149095 w 98"/>
                <a:gd name="T33" fmla="*/ 15315 h 102"/>
                <a:gd name="T34" fmla="*/ 137627 w 98"/>
                <a:gd name="T35" fmla="*/ 11486 h 102"/>
                <a:gd name="T36" fmla="*/ 124246 w 98"/>
                <a:gd name="T37" fmla="*/ 11486 h 102"/>
                <a:gd name="T38" fmla="*/ 120423 w 98"/>
                <a:gd name="T39" fmla="*/ 7657 h 102"/>
                <a:gd name="T40" fmla="*/ 124246 w 98"/>
                <a:gd name="T41" fmla="*/ 1914 h 102"/>
                <a:gd name="T42" fmla="*/ 110866 w 98"/>
                <a:gd name="T43" fmla="*/ 1914 h 102"/>
                <a:gd name="T44" fmla="*/ 89840 w 98"/>
                <a:gd name="T45" fmla="*/ 13400 h 102"/>
                <a:gd name="T46" fmla="*/ 87928 w 98"/>
                <a:gd name="T47" fmla="*/ 26801 h 102"/>
                <a:gd name="T48" fmla="*/ 68813 w 98"/>
                <a:gd name="T49" fmla="*/ 38287 h 102"/>
                <a:gd name="T50" fmla="*/ 57344 w 98"/>
                <a:gd name="T51" fmla="*/ 47859 h 102"/>
                <a:gd name="T52" fmla="*/ 51610 w 98"/>
                <a:gd name="T53" fmla="*/ 59345 h 102"/>
                <a:gd name="T54" fmla="*/ 42053 w 98"/>
                <a:gd name="T55" fmla="*/ 68916 h 102"/>
                <a:gd name="T56" fmla="*/ 28672 w 98"/>
                <a:gd name="T57" fmla="*/ 70831 h 102"/>
                <a:gd name="T58" fmla="*/ 21026 w 98"/>
                <a:gd name="T59" fmla="*/ 67002 h 102"/>
                <a:gd name="T60" fmla="*/ 7646 w 98"/>
                <a:gd name="T61" fmla="*/ 65088 h 102"/>
                <a:gd name="T62" fmla="*/ 0 w 98"/>
                <a:gd name="T63" fmla="*/ 67002 h 102"/>
                <a:gd name="T64" fmla="*/ 7646 w 98"/>
                <a:gd name="T65" fmla="*/ 82317 h 102"/>
                <a:gd name="T66" fmla="*/ 15292 w 98"/>
                <a:gd name="T67" fmla="*/ 93803 h 102"/>
                <a:gd name="T68" fmla="*/ 21026 w 98"/>
                <a:gd name="T69" fmla="*/ 112946 h 102"/>
                <a:gd name="T70" fmla="*/ 30584 w 98"/>
                <a:gd name="T71" fmla="*/ 116775 h 102"/>
                <a:gd name="T72" fmla="*/ 49698 w 98"/>
                <a:gd name="T73" fmla="*/ 128261 h 102"/>
                <a:gd name="T74" fmla="*/ 49698 w 98"/>
                <a:gd name="T75" fmla="*/ 139747 h 102"/>
                <a:gd name="T76" fmla="*/ 57344 w 98"/>
                <a:gd name="T77" fmla="*/ 139747 h 102"/>
                <a:gd name="T78" fmla="*/ 57344 w 98"/>
                <a:gd name="T79" fmla="*/ 156976 h 102"/>
                <a:gd name="T80" fmla="*/ 64990 w 98"/>
                <a:gd name="T81" fmla="*/ 168462 h 102"/>
                <a:gd name="T82" fmla="*/ 76459 w 98"/>
                <a:gd name="T83" fmla="*/ 170377 h 102"/>
                <a:gd name="T84" fmla="*/ 89840 w 98"/>
                <a:gd name="T85" fmla="*/ 176120 h 102"/>
                <a:gd name="T86" fmla="*/ 89840 w 98"/>
                <a:gd name="T87" fmla="*/ 181863 h 102"/>
                <a:gd name="T88" fmla="*/ 93663 w 98"/>
                <a:gd name="T89" fmla="*/ 185691 h 102"/>
                <a:gd name="T90" fmla="*/ 107043 w 98"/>
                <a:gd name="T91" fmla="*/ 187606 h 102"/>
                <a:gd name="T92" fmla="*/ 124246 w 98"/>
                <a:gd name="T93" fmla="*/ 189520 h 102"/>
                <a:gd name="T94" fmla="*/ 133804 w 98"/>
                <a:gd name="T95" fmla="*/ 189520 h 102"/>
                <a:gd name="T96" fmla="*/ 141450 w 98"/>
                <a:gd name="T97" fmla="*/ 193349 h 102"/>
                <a:gd name="T98" fmla="*/ 145272 w 98"/>
                <a:gd name="T99" fmla="*/ 193349 h 1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8"/>
                <a:gd name="T151" fmla="*/ 0 h 102"/>
                <a:gd name="T152" fmla="*/ 98 w 98"/>
                <a:gd name="T153" fmla="*/ 102 h 1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8" h="102">
                  <a:moveTo>
                    <a:pt x="76" y="101"/>
                  </a:moveTo>
                  <a:cubicBezTo>
                    <a:pt x="80" y="96"/>
                    <a:pt x="86" y="91"/>
                    <a:pt x="90" y="85"/>
                  </a:cubicBezTo>
                  <a:cubicBezTo>
                    <a:pt x="91" y="83"/>
                    <a:pt x="89" y="79"/>
                    <a:pt x="90" y="76"/>
                  </a:cubicBezTo>
                  <a:cubicBezTo>
                    <a:pt x="90" y="75"/>
                    <a:pt x="91" y="74"/>
                    <a:pt x="92" y="73"/>
                  </a:cubicBezTo>
                  <a:cubicBezTo>
                    <a:pt x="93" y="72"/>
                    <a:pt x="93" y="70"/>
                    <a:pt x="94" y="68"/>
                  </a:cubicBezTo>
                  <a:cubicBezTo>
                    <a:pt x="95" y="67"/>
                    <a:pt x="97" y="65"/>
                    <a:pt x="97" y="63"/>
                  </a:cubicBezTo>
                  <a:cubicBezTo>
                    <a:pt x="97" y="62"/>
                    <a:pt x="94" y="61"/>
                    <a:pt x="93" y="60"/>
                  </a:cubicBezTo>
                  <a:cubicBezTo>
                    <a:pt x="93" y="59"/>
                    <a:pt x="94" y="57"/>
                    <a:pt x="94" y="56"/>
                  </a:cubicBezTo>
                  <a:cubicBezTo>
                    <a:pt x="93" y="54"/>
                    <a:pt x="91" y="53"/>
                    <a:pt x="91" y="51"/>
                  </a:cubicBezTo>
                  <a:cubicBezTo>
                    <a:pt x="90" y="50"/>
                    <a:pt x="92" y="50"/>
                    <a:pt x="93" y="49"/>
                  </a:cubicBezTo>
                  <a:cubicBezTo>
                    <a:pt x="94" y="47"/>
                    <a:pt x="97" y="45"/>
                    <a:pt x="98" y="43"/>
                  </a:cubicBezTo>
                  <a:cubicBezTo>
                    <a:pt x="98" y="41"/>
                    <a:pt x="96" y="39"/>
                    <a:pt x="96" y="37"/>
                  </a:cubicBezTo>
                  <a:cubicBezTo>
                    <a:pt x="96" y="33"/>
                    <a:pt x="97" y="30"/>
                    <a:pt x="96" y="27"/>
                  </a:cubicBezTo>
                  <a:cubicBezTo>
                    <a:pt x="96" y="24"/>
                    <a:pt x="95" y="20"/>
                    <a:pt x="92" y="18"/>
                  </a:cubicBezTo>
                  <a:cubicBezTo>
                    <a:pt x="90" y="16"/>
                    <a:pt x="86" y="17"/>
                    <a:pt x="84" y="16"/>
                  </a:cubicBezTo>
                  <a:cubicBezTo>
                    <a:pt x="82" y="15"/>
                    <a:pt x="82" y="13"/>
                    <a:pt x="81" y="12"/>
                  </a:cubicBezTo>
                  <a:cubicBezTo>
                    <a:pt x="80" y="10"/>
                    <a:pt x="79" y="9"/>
                    <a:pt x="78" y="8"/>
                  </a:cubicBezTo>
                  <a:cubicBezTo>
                    <a:pt x="76" y="7"/>
                    <a:pt x="74" y="7"/>
                    <a:pt x="72" y="6"/>
                  </a:cubicBezTo>
                  <a:cubicBezTo>
                    <a:pt x="70" y="6"/>
                    <a:pt x="67" y="7"/>
                    <a:pt x="65" y="6"/>
                  </a:cubicBezTo>
                  <a:cubicBezTo>
                    <a:pt x="64" y="6"/>
                    <a:pt x="63" y="5"/>
                    <a:pt x="63" y="4"/>
                  </a:cubicBezTo>
                  <a:cubicBezTo>
                    <a:pt x="64" y="3"/>
                    <a:pt x="65" y="2"/>
                    <a:pt x="65" y="1"/>
                  </a:cubicBezTo>
                  <a:cubicBezTo>
                    <a:pt x="62" y="1"/>
                    <a:pt x="60" y="0"/>
                    <a:pt x="58" y="1"/>
                  </a:cubicBezTo>
                  <a:cubicBezTo>
                    <a:pt x="54" y="2"/>
                    <a:pt x="49" y="4"/>
                    <a:pt x="47" y="7"/>
                  </a:cubicBezTo>
                  <a:cubicBezTo>
                    <a:pt x="45" y="8"/>
                    <a:pt x="48" y="12"/>
                    <a:pt x="46" y="14"/>
                  </a:cubicBezTo>
                  <a:cubicBezTo>
                    <a:pt x="43" y="17"/>
                    <a:pt x="39" y="17"/>
                    <a:pt x="36" y="20"/>
                  </a:cubicBezTo>
                  <a:cubicBezTo>
                    <a:pt x="34" y="21"/>
                    <a:pt x="32" y="23"/>
                    <a:pt x="30" y="25"/>
                  </a:cubicBezTo>
                  <a:cubicBezTo>
                    <a:pt x="29" y="27"/>
                    <a:pt x="28" y="29"/>
                    <a:pt x="27" y="31"/>
                  </a:cubicBezTo>
                  <a:cubicBezTo>
                    <a:pt x="25" y="33"/>
                    <a:pt x="24" y="35"/>
                    <a:pt x="22" y="36"/>
                  </a:cubicBezTo>
                  <a:cubicBezTo>
                    <a:pt x="20" y="37"/>
                    <a:pt x="18" y="38"/>
                    <a:pt x="15" y="37"/>
                  </a:cubicBezTo>
                  <a:cubicBezTo>
                    <a:pt x="14" y="37"/>
                    <a:pt x="13" y="36"/>
                    <a:pt x="11" y="35"/>
                  </a:cubicBezTo>
                  <a:cubicBezTo>
                    <a:pt x="9" y="35"/>
                    <a:pt x="7" y="34"/>
                    <a:pt x="4" y="34"/>
                  </a:cubicBezTo>
                  <a:cubicBezTo>
                    <a:pt x="2" y="34"/>
                    <a:pt x="1" y="34"/>
                    <a:pt x="0" y="35"/>
                  </a:cubicBezTo>
                  <a:cubicBezTo>
                    <a:pt x="1" y="37"/>
                    <a:pt x="3" y="40"/>
                    <a:pt x="4" y="43"/>
                  </a:cubicBezTo>
                  <a:cubicBezTo>
                    <a:pt x="6" y="45"/>
                    <a:pt x="7" y="47"/>
                    <a:pt x="8" y="49"/>
                  </a:cubicBezTo>
                  <a:cubicBezTo>
                    <a:pt x="9" y="52"/>
                    <a:pt x="9" y="56"/>
                    <a:pt x="11" y="59"/>
                  </a:cubicBezTo>
                  <a:cubicBezTo>
                    <a:pt x="12" y="61"/>
                    <a:pt x="14" y="60"/>
                    <a:pt x="16" y="61"/>
                  </a:cubicBezTo>
                  <a:cubicBezTo>
                    <a:pt x="19" y="63"/>
                    <a:pt x="23" y="65"/>
                    <a:pt x="26" y="67"/>
                  </a:cubicBezTo>
                  <a:cubicBezTo>
                    <a:pt x="27" y="69"/>
                    <a:pt x="25" y="71"/>
                    <a:pt x="26" y="73"/>
                  </a:cubicBezTo>
                  <a:cubicBezTo>
                    <a:pt x="27" y="74"/>
                    <a:pt x="30" y="71"/>
                    <a:pt x="30" y="73"/>
                  </a:cubicBezTo>
                  <a:cubicBezTo>
                    <a:pt x="32" y="75"/>
                    <a:pt x="30" y="79"/>
                    <a:pt x="30" y="82"/>
                  </a:cubicBezTo>
                  <a:cubicBezTo>
                    <a:pt x="31" y="85"/>
                    <a:pt x="32" y="87"/>
                    <a:pt x="34" y="88"/>
                  </a:cubicBezTo>
                  <a:cubicBezTo>
                    <a:pt x="36" y="90"/>
                    <a:pt x="38" y="88"/>
                    <a:pt x="40" y="89"/>
                  </a:cubicBezTo>
                  <a:cubicBezTo>
                    <a:pt x="43" y="90"/>
                    <a:pt x="45" y="90"/>
                    <a:pt x="47" y="92"/>
                  </a:cubicBezTo>
                  <a:cubicBezTo>
                    <a:pt x="48" y="92"/>
                    <a:pt x="47" y="94"/>
                    <a:pt x="47" y="95"/>
                  </a:cubicBezTo>
                  <a:cubicBezTo>
                    <a:pt x="48" y="96"/>
                    <a:pt x="48" y="97"/>
                    <a:pt x="49" y="97"/>
                  </a:cubicBezTo>
                  <a:cubicBezTo>
                    <a:pt x="52" y="97"/>
                    <a:pt x="54" y="97"/>
                    <a:pt x="56" y="98"/>
                  </a:cubicBezTo>
                  <a:cubicBezTo>
                    <a:pt x="59" y="98"/>
                    <a:pt x="62" y="99"/>
                    <a:pt x="65" y="99"/>
                  </a:cubicBezTo>
                  <a:cubicBezTo>
                    <a:pt x="66" y="99"/>
                    <a:pt x="68" y="99"/>
                    <a:pt x="70" y="99"/>
                  </a:cubicBezTo>
                  <a:cubicBezTo>
                    <a:pt x="72" y="99"/>
                    <a:pt x="73" y="101"/>
                    <a:pt x="74" y="101"/>
                  </a:cubicBezTo>
                  <a:cubicBezTo>
                    <a:pt x="75" y="102"/>
                    <a:pt x="75" y="101"/>
                    <a:pt x="76" y="10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" name="Freeform 36"/>
            <p:cNvSpPr>
              <a:spLocks noChangeAspect="1"/>
            </p:cNvSpPr>
            <p:nvPr/>
          </p:nvSpPr>
          <p:spPr bwMode="auto">
            <a:xfrm>
              <a:off x="5267325" y="4484688"/>
              <a:ext cx="255588" cy="469900"/>
            </a:xfrm>
            <a:custGeom>
              <a:avLst/>
              <a:gdLst>
                <a:gd name="T0" fmla="*/ 59129 w 134"/>
                <a:gd name="T1" fmla="*/ 460388 h 247"/>
                <a:gd name="T2" fmla="*/ 55314 w 134"/>
                <a:gd name="T3" fmla="*/ 437559 h 247"/>
                <a:gd name="T4" fmla="*/ 62943 w 134"/>
                <a:gd name="T5" fmla="*/ 428047 h 247"/>
                <a:gd name="T6" fmla="*/ 91554 w 134"/>
                <a:gd name="T7" fmla="*/ 412827 h 247"/>
                <a:gd name="T8" fmla="*/ 120164 w 134"/>
                <a:gd name="T9" fmla="*/ 393803 h 247"/>
                <a:gd name="T10" fmla="*/ 122072 w 134"/>
                <a:gd name="T11" fmla="*/ 367169 h 247"/>
                <a:gd name="T12" fmla="*/ 118257 w 134"/>
                <a:gd name="T13" fmla="*/ 329120 h 247"/>
                <a:gd name="T14" fmla="*/ 106813 w 134"/>
                <a:gd name="T15" fmla="*/ 302486 h 247"/>
                <a:gd name="T16" fmla="*/ 104906 w 134"/>
                <a:gd name="T17" fmla="*/ 273950 h 247"/>
                <a:gd name="T18" fmla="*/ 135423 w 134"/>
                <a:gd name="T19" fmla="*/ 243511 h 247"/>
                <a:gd name="T20" fmla="*/ 162127 w 134"/>
                <a:gd name="T21" fmla="*/ 213072 h 247"/>
                <a:gd name="T22" fmla="*/ 217440 w 134"/>
                <a:gd name="T23" fmla="*/ 180731 h 247"/>
                <a:gd name="T24" fmla="*/ 255588 w 134"/>
                <a:gd name="T25" fmla="*/ 127463 h 247"/>
                <a:gd name="T26" fmla="*/ 253681 w 134"/>
                <a:gd name="T27" fmla="*/ 116048 h 247"/>
                <a:gd name="T28" fmla="*/ 249866 w 134"/>
                <a:gd name="T29" fmla="*/ 83707 h 247"/>
                <a:gd name="T30" fmla="*/ 244144 w 134"/>
                <a:gd name="T31" fmla="*/ 34244 h 247"/>
                <a:gd name="T32" fmla="*/ 251773 w 134"/>
                <a:gd name="T33" fmla="*/ 9512 h 247"/>
                <a:gd name="T34" fmla="*/ 242236 w 134"/>
                <a:gd name="T35" fmla="*/ 3805 h 247"/>
                <a:gd name="T36" fmla="*/ 211718 w 134"/>
                <a:gd name="T37" fmla="*/ 24732 h 247"/>
                <a:gd name="T38" fmla="*/ 196459 w 134"/>
                <a:gd name="T39" fmla="*/ 26634 h 247"/>
                <a:gd name="T40" fmla="*/ 179293 w 134"/>
                <a:gd name="T41" fmla="*/ 36146 h 247"/>
                <a:gd name="T42" fmla="*/ 152590 w 134"/>
                <a:gd name="T43" fmla="*/ 38049 h 247"/>
                <a:gd name="T44" fmla="*/ 131609 w 134"/>
                <a:gd name="T45" fmla="*/ 34244 h 247"/>
                <a:gd name="T46" fmla="*/ 110628 w 134"/>
                <a:gd name="T47" fmla="*/ 30439 h 247"/>
                <a:gd name="T48" fmla="*/ 104906 w 134"/>
                <a:gd name="T49" fmla="*/ 55170 h 247"/>
                <a:gd name="T50" fmla="*/ 108720 w 134"/>
                <a:gd name="T51" fmla="*/ 83707 h 247"/>
                <a:gd name="T52" fmla="*/ 122072 w 134"/>
                <a:gd name="T53" fmla="*/ 104634 h 247"/>
                <a:gd name="T54" fmla="*/ 135423 w 134"/>
                <a:gd name="T55" fmla="*/ 129365 h 247"/>
                <a:gd name="T56" fmla="*/ 135423 w 134"/>
                <a:gd name="T57" fmla="*/ 161706 h 247"/>
                <a:gd name="T58" fmla="*/ 122072 w 134"/>
                <a:gd name="T59" fmla="*/ 173121 h 247"/>
                <a:gd name="T60" fmla="*/ 102998 w 134"/>
                <a:gd name="T61" fmla="*/ 169316 h 247"/>
                <a:gd name="T62" fmla="*/ 97276 w 134"/>
                <a:gd name="T63" fmla="*/ 154097 h 247"/>
                <a:gd name="T64" fmla="*/ 104906 w 134"/>
                <a:gd name="T65" fmla="*/ 125560 h 247"/>
                <a:gd name="T66" fmla="*/ 82017 w 134"/>
                <a:gd name="T67" fmla="*/ 119853 h 247"/>
                <a:gd name="T68" fmla="*/ 68665 w 134"/>
                <a:gd name="T69" fmla="*/ 106536 h 247"/>
                <a:gd name="T70" fmla="*/ 5722 w 134"/>
                <a:gd name="T71" fmla="*/ 144585 h 247"/>
                <a:gd name="T72" fmla="*/ 0 w 134"/>
                <a:gd name="T73" fmla="*/ 155999 h 247"/>
                <a:gd name="T74" fmla="*/ 17166 w 134"/>
                <a:gd name="T75" fmla="*/ 159804 h 247"/>
                <a:gd name="T76" fmla="*/ 34333 w 134"/>
                <a:gd name="T77" fmla="*/ 171219 h 247"/>
                <a:gd name="T78" fmla="*/ 55314 w 134"/>
                <a:gd name="T79" fmla="*/ 182633 h 247"/>
                <a:gd name="T80" fmla="*/ 62943 w 134"/>
                <a:gd name="T81" fmla="*/ 218779 h 247"/>
                <a:gd name="T82" fmla="*/ 57221 w 134"/>
                <a:gd name="T83" fmla="*/ 241609 h 247"/>
                <a:gd name="T84" fmla="*/ 59129 w 134"/>
                <a:gd name="T85" fmla="*/ 254926 h 247"/>
                <a:gd name="T86" fmla="*/ 64851 w 134"/>
                <a:gd name="T87" fmla="*/ 268243 h 247"/>
                <a:gd name="T88" fmla="*/ 55314 w 134"/>
                <a:gd name="T89" fmla="*/ 287267 h 247"/>
                <a:gd name="T90" fmla="*/ 51499 w 134"/>
                <a:gd name="T91" fmla="*/ 310096 h 247"/>
                <a:gd name="T92" fmla="*/ 26703 w 134"/>
                <a:gd name="T93" fmla="*/ 355754 h 247"/>
                <a:gd name="T94" fmla="*/ 30518 w 134"/>
                <a:gd name="T95" fmla="*/ 374779 h 247"/>
                <a:gd name="T96" fmla="*/ 38147 w 134"/>
                <a:gd name="T97" fmla="*/ 403315 h 247"/>
                <a:gd name="T98" fmla="*/ 36240 w 134"/>
                <a:gd name="T99" fmla="*/ 439461 h 247"/>
                <a:gd name="T100" fmla="*/ 40055 w 134"/>
                <a:gd name="T101" fmla="*/ 458485 h 247"/>
                <a:gd name="T102" fmla="*/ 59129 w 134"/>
                <a:gd name="T103" fmla="*/ 469900 h 24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4"/>
                <a:gd name="T157" fmla="*/ 0 h 247"/>
                <a:gd name="T158" fmla="*/ 134 w 134"/>
                <a:gd name="T159" fmla="*/ 247 h 24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4" h="247">
                  <a:moveTo>
                    <a:pt x="31" y="247"/>
                  </a:moveTo>
                  <a:cubicBezTo>
                    <a:pt x="31" y="246"/>
                    <a:pt x="31" y="243"/>
                    <a:pt x="31" y="242"/>
                  </a:cubicBezTo>
                  <a:cubicBezTo>
                    <a:pt x="31" y="239"/>
                    <a:pt x="29" y="237"/>
                    <a:pt x="28" y="235"/>
                  </a:cubicBezTo>
                  <a:cubicBezTo>
                    <a:pt x="28" y="234"/>
                    <a:pt x="28" y="232"/>
                    <a:pt x="29" y="230"/>
                  </a:cubicBezTo>
                  <a:cubicBezTo>
                    <a:pt x="29" y="228"/>
                    <a:pt x="30" y="226"/>
                    <a:pt x="31" y="225"/>
                  </a:cubicBezTo>
                  <a:cubicBezTo>
                    <a:pt x="31" y="224"/>
                    <a:pt x="32" y="225"/>
                    <a:pt x="33" y="225"/>
                  </a:cubicBezTo>
                  <a:cubicBezTo>
                    <a:pt x="35" y="223"/>
                    <a:pt x="37" y="222"/>
                    <a:pt x="39" y="220"/>
                  </a:cubicBezTo>
                  <a:cubicBezTo>
                    <a:pt x="42" y="219"/>
                    <a:pt x="45" y="218"/>
                    <a:pt x="48" y="217"/>
                  </a:cubicBezTo>
                  <a:cubicBezTo>
                    <a:pt x="51" y="215"/>
                    <a:pt x="55" y="214"/>
                    <a:pt x="59" y="212"/>
                  </a:cubicBezTo>
                  <a:cubicBezTo>
                    <a:pt x="60" y="210"/>
                    <a:pt x="62" y="209"/>
                    <a:pt x="63" y="207"/>
                  </a:cubicBezTo>
                  <a:cubicBezTo>
                    <a:pt x="63" y="206"/>
                    <a:pt x="63" y="204"/>
                    <a:pt x="63" y="203"/>
                  </a:cubicBezTo>
                  <a:cubicBezTo>
                    <a:pt x="64" y="199"/>
                    <a:pt x="64" y="196"/>
                    <a:pt x="64" y="193"/>
                  </a:cubicBezTo>
                  <a:cubicBezTo>
                    <a:pt x="64" y="189"/>
                    <a:pt x="64" y="185"/>
                    <a:pt x="64" y="181"/>
                  </a:cubicBezTo>
                  <a:cubicBezTo>
                    <a:pt x="63" y="178"/>
                    <a:pt x="63" y="176"/>
                    <a:pt x="62" y="173"/>
                  </a:cubicBezTo>
                  <a:cubicBezTo>
                    <a:pt x="62" y="169"/>
                    <a:pt x="61" y="165"/>
                    <a:pt x="60" y="161"/>
                  </a:cubicBezTo>
                  <a:cubicBezTo>
                    <a:pt x="59" y="160"/>
                    <a:pt x="57" y="160"/>
                    <a:pt x="56" y="159"/>
                  </a:cubicBezTo>
                  <a:cubicBezTo>
                    <a:pt x="56" y="158"/>
                    <a:pt x="58" y="157"/>
                    <a:pt x="58" y="155"/>
                  </a:cubicBezTo>
                  <a:cubicBezTo>
                    <a:pt x="58" y="151"/>
                    <a:pt x="54" y="148"/>
                    <a:pt x="55" y="144"/>
                  </a:cubicBezTo>
                  <a:cubicBezTo>
                    <a:pt x="55" y="143"/>
                    <a:pt x="58" y="142"/>
                    <a:pt x="59" y="141"/>
                  </a:cubicBezTo>
                  <a:cubicBezTo>
                    <a:pt x="63" y="137"/>
                    <a:pt x="67" y="133"/>
                    <a:pt x="71" y="128"/>
                  </a:cubicBezTo>
                  <a:cubicBezTo>
                    <a:pt x="75" y="124"/>
                    <a:pt x="78" y="120"/>
                    <a:pt x="82" y="116"/>
                  </a:cubicBezTo>
                  <a:cubicBezTo>
                    <a:pt x="83" y="115"/>
                    <a:pt x="84" y="113"/>
                    <a:pt x="85" y="112"/>
                  </a:cubicBezTo>
                  <a:cubicBezTo>
                    <a:pt x="91" y="108"/>
                    <a:pt x="96" y="105"/>
                    <a:pt x="102" y="102"/>
                  </a:cubicBezTo>
                  <a:cubicBezTo>
                    <a:pt x="106" y="99"/>
                    <a:pt x="111" y="98"/>
                    <a:pt x="114" y="95"/>
                  </a:cubicBezTo>
                  <a:cubicBezTo>
                    <a:pt x="120" y="90"/>
                    <a:pt x="124" y="84"/>
                    <a:pt x="128" y="78"/>
                  </a:cubicBezTo>
                  <a:cubicBezTo>
                    <a:pt x="130" y="74"/>
                    <a:pt x="133" y="71"/>
                    <a:pt x="134" y="67"/>
                  </a:cubicBezTo>
                  <a:cubicBezTo>
                    <a:pt x="134" y="66"/>
                    <a:pt x="131" y="66"/>
                    <a:pt x="131" y="65"/>
                  </a:cubicBezTo>
                  <a:cubicBezTo>
                    <a:pt x="131" y="64"/>
                    <a:pt x="133" y="63"/>
                    <a:pt x="133" y="61"/>
                  </a:cubicBezTo>
                  <a:cubicBezTo>
                    <a:pt x="133" y="60"/>
                    <a:pt x="130" y="59"/>
                    <a:pt x="130" y="57"/>
                  </a:cubicBezTo>
                  <a:cubicBezTo>
                    <a:pt x="129" y="53"/>
                    <a:pt x="131" y="49"/>
                    <a:pt x="131" y="44"/>
                  </a:cubicBezTo>
                  <a:cubicBezTo>
                    <a:pt x="131" y="41"/>
                    <a:pt x="130" y="37"/>
                    <a:pt x="130" y="33"/>
                  </a:cubicBezTo>
                  <a:cubicBezTo>
                    <a:pt x="129" y="28"/>
                    <a:pt x="128" y="23"/>
                    <a:pt x="128" y="18"/>
                  </a:cubicBezTo>
                  <a:cubicBezTo>
                    <a:pt x="128" y="15"/>
                    <a:pt x="128" y="12"/>
                    <a:pt x="129" y="9"/>
                  </a:cubicBezTo>
                  <a:cubicBezTo>
                    <a:pt x="129" y="8"/>
                    <a:pt x="132" y="7"/>
                    <a:pt x="132" y="5"/>
                  </a:cubicBezTo>
                  <a:cubicBezTo>
                    <a:pt x="132" y="4"/>
                    <a:pt x="132" y="2"/>
                    <a:pt x="131" y="1"/>
                  </a:cubicBezTo>
                  <a:cubicBezTo>
                    <a:pt x="130" y="0"/>
                    <a:pt x="128" y="2"/>
                    <a:pt x="127" y="2"/>
                  </a:cubicBezTo>
                  <a:cubicBezTo>
                    <a:pt x="124" y="5"/>
                    <a:pt x="121" y="9"/>
                    <a:pt x="117" y="11"/>
                  </a:cubicBezTo>
                  <a:cubicBezTo>
                    <a:pt x="116" y="12"/>
                    <a:pt x="113" y="12"/>
                    <a:pt x="111" y="13"/>
                  </a:cubicBezTo>
                  <a:cubicBezTo>
                    <a:pt x="110" y="14"/>
                    <a:pt x="108" y="15"/>
                    <a:pt x="106" y="16"/>
                  </a:cubicBezTo>
                  <a:cubicBezTo>
                    <a:pt x="105" y="16"/>
                    <a:pt x="105" y="14"/>
                    <a:pt x="103" y="14"/>
                  </a:cubicBezTo>
                  <a:cubicBezTo>
                    <a:pt x="102" y="13"/>
                    <a:pt x="100" y="13"/>
                    <a:pt x="99" y="14"/>
                  </a:cubicBezTo>
                  <a:cubicBezTo>
                    <a:pt x="96" y="15"/>
                    <a:pt x="96" y="18"/>
                    <a:pt x="94" y="19"/>
                  </a:cubicBezTo>
                  <a:cubicBezTo>
                    <a:pt x="91" y="20"/>
                    <a:pt x="90" y="17"/>
                    <a:pt x="87" y="17"/>
                  </a:cubicBezTo>
                  <a:cubicBezTo>
                    <a:pt x="85" y="17"/>
                    <a:pt x="83" y="20"/>
                    <a:pt x="80" y="20"/>
                  </a:cubicBezTo>
                  <a:cubicBezTo>
                    <a:pt x="77" y="19"/>
                    <a:pt x="77" y="14"/>
                    <a:pt x="74" y="13"/>
                  </a:cubicBezTo>
                  <a:cubicBezTo>
                    <a:pt x="72" y="13"/>
                    <a:pt x="71" y="17"/>
                    <a:pt x="69" y="18"/>
                  </a:cubicBezTo>
                  <a:cubicBezTo>
                    <a:pt x="67" y="18"/>
                    <a:pt x="64" y="18"/>
                    <a:pt x="62" y="18"/>
                  </a:cubicBezTo>
                  <a:cubicBezTo>
                    <a:pt x="61" y="17"/>
                    <a:pt x="60" y="17"/>
                    <a:pt x="58" y="16"/>
                  </a:cubicBezTo>
                  <a:cubicBezTo>
                    <a:pt x="58" y="19"/>
                    <a:pt x="57" y="21"/>
                    <a:pt x="56" y="23"/>
                  </a:cubicBezTo>
                  <a:cubicBezTo>
                    <a:pt x="56" y="25"/>
                    <a:pt x="55" y="27"/>
                    <a:pt x="55" y="29"/>
                  </a:cubicBezTo>
                  <a:cubicBezTo>
                    <a:pt x="55" y="31"/>
                    <a:pt x="55" y="34"/>
                    <a:pt x="55" y="36"/>
                  </a:cubicBezTo>
                  <a:cubicBezTo>
                    <a:pt x="56" y="38"/>
                    <a:pt x="56" y="41"/>
                    <a:pt x="57" y="44"/>
                  </a:cubicBezTo>
                  <a:cubicBezTo>
                    <a:pt x="57" y="46"/>
                    <a:pt x="57" y="48"/>
                    <a:pt x="58" y="50"/>
                  </a:cubicBezTo>
                  <a:cubicBezTo>
                    <a:pt x="59" y="52"/>
                    <a:pt x="62" y="53"/>
                    <a:pt x="64" y="55"/>
                  </a:cubicBezTo>
                  <a:cubicBezTo>
                    <a:pt x="66" y="57"/>
                    <a:pt x="66" y="59"/>
                    <a:pt x="67" y="61"/>
                  </a:cubicBezTo>
                  <a:cubicBezTo>
                    <a:pt x="69" y="64"/>
                    <a:pt x="70" y="66"/>
                    <a:pt x="71" y="68"/>
                  </a:cubicBezTo>
                  <a:cubicBezTo>
                    <a:pt x="72" y="71"/>
                    <a:pt x="71" y="75"/>
                    <a:pt x="71" y="79"/>
                  </a:cubicBezTo>
                  <a:cubicBezTo>
                    <a:pt x="71" y="81"/>
                    <a:pt x="72" y="83"/>
                    <a:pt x="71" y="85"/>
                  </a:cubicBezTo>
                  <a:cubicBezTo>
                    <a:pt x="70" y="87"/>
                    <a:pt x="67" y="85"/>
                    <a:pt x="65" y="86"/>
                  </a:cubicBezTo>
                  <a:cubicBezTo>
                    <a:pt x="64" y="87"/>
                    <a:pt x="64" y="89"/>
                    <a:pt x="64" y="91"/>
                  </a:cubicBezTo>
                  <a:cubicBezTo>
                    <a:pt x="63" y="93"/>
                    <a:pt x="64" y="98"/>
                    <a:pt x="62" y="97"/>
                  </a:cubicBezTo>
                  <a:cubicBezTo>
                    <a:pt x="58" y="96"/>
                    <a:pt x="56" y="92"/>
                    <a:pt x="54" y="89"/>
                  </a:cubicBezTo>
                  <a:cubicBezTo>
                    <a:pt x="53" y="87"/>
                    <a:pt x="52" y="86"/>
                    <a:pt x="52" y="84"/>
                  </a:cubicBezTo>
                  <a:cubicBezTo>
                    <a:pt x="51" y="83"/>
                    <a:pt x="50" y="82"/>
                    <a:pt x="51" y="81"/>
                  </a:cubicBezTo>
                  <a:cubicBezTo>
                    <a:pt x="52" y="78"/>
                    <a:pt x="54" y="77"/>
                    <a:pt x="55" y="75"/>
                  </a:cubicBezTo>
                  <a:cubicBezTo>
                    <a:pt x="56" y="72"/>
                    <a:pt x="56" y="69"/>
                    <a:pt x="55" y="66"/>
                  </a:cubicBezTo>
                  <a:cubicBezTo>
                    <a:pt x="54" y="64"/>
                    <a:pt x="54" y="61"/>
                    <a:pt x="52" y="61"/>
                  </a:cubicBezTo>
                  <a:cubicBezTo>
                    <a:pt x="49" y="60"/>
                    <a:pt x="46" y="65"/>
                    <a:pt x="43" y="63"/>
                  </a:cubicBezTo>
                  <a:cubicBezTo>
                    <a:pt x="40" y="62"/>
                    <a:pt x="41" y="57"/>
                    <a:pt x="39" y="55"/>
                  </a:cubicBezTo>
                  <a:cubicBezTo>
                    <a:pt x="39" y="54"/>
                    <a:pt x="37" y="56"/>
                    <a:pt x="36" y="56"/>
                  </a:cubicBezTo>
                  <a:lnTo>
                    <a:pt x="1" y="70"/>
                  </a:lnTo>
                  <a:lnTo>
                    <a:pt x="3" y="76"/>
                  </a:lnTo>
                  <a:lnTo>
                    <a:pt x="2" y="79"/>
                  </a:lnTo>
                  <a:cubicBezTo>
                    <a:pt x="2" y="80"/>
                    <a:pt x="1" y="81"/>
                    <a:pt x="0" y="82"/>
                  </a:cubicBezTo>
                  <a:cubicBezTo>
                    <a:pt x="0" y="83"/>
                    <a:pt x="1" y="84"/>
                    <a:pt x="2" y="84"/>
                  </a:cubicBezTo>
                  <a:cubicBezTo>
                    <a:pt x="4" y="85"/>
                    <a:pt x="7" y="84"/>
                    <a:pt x="9" y="84"/>
                  </a:cubicBezTo>
                  <a:cubicBezTo>
                    <a:pt x="11" y="85"/>
                    <a:pt x="13" y="85"/>
                    <a:pt x="15" y="86"/>
                  </a:cubicBezTo>
                  <a:cubicBezTo>
                    <a:pt x="16" y="87"/>
                    <a:pt x="17" y="88"/>
                    <a:pt x="18" y="90"/>
                  </a:cubicBezTo>
                  <a:cubicBezTo>
                    <a:pt x="19" y="91"/>
                    <a:pt x="19" y="93"/>
                    <a:pt x="21" y="94"/>
                  </a:cubicBezTo>
                  <a:cubicBezTo>
                    <a:pt x="23" y="95"/>
                    <a:pt x="27" y="94"/>
                    <a:pt x="29" y="96"/>
                  </a:cubicBezTo>
                  <a:cubicBezTo>
                    <a:pt x="32" y="98"/>
                    <a:pt x="33" y="102"/>
                    <a:pt x="33" y="105"/>
                  </a:cubicBezTo>
                  <a:cubicBezTo>
                    <a:pt x="34" y="108"/>
                    <a:pt x="33" y="111"/>
                    <a:pt x="33" y="115"/>
                  </a:cubicBezTo>
                  <a:cubicBezTo>
                    <a:pt x="33" y="117"/>
                    <a:pt x="35" y="119"/>
                    <a:pt x="35" y="121"/>
                  </a:cubicBezTo>
                  <a:cubicBezTo>
                    <a:pt x="34" y="123"/>
                    <a:pt x="31" y="125"/>
                    <a:pt x="30" y="127"/>
                  </a:cubicBezTo>
                  <a:cubicBezTo>
                    <a:pt x="29" y="128"/>
                    <a:pt x="27" y="128"/>
                    <a:pt x="28" y="129"/>
                  </a:cubicBezTo>
                  <a:cubicBezTo>
                    <a:pt x="28" y="131"/>
                    <a:pt x="30" y="132"/>
                    <a:pt x="31" y="134"/>
                  </a:cubicBezTo>
                  <a:cubicBezTo>
                    <a:pt x="31" y="135"/>
                    <a:pt x="30" y="137"/>
                    <a:pt x="30" y="138"/>
                  </a:cubicBezTo>
                  <a:cubicBezTo>
                    <a:pt x="31" y="139"/>
                    <a:pt x="34" y="140"/>
                    <a:pt x="34" y="141"/>
                  </a:cubicBezTo>
                  <a:cubicBezTo>
                    <a:pt x="34" y="143"/>
                    <a:pt x="32" y="145"/>
                    <a:pt x="31" y="146"/>
                  </a:cubicBezTo>
                  <a:cubicBezTo>
                    <a:pt x="30" y="148"/>
                    <a:pt x="30" y="150"/>
                    <a:pt x="29" y="151"/>
                  </a:cubicBezTo>
                  <a:cubicBezTo>
                    <a:pt x="28" y="152"/>
                    <a:pt x="27" y="153"/>
                    <a:pt x="27" y="154"/>
                  </a:cubicBezTo>
                  <a:cubicBezTo>
                    <a:pt x="26" y="157"/>
                    <a:pt x="28" y="161"/>
                    <a:pt x="27" y="163"/>
                  </a:cubicBezTo>
                  <a:cubicBezTo>
                    <a:pt x="23" y="169"/>
                    <a:pt x="17" y="174"/>
                    <a:pt x="13" y="179"/>
                  </a:cubicBezTo>
                  <a:cubicBezTo>
                    <a:pt x="13" y="182"/>
                    <a:pt x="13" y="184"/>
                    <a:pt x="14" y="187"/>
                  </a:cubicBezTo>
                  <a:cubicBezTo>
                    <a:pt x="14" y="188"/>
                    <a:pt x="16" y="190"/>
                    <a:pt x="16" y="191"/>
                  </a:cubicBezTo>
                  <a:cubicBezTo>
                    <a:pt x="16" y="193"/>
                    <a:pt x="15" y="195"/>
                    <a:pt x="16" y="197"/>
                  </a:cubicBezTo>
                  <a:cubicBezTo>
                    <a:pt x="16" y="200"/>
                    <a:pt x="17" y="202"/>
                    <a:pt x="18" y="205"/>
                  </a:cubicBezTo>
                  <a:cubicBezTo>
                    <a:pt x="19" y="207"/>
                    <a:pt x="20" y="210"/>
                    <a:pt x="20" y="212"/>
                  </a:cubicBezTo>
                  <a:cubicBezTo>
                    <a:pt x="20" y="217"/>
                    <a:pt x="20" y="222"/>
                    <a:pt x="19" y="227"/>
                  </a:cubicBezTo>
                  <a:cubicBezTo>
                    <a:pt x="19" y="229"/>
                    <a:pt x="19" y="230"/>
                    <a:pt x="19" y="231"/>
                  </a:cubicBezTo>
                  <a:cubicBezTo>
                    <a:pt x="19" y="232"/>
                    <a:pt x="20" y="233"/>
                    <a:pt x="21" y="235"/>
                  </a:cubicBezTo>
                  <a:cubicBezTo>
                    <a:pt x="20" y="237"/>
                    <a:pt x="21" y="239"/>
                    <a:pt x="21" y="241"/>
                  </a:cubicBezTo>
                  <a:cubicBezTo>
                    <a:pt x="21" y="243"/>
                    <a:pt x="21" y="244"/>
                    <a:pt x="21" y="246"/>
                  </a:cubicBezTo>
                  <a:lnTo>
                    <a:pt x="31" y="247"/>
                  </a:ln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" name="Freeform 37"/>
            <p:cNvSpPr>
              <a:spLocks noChangeAspect="1"/>
            </p:cNvSpPr>
            <p:nvPr/>
          </p:nvSpPr>
          <p:spPr bwMode="auto">
            <a:xfrm>
              <a:off x="5326063" y="4456113"/>
              <a:ext cx="77787" cy="214312"/>
            </a:xfrm>
            <a:custGeom>
              <a:avLst/>
              <a:gdLst>
                <a:gd name="T0" fmla="*/ 11383 w 41"/>
                <a:gd name="T1" fmla="*/ 0 h 113"/>
                <a:gd name="T2" fmla="*/ 28459 w 41"/>
                <a:gd name="T3" fmla="*/ 9483 h 113"/>
                <a:gd name="T4" fmla="*/ 47431 w 41"/>
                <a:gd name="T5" fmla="*/ 28448 h 113"/>
                <a:gd name="T6" fmla="*/ 45534 w 41"/>
                <a:gd name="T7" fmla="*/ 47414 h 113"/>
                <a:gd name="T8" fmla="*/ 51226 w 41"/>
                <a:gd name="T9" fmla="*/ 58794 h 113"/>
                <a:gd name="T10" fmla="*/ 47431 w 41"/>
                <a:gd name="T11" fmla="*/ 72070 h 113"/>
                <a:gd name="T12" fmla="*/ 45534 w 41"/>
                <a:gd name="T13" fmla="*/ 83449 h 113"/>
                <a:gd name="T14" fmla="*/ 45534 w 41"/>
                <a:gd name="T15" fmla="*/ 96725 h 113"/>
                <a:gd name="T16" fmla="*/ 49328 w 41"/>
                <a:gd name="T17" fmla="*/ 111897 h 113"/>
                <a:gd name="T18" fmla="*/ 51226 w 41"/>
                <a:gd name="T19" fmla="*/ 123277 h 113"/>
                <a:gd name="T20" fmla="*/ 62609 w 41"/>
                <a:gd name="T21" fmla="*/ 132760 h 113"/>
                <a:gd name="T22" fmla="*/ 68301 w 41"/>
                <a:gd name="T23" fmla="*/ 144139 h 113"/>
                <a:gd name="T24" fmla="*/ 75890 w 41"/>
                <a:gd name="T25" fmla="*/ 157415 h 113"/>
                <a:gd name="T26" fmla="*/ 75890 w 41"/>
                <a:gd name="T27" fmla="*/ 178277 h 113"/>
                <a:gd name="T28" fmla="*/ 75890 w 41"/>
                <a:gd name="T29" fmla="*/ 189657 h 113"/>
                <a:gd name="T30" fmla="*/ 64506 w 41"/>
                <a:gd name="T31" fmla="*/ 191553 h 113"/>
                <a:gd name="T32" fmla="*/ 62609 w 41"/>
                <a:gd name="T33" fmla="*/ 201036 h 113"/>
                <a:gd name="T34" fmla="*/ 58815 w 41"/>
                <a:gd name="T35" fmla="*/ 212415 h 113"/>
                <a:gd name="T36" fmla="*/ 43637 w 41"/>
                <a:gd name="T37" fmla="*/ 197243 h 113"/>
                <a:gd name="T38" fmla="*/ 39842 w 41"/>
                <a:gd name="T39" fmla="*/ 187760 h 113"/>
                <a:gd name="T40" fmla="*/ 37945 w 41"/>
                <a:gd name="T41" fmla="*/ 182070 h 113"/>
                <a:gd name="T42" fmla="*/ 45534 w 41"/>
                <a:gd name="T43" fmla="*/ 170691 h 113"/>
                <a:gd name="T44" fmla="*/ 45534 w 41"/>
                <a:gd name="T45" fmla="*/ 153622 h 113"/>
                <a:gd name="T46" fmla="*/ 39842 w 41"/>
                <a:gd name="T47" fmla="*/ 144139 h 113"/>
                <a:gd name="T48" fmla="*/ 22767 w 41"/>
                <a:gd name="T49" fmla="*/ 147932 h 113"/>
                <a:gd name="T50" fmla="*/ 15178 w 41"/>
                <a:gd name="T51" fmla="*/ 132760 h 113"/>
                <a:gd name="T52" fmla="*/ 9486 w 41"/>
                <a:gd name="T53" fmla="*/ 134656 h 113"/>
                <a:gd name="T54" fmla="*/ 0 w 41"/>
                <a:gd name="T55" fmla="*/ 125173 h 113"/>
                <a:gd name="T56" fmla="*/ 9486 w 41"/>
                <a:gd name="T57" fmla="*/ 110001 h 113"/>
                <a:gd name="T58" fmla="*/ 7589 w 41"/>
                <a:gd name="T59" fmla="*/ 92932 h 113"/>
                <a:gd name="T60" fmla="*/ 20870 w 41"/>
                <a:gd name="T61" fmla="*/ 87242 h 113"/>
                <a:gd name="T62" fmla="*/ 17075 w 41"/>
                <a:gd name="T63" fmla="*/ 83449 h 113"/>
                <a:gd name="T64" fmla="*/ 17075 w 41"/>
                <a:gd name="T65" fmla="*/ 64483 h 113"/>
                <a:gd name="T66" fmla="*/ 20870 w 41"/>
                <a:gd name="T67" fmla="*/ 53104 h 113"/>
                <a:gd name="T68" fmla="*/ 15178 w 41"/>
                <a:gd name="T69" fmla="*/ 43621 h 113"/>
                <a:gd name="T70" fmla="*/ 26561 w 41"/>
                <a:gd name="T71" fmla="*/ 37931 h 113"/>
                <a:gd name="T72" fmla="*/ 22767 w 41"/>
                <a:gd name="T73" fmla="*/ 24655 h 113"/>
                <a:gd name="T74" fmla="*/ 11383 w 41"/>
                <a:gd name="T75" fmla="*/ 11379 h 113"/>
                <a:gd name="T76" fmla="*/ 11383 w 41"/>
                <a:gd name="T77" fmla="*/ 0 h 11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1"/>
                <a:gd name="T118" fmla="*/ 0 h 113"/>
                <a:gd name="T119" fmla="*/ 41 w 41"/>
                <a:gd name="T120" fmla="*/ 113 h 11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1" h="113">
                  <a:moveTo>
                    <a:pt x="6" y="0"/>
                  </a:moveTo>
                  <a:cubicBezTo>
                    <a:pt x="9" y="2"/>
                    <a:pt x="12" y="3"/>
                    <a:pt x="15" y="5"/>
                  </a:cubicBezTo>
                  <a:cubicBezTo>
                    <a:pt x="19" y="8"/>
                    <a:pt x="23" y="11"/>
                    <a:pt x="25" y="15"/>
                  </a:cubicBezTo>
                  <a:cubicBezTo>
                    <a:pt x="26" y="18"/>
                    <a:pt x="23" y="21"/>
                    <a:pt x="24" y="25"/>
                  </a:cubicBezTo>
                  <a:cubicBezTo>
                    <a:pt x="24" y="27"/>
                    <a:pt x="26" y="29"/>
                    <a:pt x="27" y="31"/>
                  </a:cubicBezTo>
                  <a:cubicBezTo>
                    <a:pt x="27" y="34"/>
                    <a:pt x="26" y="36"/>
                    <a:pt x="25" y="38"/>
                  </a:cubicBezTo>
                  <a:cubicBezTo>
                    <a:pt x="25" y="40"/>
                    <a:pt x="24" y="42"/>
                    <a:pt x="24" y="44"/>
                  </a:cubicBezTo>
                  <a:cubicBezTo>
                    <a:pt x="24" y="46"/>
                    <a:pt x="24" y="49"/>
                    <a:pt x="24" y="51"/>
                  </a:cubicBezTo>
                  <a:cubicBezTo>
                    <a:pt x="25" y="53"/>
                    <a:pt x="25" y="56"/>
                    <a:pt x="26" y="59"/>
                  </a:cubicBezTo>
                  <a:cubicBezTo>
                    <a:pt x="26" y="61"/>
                    <a:pt x="26" y="63"/>
                    <a:pt x="27" y="65"/>
                  </a:cubicBezTo>
                  <a:cubicBezTo>
                    <a:pt x="28" y="67"/>
                    <a:pt x="31" y="68"/>
                    <a:pt x="33" y="70"/>
                  </a:cubicBezTo>
                  <a:cubicBezTo>
                    <a:pt x="35" y="72"/>
                    <a:pt x="35" y="74"/>
                    <a:pt x="36" y="76"/>
                  </a:cubicBezTo>
                  <a:cubicBezTo>
                    <a:pt x="38" y="79"/>
                    <a:pt x="39" y="81"/>
                    <a:pt x="40" y="83"/>
                  </a:cubicBezTo>
                  <a:cubicBezTo>
                    <a:pt x="41" y="86"/>
                    <a:pt x="40" y="90"/>
                    <a:pt x="40" y="94"/>
                  </a:cubicBezTo>
                  <a:cubicBezTo>
                    <a:pt x="40" y="96"/>
                    <a:pt x="41" y="98"/>
                    <a:pt x="40" y="100"/>
                  </a:cubicBezTo>
                  <a:cubicBezTo>
                    <a:pt x="39" y="102"/>
                    <a:pt x="36" y="100"/>
                    <a:pt x="34" y="101"/>
                  </a:cubicBezTo>
                  <a:cubicBezTo>
                    <a:pt x="33" y="102"/>
                    <a:pt x="33" y="104"/>
                    <a:pt x="33" y="106"/>
                  </a:cubicBezTo>
                  <a:cubicBezTo>
                    <a:pt x="32" y="108"/>
                    <a:pt x="33" y="113"/>
                    <a:pt x="31" y="112"/>
                  </a:cubicBezTo>
                  <a:cubicBezTo>
                    <a:pt x="27" y="111"/>
                    <a:pt x="25" y="107"/>
                    <a:pt x="23" y="104"/>
                  </a:cubicBezTo>
                  <a:cubicBezTo>
                    <a:pt x="22" y="102"/>
                    <a:pt x="21" y="101"/>
                    <a:pt x="21" y="99"/>
                  </a:cubicBezTo>
                  <a:cubicBezTo>
                    <a:pt x="20" y="98"/>
                    <a:pt x="19" y="97"/>
                    <a:pt x="20" y="96"/>
                  </a:cubicBezTo>
                  <a:cubicBezTo>
                    <a:pt x="21" y="93"/>
                    <a:pt x="23" y="92"/>
                    <a:pt x="24" y="90"/>
                  </a:cubicBezTo>
                  <a:cubicBezTo>
                    <a:pt x="25" y="87"/>
                    <a:pt x="25" y="84"/>
                    <a:pt x="24" y="81"/>
                  </a:cubicBezTo>
                  <a:cubicBezTo>
                    <a:pt x="23" y="79"/>
                    <a:pt x="23" y="76"/>
                    <a:pt x="21" y="76"/>
                  </a:cubicBezTo>
                  <a:cubicBezTo>
                    <a:pt x="18" y="75"/>
                    <a:pt x="15" y="80"/>
                    <a:pt x="12" y="78"/>
                  </a:cubicBezTo>
                  <a:cubicBezTo>
                    <a:pt x="9" y="77"/>
                    <a:pt x="10" y="72"/>
                    <a:pt x="8" y="70"/>
                  </a:cubicBezTo>
                  <a:cubicBezTo>
                    <a:pt x="8" y="69"/>
                    <a:pt x="6" y="71"/>
                    <a:pt x="5" y="71"/>
                  </a:cubicBezTo>
                  <a:cubicBezTo>
                    <a:pt x="4" y="69"/>
                    <a:pt x="0" y="68"/>
                    <a:pt x="0" y="66"/>
                  </a:cubicBezTo>
                  <a:cubicBezTo>
                    <a:pt x="0" y="63"/>
                    <a:pt x="4" y="61"/>
                    <a:pt x="5" y="58"/>
                  </a:cubicBezTo>
                  <a:cubicBezTo>
                    <a:pt x="6" y="55"/>
                    <a:pt x="3" y="52"/>
                    <a:pt x="4" y="49"/>
                  </a:cubicBezTo>
                  <a:cubicBezTo>
                    <a:pt x="5" y="47"/>
                    <a:pt x="9" y="48"/>
                    <a:pt x="11" y="46"/>
                  </a:cubicBezTo>
                  <a:cubicBezTo>
                    <a:pt x="11" y="45"/>
                    <a:pt x="10" y="45"/>
                    <a:pt x="9" y="44"/>
                  </a:cubicBezTo>
                  <a:cubicBezTo>
                    <a:pt x="9" y="41"/>
                    <a:pt x="8" y="37"/>
                    <a:pt x="9" y="34"/>
                  </a:cubicBezTo>
                  <a:cubicBezTo>
                    <a:pt x="9" y="32"/>
                    <a:pt x="12" y="30"/>
                    <a:pt x="11" y="28"/>
                  </a:cubicBezTo>
                  <a:cubicBezTo>
                    <a:pt x="11" y="26"/>
                    <a:pt x="7" y="25"/>
                    <a:pt x="8" y="23"/>
                  </a:cubicBezTo>
                  <a:cubicBezTo>
                    <a:pt x="8" y="21"/>
                    <a:pt x="13" y="23"/>
                    <a:pt x="14" y="20"/>
                  </a:cubicBezTo>
                  <a:cubicBezTo>
                    <a:pt x="15" y="18"/>
                    <a:pt x="14" y="15"/>
                    <a:pt x="12" y="13"/>
                  </a:cubicBezTo>
                  <a:cubicBezTo>
                    <a:pt x="11" y="10"/>
                    <a:pt x="7" y="9"/>
                    <a:pt x="6" y="6"/>
                  </a:cubicBezTo>
                  <a:cubicBezTo>
                    <a:pt x="5" y="5"/>
                    <a:pt x="6" y="2"/>
                    <a:pt x="6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" name="Freeform 38"/>
            <p:cNvSpPr>
              <a:spLocks noChangeAspect="1"/>
            </p:cNvSpPr>
            <p:nvPr/>
          </p:nvSpPr>
          <p:spPr bwMode="auto">
            <a:xfrm>
              <a:off x="5070475" y="4425950"/>
              <a:ext cx="284163" cy="279400"/>
            </a:xfrm>
            <a:custGeom>
              <a:avLst/>
              <a:gdLst>
                <a:gd name="T0" fmla="*/ 255556 w 149"/>
                <a:gd name="T1" fmla="*/ 30411 h 147"/>
                <a:gd name="T2" fmla="*/ 223135 w 149"/>
                <a:gd name="T3" fmla="*/ 15205 h 147"/>
                <a:gd name="T4" fmla="*/ 167828 w 149"/>
                <a:gd name="T5" fmla="*/ 5702 h 147"/>
                <a:gd name="T6" fmla="*/ 164014 w 149"/>
                <a:gd name="T7" fmla="*/ 45616 h 147"/>
                <a:gd name="T8" fmla="*/ 156385 w 149"/>
                <a:gd name="T9" fmla="*/ 83630 h 147"/>
                <a:gd name="T10" fmla="*/ 173549 w 149"/>
                <a:gd name="T11" fmla="*/ 115941 h 147"/>
                <a:gd name="T12" fmla="*/ 188806 w 149"/>
                <a:gd name="T13" fmla="*/ 114041 h 147"/>
                <a:gd name="T14" fmla="*/ 169735 w 149"/>
                <a:gd name="T15" fmla="*/ 148253 h 147"/>
                <a:gd name="T16" fmla="*/ 141128 w 149"/>
                <a:gd name="T17" fmla="*/ 114041 h 147"/>
                <a:gd name="T18" fmla="*/ 120149 w 149"/>
                <a:gd name="T19" fmla="*/ 93133 h 147"/>
                <a:gd name="T20" fmla="*/ 87728 w 149"/>
                <a:gd name="T21" fmla="*/ 98835 h 147"/>
                <a:gd name="T22" fmla="*/ 76285 w 149"/>
                <a:gd name="T23" fmla="*/ 85531 h 147"/>
                <a:gd name="T24" fmla="*/ 45771 w 149"/>
                <a:gd name="T25" fmla="*/ 81729 h 147"/>
                <a:gd name="T26" fmla="*/ 45771 w 149"/>
                <a:gd name="T27" fmla="*/ 106438 h 147"/>
                <a:gd name="T28" fmla="*/ 41957 w 149"/>
                <a:gd name="T29" fmla="*/ 125445 h 147"/>
                <a:gd name="T30" fmla="*/ 0 w 149"/>
                <a:gd name="T31" fmla="*/ 133048 h 147"/>
                <a:gd name="T32" fmla="*/ 17164 w 149"/>
                <a:gd name="T33" fmla="*/ 247088 h 147"/>
                <a:gd name="T34" fmla="*/ 36236 w 149"/>
                <a:gd name="T35" fmla="*/ 266095 h 147"/>
                <a:gd name="T36" fmla="*/ 66750 w 149"/>
                <a:gd name="T37" fmla="*/ 262294 h 147"/>
                <a:gd name="T38" fmla="*/ 83914 w 149"/>
                <a:gd name="T39" fmla="*/ 271797 h 147"/>
                <a:gd name="T40" fmla="*/ 104892 w 149"/>
                <a:gd name="T41" fmla="*/ 277499 h 147"/>
                <a:gd name="T42" fmla="*/ 127778 w 149"/>
                <a:gd name="T43" fmla="*/ 266095 h 147"/>
                <a:gd name="T44" fmla="*/ 144942 w 149"/>
                <a:gd name="T45" fmla="*/ 245188 h 147"/>
                <a:gd name="T46" fmla="*/ 165921 w 149"/>
                <a:gd name="T47" fmla="*/ 220479 h 147"/>
                <a:gd name="T48" fmla="*/ 200249 w 149"/>
                <a:gd name="T49" fmla="*/ 209075 h 147"/>
                <a:gd name="T50" fmla="*/ 198342 w 149"/>
                <a:gd name="T51" fmla="*/ 191969 h 147"/>
                <a:gd name="T52" fmla="*/ 255556 w 149"/>
                <a:gd name="T53" fmla="*/ 155856 h 147"/>
                <a:gd name="T54" fmla="*/ 263185 w 149"/>
                <a:gd name="T55" fmla="*/ 123544 h 147"/>
                <a:gd name="T56" fmla="*/ 272720 w 149"/>
                <a:gd name="T57" fmla="*/ 114041 h 147"/>
                <a:gd name="T58" fmla="*/ 276534 w 149"/>
                <a:gd name="T59" fmla="*/ 83630 h 147"/>
                <a:gd name="T60" fmla="*/ 282256 w 149"/>
                <a:gd name="T61" fmla="*/ 68424 h 147"/>
                <a:gd name="T62" fmla="*/ 266999 w 149"/>
                <a:gd name="T63" fmla="*/ 41815 h 14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9"/>
                <a:gd name="T97" fmla="*/ 0 h 147"/>
                <a:gd name="T98" fmla="*/ 149 w 149"/>
                <a:gd name="T99" fmla="*/ 147 h 14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9" h="147">
                  <a:moveTo>
                    <a:pt x="140" y="16"/>
                  </a:moveTo>
                  <a:lnTo>
                    <a:pt x="134" y="16"/>
                  </a:lnTo>
                  <a:lnTo>
                    <a:pt x="126" y="13"/>
                  </a:lnTo>
                  <a:lnTo>
                    <a:pt x="117" y="8"/>
                  </a:lnTo>
                  <a:lnTo>
                    <a:pt x="111" y="2"/>
                  </a:lnTo>
                  <a:cubicBezTo>
                    <a:pt x="103" y="3"/>
                    <a:pt x="95" y="0"/>
                    <a:pt x="88" y="3"/>
                  </a:cubicBezTo>
                  <a:cubicBezTo>
                    <a:pt x="84" y="6"/>
                    <a:pt x="85" y="13"/>
                    <a:pt x="84" y="17"/>
                  </a:cubicBezTo>
                  <a:cubicBezTo>
                    <a:pt x="84" y="20"/>
                    <a:pt x="86" y="21"/>
                    <a:pt x="86" y="24"/>
                  </a:cubicBezTo>
                  <a:cubicBezTo>
                    <a:pt x="86" y="28"/>
                    <a:pt x="85" y="33"/>
                    <a:pt x="84" y="38"/>
                  </a:cubicBezTo>
                  <a:cubicBezTo>
                    <a:pt x="84" y="40"/>
                    <a:pt x="82" y="42"/>
                    <a:pt x="82" y="44"/>
                  </a:cubicBezTo>
                  <a:cubicBezTo>
                    <a:pt x="82" y="48"/>
                    <a:pt x="82" y="51"/>
                    <a:pt x="83" y="54"/>
                  </a:cubicBezTo>
                  <a:cubicBezTo>
                    <a:pt x="85" y="57"/>
                    <a:pt x="88" y="60"/>
                    <a:pt x="91" y="61"/>
                  </a:cubicBezTo>
                  <a:cubicBezTo>
                    <a:pt x="92" y="62"/>
                    <a:pt x="93" y="62"/>
                    <a:pt x="95" y="62"/>
                  </a:cubicBezTo>
                  <a:cubicBezTo>
                    <a:pt x="96" y="62"/>
                    <a:pt x="100" y="59"/>
                    <a:pt x="99" y="60"/>
                  </a:cubicBezTo>
                  <a:cubicBezTo>
                    <a:pt x="98" y="65"/>
                    <a:pt x="98" y="72"/>
                    <a:pt x="97" y="77"/>
                  </a:cubicBezTo>
                  <a:cubicBezTo>
                    <a:pt x="96" y="80"/>
                    <a:pt x="91" y="79"/>
                    <a:pt x="89" y="78"/>
                  </a:cubicBezTo>
                  <a:cubicBezTo>
                    <a:pt x="85" y="76"/>
                    <a:pt x="84" y="71"/>
                    <a:pt x="81" y="67"/>
                  </a:cubicBezTo>
                  <a:cubicBezTo>
                    <a:pt x="78" y="65"/>
                    <a:pt x="76" y="62"/>
                    <a:pt x="74" y="60"/>
                  </a:cubicBezTo>
                  <a:cubicBezTo>
                    <a:pt x="72" y="58"/>
                    <a:pt x="70" y="57"/>
                    <a:pt x="68" y="55"/>
                  </a:cubicBezTo>
                  <a:cubicBezTo>
                    <a:pt x="66" y="53"/>
                    <a:pt x="66" y="49"/>
                    <a:pt x="63" y="49"/>
                  </a:cubicBezTo>
                  <a:cubicBezTo>
                    <a:pt x="60" y="49"/>
                    <a:pt x="60" y="54"/>
                    <a:pt x="58" y="55"/>
                  </a:cubicBezTo>
                  <a:cubicBezTo>
                    <a:pt x="54" y="55"/>
                    <a:pt x="50" y="54"/>
                    <a:pt x="46" y="52"/>
                  </a:cubicBezTo>
                  <a:cubicBezTo>
                    <a:pt x="44" y="52"/>
                    <a:pt x="43" y="50"/>
                    <a:pt x="41" y="48"/>
                  </a:cubicBezTo>
                  <a:cubicBezTo>
                    <a:pt x="41" y="47"/>
                    <a:pt x="41" y="45"/>
                    <a:pt x="40" y="45"/>
                  </a:cubicBezTo>
                  <a:cubicBezTo>
                    <a:pt x="37" y="45"/>
                    <a:pt x="34" y="48"/>
                    <a:pt x="31" y="48"/>
                  </a:cubicBezTo>
                  <a:cubicBezTo>
                    <a:pt x="28" y="47"/>
                    <a:pt x="27" y="45"/>
                    <a:pt x="24" y="43"/>
                  </a:cubicBezTo>
                  <a:cubicBezTo>
                    <a:pt x="25" y="45"/>
                    <a:pt x="26" y="47"/>
                    <a:pt x="26" y="49"/>
                  </a:cubicBezTo>
                  <a:cubicBezTo>
                    <a:pt x="26" y="51"/>
                    <a:pt x="25" y="54"/>
                    <a:pt x="24" y="56"/>
                  </a:cubicBezTo>
                  <a:cubicBezTo>
                    <a:pt x="24" y="58"/>
                    <a:pt x="24" y="60"/>
                    <a:pt x="24" y="62"/>
                  </a:cubicBezTo>
                  <a:cubicBezTo>
                    <a:pt x="24" y="64"/>
                    <a:pt x="22" y="65"/>
                    <a:pt x="22" y="66"/>
                  </a:cubicBezTo>
                  <a:cubicBezTo>
                    <a:pt x="23" y="68"/>
                    <a:pt x="28" y="70"/>
                    <a:pt x="26" y="70"/>
                  </a:cubicBezTo>
                  <a:lnTo>
                    <a:pt x="0" y="70"/>
                  </a:lnTo>
                  <a:lnTo>
                    <a:pt x="0" y="119"/>
                  </a:lnTo>
                  <a:cubicBezTo>
                    <a:pt x="3" y="123"/>
                    <a:pt x="6" y="126"/>
                    <a:pt x="9" y="130"/>
                  </a:cubicBezTo>
                  <a:cubicBezTo>
                    <a:pt x="10" y="132"/>
                    <a:pt x="11" y="135"/>
                    <a:pt x="13" y="136"/>
                  </a:cubicBezTo>
                  <a:cubicBezTo>
                    <a:pt x="15" y="138"/>
                    <a:pt x="17" y="139"/>
                    <a:pt x="19" y="140"/>
                  </a:cubicBezTo>
                  <a:cubicBezTo>
                    <a:pt x="23" y="139"/>
                    <a:pt x="26" y="138"/>
                    <a:pt x="30" y="137"/>
                  </a:cubicBezTo>
                  <a:cubicBezTo>
                    <a:pt x="32" y="137"/>
                    <a:pt x="34" y="137"/>
                    <a:pt x="35" y="138"/>
                  </a:cubicBezTo>
                  <a:cubicBezTo>
                    <a:pt x="37" y="139"/>
                    <a:pt x="38" y="142"/>
                    <a:pt x="40" y="144"/>
                  </a:cubicBezTo>
                  <a:cubicBezTo>
                    <a:pt x="41" y="143"/>
                    <a:pt x="42" y="143"/>
                    <a:pt x="44" y="143"/>
                  </a:cubicBezTo>
                  <a:cubicBezTo>
                    <a:pt x="47" y="143"/>
                    <a:pt x="49" y="144"/>
                    <a:pt x="51" y="144"/>
                  </a:cubicBezTo>
                  <a:cubicBezTo>
                    <a:pt x="53" y="145"/>
                    <a:pt x="54" y="146"/>
                    <a:pt x="55" y="146"/>
                  </a:cubicBezTo>
                  <a:cubicBezTo>
                    <a:pt x="58" y="147"/>
                    <a:pt x="60" y="146"/>
                    <a:pt x="62" y="145"/>
                  </a:cubicBezTo>
                  <a:cubicBezTo>
                    <a:pt x="64" y="144"/>
                    <a:pt x="65" y="142"/>
                    <a:pt x="67" y="140"/>
                  </a:cubicBezTo>
                  <a:cubicBezTo>
                    <a:pt x="68" y="138"/>
                    <a:pt x="69" y="136"/>
                    <a:pt x="70" y="134"/>
                  </a:cubicBezTo>
                  <a:cubicBezTo>
                    <a:pt x="72" y="132"/>
                    <a:pt x="74" y="130"/>
                    <a:pt x="76" y="129"/>
                  </a:cubicBezTo>
                  <a:cubicBezTo>
                    <a:pt x="79" y="126"/>
                    <a:pt x="83" y="126"/>
                    <a:pt x="86" y="123"/>
                  </a:cubicBezTo>
                  <a:cubicBezTo>
                    <a:pt x="88" y="121"/>
                    <a:pt x="85" y="117"/>
                    <a:pt x="87" y="116"/>
                  </a:cubicBezTo>
                  <a:cubicBezTo>
                    <a:pt x="89" y="113"/>
                    <a:pt x="94" y="111"/>
                    <a:pt x="98" y="110"/>
                  </a:cubicBezTo>
                  <a:cubicBezTo>
                    <a:pt x="100" y="109"/>
                    <a:pt x="102" y="110"/>
                    <a:pt x="105" y="110"/>
                  </a:cubicBezTo>
                  <a:lnTo>
                    <a:pt x="106" y="107"/>
                  </a:lnTo>
                  <a:lnTo>
                    <a:pt x="104" y="101"/>
                  </a:lnTo>
                  <a:lnTo>
                    <a:pt x="139" y="87"/>
                  </a:lnTo>
                  <a:cubicBezTo>
                    <a:pt x="138" y="85"/>
                    <a:pt x="134" y="84"/>
                    <a:pt x="134" y="82"/>
                  </a:cubicBezTo>
                  <a:cubicBezTo>
                    <a:pt x="134" y="79"/>
                    <a:pt x="138" y="77"/>
                    <a:pt x="139" y="74"/>
                  </a:cubicBezTo>
                  <a:cubicBezTo>
                    <a:pt x="140" y="71"/>
                    <a:pt x="137" y="68"/>
                    <a:pt x="138" y="65"/>
                  </a:cubicBezTo>
                  <a:cubicBezTo>
                    <a:pt x="139" y="63"/>
                    <a:pt x="143" y="64"/>
                    <a:pt x="145" y="62"/>
                  </a:cubicBezTo>
                  <a:cubicBezTo>
                    <a:pt x="145" y="61"/>
                    <a:pt x="144" y="61"/>
                    <a:pt x="143" y="60"/>
                  </a:cubicBezTo>
                  <a:cubicBezTo>
                    <a:pt x="143" y="57"/>
                    <a:pt x="142" y="53"/>
                    <a:pt x="143" y="50"/>
                  </a:cubicBezTo>
                  <a:cubicBezTo>
                    <a:pt x="143" y="48"/>
                    <a:pt x="146" y="46"/>
                    <a:pt x="145" y="44"/>
                  </a:cubicBezTo>
                  <a:cubicBezTo>
                    <a:pt x="145" y="42"/>
                    <a:pt x="141" y="41"/>
                    <a:pt x="142" y="39"/>
                  </a:cubicBezTo>
                  <a:cubicBezTo>
                    <a:pt x="142" y="37"/>
                    <a:pt x="147" y="39"/>
                    <a:pt x="148" y="36"/>
                  </a:cubicBezTo>
                  <a:cubicBezTo>
                    <a:pt x="149" y="34"/>
                    <a:pt x="148" y="31"/>
                    <a:pt x="146" y="29"/>
                  </a:cubicBezTo>
                  <a:cubicBezTo>
                    <a:pt x="145" y="26"/>
                    <a:pt x="141" y="25"/>
                    <a:pt x="140" y="22"/>
                  </a:cubicBezTo>
                  <a:cubicBezTo>
                    <a:pt x="139" y="21"/>
                    <a:pt x="140" y="18"/>
                    <a:pt x="140" y="1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" name="Freeform 39"/>
            <p:cNvSpPr>
              <a:spLocks noChangeAspect="1"/>
            </p:cNvSpPr>
            <p:nvPr/>
          </p:nvSpPr>
          <p:spPr bwMode="auto">
            <a:xfrm>
              <a:off x="4824413" y="4359275"/>
              <a:ext cx="300037" cy="342900"/>
            </a:xfrm>
            <a:custGeom>
              <a:avLst/>
              <a:gdLst>
                <a:gd name="T0" fmla="*/ 17200 w 157"/>
                <a:gd name="T1" fmla="*/ 9525 h 180"/>
                <a:gd name="T2" fmla="*/ 19111 w 157"/>
                <a:gd name="T3" fmla="*/ 24765 h 180"/>
                <a:gd name="T4" fmla="*/ 40132 w 157"/>
                <a:gd name="T5" fmla="*/ 76200 h 180"/>
                <a:gd name="T6" fmla="*/ 34399 w 157"/>
                <a:gd name="T7" fmla="*/ 100965 h 180"/>
                <a:gd name="T8" fmla="*/ 51599 w 157"/>
                <a:gd name="T9" fmla="*/ 148590 h 180"/>
                <a:gd name="T10" fmla="*/ 36310 w 157"/>
                <a:gd name="T11" fmla="*/ 190500 h 180"/>
                <a:gd name="T12" fmla="*/ 15289 w 157"/>
                <a:gd name="T13" fmla="*/ 228600 h 180"/>
                <a:gd name="T14" fmla="*/ 1911 w 157"/>
                <a:gd name="T15" fmla="*/ 285750 h 180"/>
                <a:gd name="T16" fmla="*/ 13377 w 157"/>
                <a:gd name="T17" fmla="*/ 320040 h 180"/>
                <a:gd name="T18" fmla="*/ 42043 w 157"/>
                <a:gd name="T19" fmla="*/ 316230 h 180"/>
                <a:gd name="T20" fmla="*/ 158618 w 157"/>
                <a:gd name="T21" fmla="*/ 323850 h 180"/>
                <a:gd name="T22" fmla="*/ 185373 w 157"/>
                <a:gd name="T23" fmla="*/ 339090 h 180"/>
                <a:gd name="T24" fmla="*/ 221683 w 157"/>
                <a:gd name="T25" fmla="*/ 339090 h 180"/>
                <a:gd name="T26" fmla="*/ 282837 w 157"/>
                <a:gd name="T27" fmla="*/ 333375 h 180"/>
                <a:gd name="T28" fmla="*/ 263727 w 157"/>
                <a:gd name="T29" fmla="*/ 314325 h 180"/>
                <a:gd name="T30" fmla="*/ 246527 w 157"/>
                <a:gd name="T31" fmla="*/ 200025 h 180"/>
                <a:gd name="T32" fmla="*/ 288571 w 157"/>
                <a:gd name="T33" fmla="*/ 192405 h 180"/>
                <a:gd name="T34" fmla="*/ 292393 w 157"/>
                <a:gd name="T35" fmla="*/ 173355 h 180"/>
                <a:gd name="T36" fmla="*/ 292393 w 157"/>
                <a:gd name="T37" fmla="*/ 148590 h 180"/>
                <a:gd name="T38" fmla="*/ 271371 w 157"/>
                <a:gd name="T39" fmla="*/ 148590 h 180"/>
                <a:gd name="T40" fmla="*/ 252260 w 157"/>
                <a:gd name="T41" fmla="*/ 146685 h 180"/>
                <a:gd name="T42" fmla="*/ 254171 w 157"/>
                <a:gd name="T43" fmla="*/ 116205 h 180"/>
                <a:gd name="T44" fmla="*/ 244616 w 157"/>
                <a:gd name="T45" fmla="*/ 70485 h 180"/>
                <a:gd name="T46" fmla="*/ 242705 w 157"/>
                <a:gd name="T47" fmla="*/ 49530 h 180"/>
                <a:gd name="T48" fmla="*/ 215950 w 157"/>
                <a:gd name="T49" fmla="*/ 40005 h 180"/>
                <a:gd name="T50" fmla="*/ 206395 w 157"/>
                <a:gd name="T51" fmla="*/ 34290 h 180"/>
                <a:gd name="T52" fmla="*/ 189195 w 157"/>
                <a:gd name="T53" fmla="*/ 49530 h 180"/>
                <a:gd name="T54" fmla="*/ 185373 w 157"/>
                <a:gd name="T55" fmla="*/ 62865 h 180"/>
                <a:gd name="T56" fmla="*/ 162440 w 157"/>
                <a:gd name="T57" fmla="*/ 62865 h 180"/>
                <a:gd name="T58" fmla="*/ 126130 w 157"/>
                <a:gd name="T59" fmla="*/ 41910 h 180"/>
                <a:gd name="T60" fmla="*/ 120397 w 157"/>
                <a:gd name="T61" fmla="*/ 11430 h 180"/>
                <a:gd name="T62" fmla="*/ 38221 w 157"/>
                <a:gd name="T63" fmla="*/ 1905 h 180"/>
                <a:gd name="T64" fmla="*/ 19111 w 157"/>
                <a:gd name="T65" fmla="*/ 5715 h 1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7"/>
                <a:gd name="T100" fmla="*/ 0 h 180"/>
                <a:gd name="T101" fmla="*/ 157 w 157"/>
                <a:gd name="T102" fmla="*/ 180 h 1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7" h="180">
                  <a:moveTo>
                    <a:pt x="6" y="0"/>
                  </a:moveTo>
                  <a:cubicBezTo>
                    <a:pt x="6" y="1"/>
                    <a:pt x="9" y="3"/>
                    <a:pt x="9" y="5"/>
                  </a:cubicBezTo>
                  <a:cubicBezTo>
                    <a:pt x="9" y="6"/>
                    <a:pt x="6" y="5"/>
                    <a:pt x="7" y="6"/>
                  </a:cubicBezTo>
                  <a:cubicBezTo>
                    <a:pt x="7" y="9"/>
                    <a:pt x="9" y="11"/>
                    <a:pt x="10" y="13"/>
                  </a:cubicBezTo>
                  <a:cubicBezTo>
                    <a:pt x="12" y="16"/>
                    <a:pt x="14" y="18"/>
                    <a:pt x="15" y="21"/>
                  </a:cubicBezTo>
                  <a:cubicBezTo>
                    <a:pt x="17" y="27"/>
                    <a:pt x="21" y="33"/>
                    <a:pt x="21" y="40"/>
                  </a:cubicBezTo>
                  <a:cubicBezTo>
                    <a:pt x="21" y="42"/>
                    <a:pt x="17" y="43"/>
                    <a:pt x="16" y="46"/>
                  </a:cubicBezTo>
                  <a:cubicBezTo>
                    <a:pt x="16" y="48"/>
                    <a:pt x="17" y="51"/>
                    <a:pt x="18" y="53"/>
                  </a:cubicBezTo>
                  <a:cubicBezTo>
                    <a:pt x="19" y="57"/>
                    <a:pt x="21" y="61"/>
                    <a:pt x="22" y="65"/>
                  </a:cubicBezTo>
                  <a:cubicBezTo>
                    <a:pt x="24" y="69"/>
                    <a:pt x="27" y="73"/>
                    <a:pt x="27" y="78"/>
                  </a:cubicBezTo>
                  <a:cubicBezTo>
                    <a:pt x="27" y="83"/>
                    <a:pt x="26" y="89"/>
                    <a:pt x="24" y="93"/>
                  </a:cubicBezTo>
                  <a:cubicBezTo>
                    <a:pt x="23" y="96"/>
                    <a:pt x="21" y="98"/>
                    <a:pt x="19" y="100"/>
                  </a:cubicBezTo>
                  <a:cubicBezTo>
                    <a:pt x="17" y="103"/>
                    <a:pt x="13" y="106"/>
                    <a:pt x="11" y="110"/>
                  </a:cubicBezTo>
                  <a:cubicBezTo>
                    <a:pt x="9" y="113"/>
                    <a:pt x="9" y="116"/>
                    <a:pt x="8" y="120"/>
                  </a:cubicBezTo>
                  <a:cubicBezTo>
                    <a:pt x="7" y="125"/>
                    <a:pt x="6" y="131"/>
                    <a:pt x="5" y="137"/>
                  </a:cubicBezTo>
                  <a:cubicBezTo>
                    <a:pt x="4" y="142"/>
                    <a:pt x="2" y="146"/>
                    <a:pt x="1" y="150"/>
                  </a:cubicBezTo>
                  <a:cubicBezTo>
                    <a:pt x="0" y="156"/>
                    <a:pt x="0" y="162"/>
                    <a:pt x="0" y="168"/>
                  </a:cubicBezTo>
                  <a:cubicBezTo>
                    <a:pt x="2" y="168"/>
                    <a:pt x="4" y="168"/>
                    <a:pt x="7" y="168"/>
                  </a:cubicBezTo>
                  <a:cubicBezTo>
                    <a:pt x="10" y="167"/>
                    <a:pt x="12" y="164"/>
                    <a:pt x="15" y="164"/>
                  </a:cubicBezTo>
                  <a:cubicBezTo>
                    <a:pt x="17" y="164"/>
                    <a:pt x="20" y="165"/>
                    <a:pt x="22" y="166"/>
                  </a:cubicBezTo>
                  <a:cubicBezTo>
                    <a:pt x="24" y="167"/>
                    <a:pt x="26" y="170"/>
                    <a:pt x="28" y="170"/>
                  </a:cubicBezTo>
                  <a:cubicBezTo>
                    <a:pt x="46" y="171"/>
                    <a:pt x="65" y="168"/>
                    <a:pt x="83" y="170"/>
                  </a:cubicBezTo>
                  <a:cubicBezTo>
                    <a:pt x="86" y="170"/>
                    <a:pt x="87" y="174"/>
                    <a:pt x="89" y="176"/>
                  </a:cubicBezTo>
                  <a:cubicBezTo>
                    <a:pt x="92" y="177"/>
                    <a:pt x="94" y="178"/>
                    <a:pt x="97" y="178"/>
                  </a:cubicBezTo>
                  <a:cubicBezTo>
                    <a:pt x="101" y="179"/>
                    <a:pt x="105" y="180"/>
                    <a:pt x="109" y="180"/>
                  </a:cubicBezTo>
                  <a:cubicBezTo>
                    <a:pt x="111" y="180"/>
                    <a:pt x="114" y="178"/>
                    <a:pt x="116" y="178"/>
                  </a:cubicBezTo>
                  <a:cubicBezTo>
                    <a:pt x="119" y="178"/>
                    <a:pt x="122" y="180"/>
                    <a:pt x="124" y="180"/>
                  </a:cubicBezTo>
                  <a:cubicBezTo>
                    <a:pt x="132" y="179"/>
                    <a:pt x="140" y="176"/>
                    <a:pt x="148" y="175"/>
                  </a:cubicBezTo>
                  <a:cubicBezTo>
                    <a:pt x="146" y="174"/>
                    <a:pt x="144" y="173"/>
                    <a:pt x="142" y="171"/>
                  </a:cubicBezTo>
                  <a:cubicBezTo>
                    <a:pt x="140" y="170"/>
                    <a:pt x="139" y="167"/>
                    <a:pt x="138" y="165"/>
                  </a:cubicBezTo>
                  <a:cubicBezTo>
                    <a:pt x="135" y="161"/>
                    <a:pt x="132" y="158"/>
                    <a:pt x="129" y="154"/>
                  </a:cubicBezTo>
                  <a:lnTo>
                    <a:pt x="129" y="105"/>
                  </a:lnTo>
                  <a:lnTo>
                    <a:pt x="155" y="105"/>
                  </a:lnTo>
                  <a:cubicBezTo>
                    <a:pt x="157" y="105"/>
                    <a:pt x="152" y="103"/>
                    <a:pt x="151" y="101"/>
                  </a:cubicBezTo>
                  <a:cubicBezTo>
                    <a:pt x="151" y="100"/>
                    <a:pt x="153" y="99"/>
                    <a:pt x="153" y="97"/>
                  </a:cubicBezTo>
                  <a:cubicBezTo>
                    <a:pt x="153" y="95"/>
                    <a:pt x="153" y="93"/>
                    <a:pt x="153" y="91"/>
                  </a:cubicBezTo>
                  <a:cubicBezTo>
                    <a:pt x="154" y="89"/>
                    <a:pt x="155" y="86"/>
                    <a:pt x="155" y="84"/>
                  </a:cubicBezTo>
                  <a:cubicBezTo>
                    <a:pt x="155" y="82"/>
                    <a:pt x="154" y="80"/>
                    <a:pt x="153" y="78"/>
                  </a:cubicBezTo>
                  <a:cubicBezTo>
                    <a:pt x="153" y="77"/>
                    <a:pt x="153" y="76"/>
                    <a:pt x="152" y="76"/>
                  </a:cubicBezTo>
                  <a:cubicBezTo>
                    <a:pt x="149" y="76"/>
                    <a:pt x="145" y="77"/>
                    <a:pt x="142" y="78"/>
                  </a:cubicBezTo>
                  <a:cubicBezTo>
                    <a:pt x="139" y="79"/>
                    <a:pt x="135" y="81"/>
                    <a:pt x="132" y="81"/>
                  </a:cubicBezTo>
                  <a:cubicBezTo>
                    <a:pt x="130" y="81"/>
                    <a:pt x="131" y="79"/>
                    <a:pt x="132" y="77"/>
                  </a:cubicBezTo>
                  <a:cubicBezTo>
                    <a:pt x="132" y="76"/>
                    <a:pt x="133" y="74"/>
                    <a:pt x="133" y="72"/>
                  </a:cubicBezTo>
                  <a:cubicBezTo>
                    <a:pt x="133" y="68"/>
                    <a:pt x="134" y="64"/>
                    <a:pt x="133" y="61"/>
                  </a:cubicBezTo>
                  <a:cubicBezTo>
                    <a:pt x="132" y="58"/>
                    <a:pt x="127" y="58"/>
                    <a:pt x="127" y="55"/>
                  </a:cubicBezTo>
                  <a:cubicBezTo>
                    <a:pt x="126" y="50"/>
                    <a:pt x="128" y="43"/>
                    <a:pt x="128" y="37"/>
                  </a:cubicBezTo>
                  <a:cubicBezTo>
                    <a:pt x="128" y="35"/>
                    <a:pt x="127" y="33"/>
                    <a:pt x="126" y="30"/>
                  </a:cubicBezTo>
                  <a:cubicBezTo>
                    <a:pt x="126" y="29"/>
                    <a:pt x="128" y="28"/>
                    <a:pt x="127" y="26"/>
                  </a:cubicBezTo>
                  <a:cubicBezTo>
                    <a:pt x="127" y="24"/>
                    <a:pt x="127" y="21"/>
                    <a:pt x="125" y="20"/>
                  </a:cubicBezTo>
                  <a:cubicBezTo>
                    <a:pt x="121" y="18"/>
                    <a:pt x="117" y="21"/>
                    <a:pt x="113" y="21"/>
                  </a:cubicBezTo>
                  <a:cubicBezTo>
                    <a:pt x="112" y="20"/>
                    <a:pt x="112" y="18"/>
                    <a:pt x="111" y="18"/>
                  </a:cubicBezTo>
                  <a:cubicBezTo>
                    <a:pt x="110" y="17"/>
                    <a:pt x="109" y="18"/>
                    <a:pt x="108" y="18"/>
                  </a:cubicBezTo>
                  <a:cubicBezTo>
                    <a:pt x="105" y="18"/>
                    <a:pt x="102" y="18"/>
                    <a:pt x="100" y="20"/>
                  </a:cubicBezTo>
                  <a:cubicBezTo>
                    <a:pt x="98" y="21"/>
                    <a:pt x="100" y="24"/>
                    <a:pt x="99" y="26"/>
                  </a:cubicBezTo>
                  <a:cubicBezTo>
                    <a:pt x="99" y="27"/>
                    <a:pt x="98" y="28"/>
                    <a:pt x="98" y="29"/>
                  </a:cubicBezTo>
                  <a:cubicBezTo>
                    <a:pt x="97" y="30"/>
                    <a:pt x="98" y="32"/>
                    <a:pt x="97" y="33"/>
                  </a:cubicBezTo>
                  <a:cubicBezTo>
                    <a:pt x="95" y="34"/>
                    <a:pt x="93" y="33"/>
                    <a:pt x="92" y="33"/>
                  </a:cubicBezTo>
                  <a:cubicBezTo>
                    <a:pt x="89" y="33"/>
                    <a:pt x="87" y="33"/>
                    <a:pt x="85" y="33"/>
                  </a:cubicBezTo>
                  <a:cubicBezTo>
                    <a:pt x="80" y="33"/>
                    <a:pt x="76" y="35"/>
                    <a:pt x="72" y="33"/>
                  </a:cubicBezTo>
                  <a:cubicBezTo>
                    <a:pt x="68" y="31"/>
                    <a:pt x="67" y="26"/>
                    <a:pt x="66" y="22"/>
                  </a:cubicBezTo>
                  <a:cubicBezTo>
                    <a:pt x="65" y="19"/>
                    <a:pt x="64" y="16"/>
                    <a:pt x="64" y="14"/>
                  </a:cubicBezTo>
                  <a:cubicBezTo>
                    <a:pt x="64" y="11"/>
                    <a:pt x="64" y="9"/>
                    <a:pt x="63" y="6"/>
                  </a:cubicBezTo>
                  <a:cubicBezTo>
                    <a:pt x="63" y="4"/>
                    <a:pt x="64" y="1"/>
                    <a:pt x="62" y="1"/>
                  </a:cubicBezTo>
                  <a:lnTo>
                    <a:pt x="20" y="1"/>
                  </a:lnTo>
                  <a:cubicBezTo>
                    <a:pt x="18" y="1"/>
                    <a:pt x="16" y="1"/>
                    <a:pt x="14" y="1"/>
                  </a:cubicBezTo>
                  <a:cubicBezTo>
                    <a:pt x="12" y="1"/>
                    <a:pt x="11" y="3"/>
                    <a:pt x="10" y="3"/>
                  </a:cubicBezTo>
                  <a:cubicBezTo>
                    <a:pt x="8" y="3"/>
                    <a:pt x="7" y="1"/>
                    <a:pt x="6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" name="Freeform 40"/>
            <p:cNvSpPr>
              <a:spLocks noChangeAspect="1"/>
            </p:cNvSpPr>
            <p:nvPr/>
          </p:nvSpPr>
          <p:spPr bwMode="auto">
            <a:xfrm>
              <a:off x="5253038" y="4219575"/>
              <a:ext cx="255587" cy="303213"/>
            </a:xfrm>
            <a:custGeom>
              <a:avLst/>
              <a:gdLst>
                <a:gd name="T0" fmla="*/ 28610 w 134"/>
                <a:gd name="T1" fmla="*/ 209770 h 159"/>
                <a:gd name="T2" fmla="*/ 40055 w 134"/>
                <a:gd name="T3" fmla="*/ 221212 h 159"/>
                <a:gd name="T4" fmla="*/ 57221 w 134"/>
                <a:gd name="T5" fmla="*/ 230747 h 159"/>
                <a:gd name="T6" fmla="*/ 72480 w 134"/>
                <a:gd name="T7" fmla="*/ 236468 h 159"/>
                <a:gd name="T8" fmla="*/ 83924 w 134"/>
                <a:gd name="T9" fmla="*/ 236468 h 159"/>
                <a:gd name="T10" fmla="*/ 101090 w 134"/>
                <a:gd name="T11" fmla="*/ 246003 h 159"/>
                <a:gd name="T12" fmla="*/ 120164 w 134"/>
                <a:gd name="T13" fmla="*/ 265073 h 159"/>
                <a:gd name="T14" fmla="*/ 118257 w 134"/>
                <a:gd name="T15" fmla="*/ 284143 h 159"/>
                <a:gd name="T16" fmla="*/ 123979 w 134"/>
                <a:gd name="T17" fmla="*/ 295585 h 159"/>
                <a:gd name="T18" fmla="*/ 131608 w 134"/>
                <a:gd name="T19" fmla="*/ 299399 h 159"/>
                <a:gd name="T20" fmla="*/ 144960 w 134"/>
                <a:gd name="T21" fmla="*/ 299399 h 159"/>
                <a:gd name="T22" fmla="*/ 154497 w 134"/>
                <a:gd name="T23" fmla="*/ 289864 h 159"/>
                <a:gd name="T24" fmla="*/ 165941 w 134"/>
                <a:gd name="T25" fmla="*/ 303213 h 159"/>
                <a:gd name="T26" fmla="*/ 179292 w 134"/>
                <a:gd name="T27" fmla="*/ 297492 h 159"/>
                <a:gd name="T28" fmla="*/ 192644 w 134"/>
                <a:gd name="T29" fmla="*/ 301306 h 159"/>
                <a:gd name="T30" fmla="*/ 202181 w 134"/>
                <a:gd name="T31" fmla="*/ 291771 h 159"/>
                <a:gd name="T32" fmla="*/ 209810 w 134"/>
                <a:gd name="T33" fmla="*/ 291771 h 159"/>
                <a:gd name="T34" fmla="*/ 215532 w 134"/>
                <a:gd name="T35" fmla="*/ 295585 h 159"/>
                <a:gd name="T36" fmla="*/ 225069 w 134"/>
                <a:gd name="T37" fmla="*/ 289864 h 159"/>
                <a:gd name="T38" fmla="*/ 236513 w 134"/>
                <a:gd name="T39" fmla="*/ 286050 h 159"/>
                <a:gd name="T40" fmla="*/ 255587 w 134"/>
                <a:gd name="T41" fmla="*/ 268887 h 159"/>
                <a:gd name="T42" fmla="*/ 251772 w 134"/>
                <a:gd name="T43" fmla="*/ 259352 h 159"/>
                <a:gd name="T44" fmla="*/ 246050 w 134"/>
                <a:gd name="T45" fmla="*/ 246003 h 159"/>
                <a:gd name="T46" fmla="*/ 242235 w 134"/>
                <a:gd name="T47" fmla="*/ 232654 h 159"/>
                <a:gd name="T48" fmla="*/ 232699 w 134"/>
                <a:gd name="T49" fmla="*/ 209770 h 159"/>
                <a:gd name="T50" fmla="*/ 234606 w 134"/>
                <a:gd name="T51" fmla="*/ 196421 h 159"/>
                <a:gd name="T52" fmla="*/ 234606 w 134"/>
                <a:gd name="T53" fmla="*/ 181165 h 159"/>
                <a:gd name="T54" fmla="*/ 238421 w 134"/>
                <a:gd name="T55" fmla="*/ 171630 h 159"/>
                <a:gd name="T56" fmla="*/ 230791 w 134"/>
                <a:gd name="T57" fmla="*/ 152560 h 159"/>
                <a:gd name="T58" fmla="*/ 221254 w 134"/>
                <a:gd name="T59" fmla="*/ 144932 h 159"/>
                <a:gd name="T60" fmla="*/ 221254 w 134"/>
                <a:gd name="T61" fmla="*/ 133490 h 159"/>
                <a:gd name="T62" fmla="*/ 226976 w 134"/>
                <a:gd name="T63" fmla="*/ 120141 h 159"/>
                <a:gd name="T64" fmla="*/ 234606 w 134"/>
                <a:gd name="T65" fmla="*/ 110606 h 159"/>
                <a:gd name="T66" fmla="*/ 194551 w 134"/>
                <a:gd name="T67" fmla="*/ 74373 h 159"/>
                <a:gd name="T68" fmla="*/ 192644 w 134"/>
                <a:gd name="T69" fmla="*/ 62931 h 159"/>
                <a:gd name="T70" fmla="*/ 97276 w 134"/>
                <a:gd name="T71" fmla="*/ 0 h 159"/>
                <a:gd name="T72" fmla="*/ 87739 w 134"/>
                <a:gd name="T73" fmla="*/ 5721 h 159"/>
                <a:gd name="T74" fmla="*/ 64850 w 134"/>
                <a:gd name="T75" fmla="*/ 5721 h 159"/>
                <a:gd name="T76" fmla="*/ 36240 w 134"/>
                <a:gd name="T77" fmla="*/ 3814 h 159"/>
                <a:gd name="T78" fmla="*/ 20981 w 134"/>
                <a:gd name="T79" fmla="*/ 7628 h 159"/>
                <a:gd name="T80" fmla="*/ 30518 w 134"/>
                <a:gd name="T81" fmla="*/ 19070 h 159"/>
                <a:gd name="T82" fmla="*/ 30518 w 134"/>
                <a:gd name="T83" fmla="*/ 32419 h 159"/>
                <a:gd name="T84" fmla="*/ 34333 w 134"/>
                <a:gd name="T85" fmla="*/ 41954 h 159"/>
                <a:gd name="T86" fmla="*/ 24796 w 134"/>
                <a:gd name="T87" fmla="*/ 51489 h 159"/>
                <a:gd name="T88" fmla="*/ 24796 w 134"/>
                <a:gd name="T89" fmla="*/ 57210 h 159"/>
                <a:gd name="T90" fmla="*/ 32425 w 134"/>
                <a:gd name="T91" fmla="*/ 62931 h 159"/>
                <a:gd name="T92" fmla="*/ 32425 w 134"/>
                <a:gd name="T93" fmla="*/ 70559 h 159"/>
                <a:gd name="T94" fmla="*/ 22888 w 134"/>
                <a:gd name="T95" fmla="*/ 80094 h 159"/>
                <a:gd name="T96" fmla="*/ 17166 w 134"/>
                <a:gd name="T97" fmla="*/ 89629 h 159"/>
                <a:gd name="T98" fmla="*/ 0 w 134"/>
                <a:gd name="T99" fmla="*/ 108699 h 159"/>
                <a:gd name="T100" fmla="*/ 1907 w 134"/>
                <a:gd name="T101" fmla="*/ 123955 h 159"/>
                <a:gd name="T102" fmla="*/ 1907 w 134"/>
                <a:gd name="T103" fmla="*/ 137304 h 159"/>
                <a:gd name="T104" fmla="*/ 3815 w 134"/>
                <a:gd name="T105" fmla="*/ 154467 h 159"/>
                <a:gd name="T106" fmla="*/ 13352 w 134"/>
                <a:gd name="T107" fmla="*/ 167816 h 159"/>
                <a:gd name="T108" fmla="*/ 22888 w 134"/>
                <a:gd name="T109" fmla="*/ 186886 h 159"/>
                <a:gd name="T110" fmla="*/ 28610 w 134"/>
                <a:gd name="T111" fmla="*/ 209770 h 15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34"/>
                <a:gd name="T169" fmla="*/ 0 h 159"/>
                <a:gd name="T170" fmla="*/ 134 w 134"/>
                <a:gd name="T171" fmla="*/ 159 h 15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34" h="159">
                  <a:moveTo>
                    <a:pt x="15" y="110"/>
                  </a:moveTo>
                  <a:lnTo>
                    <a:pt x="21" y="116"/>
                  </a:lnTo>
                  <a:lnTo>
                    <a:pt x="30" y="121"/>
                  </a:lnTo>
                  <a:lnTo>
                    <a:pt x="38" y="124"/>
                  </a:lnTo>
                  <a:lnTo>
                    <a:pt x="44" y="124"/>
                  </a:lnTo>
                  <a:cubicBezTo>
                    <a:pt x="47" y="126"/>
                    <a:pt x="50" y="127"/>
                    <a:pt x="53" y="129"/>
                  </a:cubicBezTo>
                  <a:cubicBezTo>
                    <a:pt x="57" y="132"/>
                    <a:pt x="61" y="135"/>
                    <a:pt x="63" y="139"/>
                  </a:cubicBezTo>
                  <a:cubicBezTo>
                    <a:pt x="64" y="142"/>
                    <a:pt x="61" y="145"/>
                    <a:pt x="62" y="149"/>
                  </a:cubicBezTo>
                  <a:cubicBezTo>
                    <a:pt x="62" y="151"/>
                    <a:pt x="64" y="153"/>
                    <a:pt x="65" y="155"/>
                  </a:cubicBezTo>
                  <a:cubicBezTo>
                    <a:pt x="67" y="156"/>
                    <a:pt x="68" y="156"/>
                    <a:pt x="69" y="157"/>
                  </a:cubicBezTo>
                  <a:cubicBezTo>
                    <a:pt x="71" y="157"/>
                    <a:pt x="74" y="157"/>
                    <a:pt x="76" y="157"/>
                  </a:cubicBezTo>
                  <a:cubicBezTo>
                    <a:pt x="78" y="156"/>
                    <a:pt x="79" y="152"/>
                    <a:pt x="81" y="152"/>
                  </a:cubicBezTo>
                  <a:cubicBezTo>
                    <a:pt x="84" y="153"/>
                    <a:pt x="84" y="158"/>
                    <a:pt x="87" y="159"/>
                  </a:cubicBezTo>
                  <a:cubicBezTo>
                    <a:pt x="90" y="159"/>
                    <a:pt x="92" y="156"/>
                    <a:pt x="94" y="156"/>
                  </a:cubicBezTo>
                  <a:cubicBezTo>
                    <a:pt x="97" y="156"/>
                    <a:pt x="98" y="159"/>
                    <a:pt x="101" y="158"/>
                  </a:cubicBezTo>
                  <a:cubicBezTo>
                    <a:pt x="103" y="157"/>
                    <a:pt x="103" y="154"/>
                    <a:pt x="106" y="153"/>
                  </a:cubicBezTo>
                  <a:cubicBezTo>
                    <a:pt x="107" y="152"/>
                    <a:pt x="109" y="152"/>
                    <a:pt x="110" y="153"/>
                  </a:cubicBezTo>
                  <a:cubicBezTo>
                    <a:pt x="112" y="153"/>
                    <a:pt x="112" y="155"/>
                    <a:pt x="113" y="155"/>
                  </a:cubicBezTo>
                  <a:cubicBezTo>
                    <a:pt x="115" y="154"/>
                    <a:pt x="117" y="153"/>
                    <a:pt x="118" y="152"/>
                  </a:cubicBezTo>
                  <a:cubicBezTo>
                    <a:pt x="120" y="151"/>
                    <a:pt x="123" y="151"/>
                    <a:pt x="124" y="150"/>
                  </a:cubicBezTo>
                  <a:cubicBezTo>
                    <a:pt x="128" y="148"/>
                    <a:pt x="131" y="144"/>
                    <a:pt x="134" y="141"/>
                  </a:cubicBezTo>
                  <a:cubicBezTo>
                    <a:pt x="134" y="139"/>
                    <a:pt x="133" y="138"/>
                    <a:pt x="132" y="136"/>
                  </a:cubicBezTo>
                  <a:cubicBezTo>
                    <a:pt x="131" y="134"/>
                    <a:pt x="129" y="132"/>
                    <a:pt x="129" y="129"/>
                  </a:cubicBezTo>
                  <a:cubicBezTo>
                    <a:pt x="128" y="127"/>
                    <a:pt x="128" y="124"/>
                    <a:pt x="127" y="122"/>
                  </a:cubicBezTo>
                  <a:cubicBezTo>
                    <a:pt x="126" y="118"/>
                    <a:pt x="123" y="114"/>
                    <a:pt x="122" y="110"/>
                  </a:cubicBezTo>
                  <a:cubicBezTo>
                    <a:pt x="122" y="108"/>
                    <a:pt x="123" y="105"/>
                    <a:pt x="123" y="103"/>
                  </a:cubicBezTo>
                  <a:cubicBezTo>
                    <a:pt x="124" y="100"/>
                    <a:pt x="123" y="97"/>
                    <a:pt x="123" y="95"/>
                  </a:cubicBezTo>
                  <a:cubicBezTo>
                    <a:pt x="124" y="93"/>
                    <a:pt x="125" y="92"/>
                    <a:pt x="125" y="90"/>
                  </a:cubicBezTo>
                  <a:cubicBezTo>
                    <a:pt x="124" y="86"/>
                    <a:pt x="123" y="83"/>
                    <a:pt x="121" y="80"/>
                  </a:cubicBezTo>
                  <a:cubicBezTo>
                    <a:pt x="120" y="78"/>
                    <a:pt x="117" y="78"/>
                    <a:pt x="116" y="76"/>
                  </a:cubicBezTo>
                  <a:cubicBezTo>
                    <a:pt x="115" y="74"/>
                    <a:pt x="116" y="72"/>
                    <a:pt x="116" y="70"/>
                  </a:cubicBezTo>
                  <a:cubicBezTo>
                    <a:pt x="117" y="67"/>
                    <a:pt x="118" y="65"/>
                    <a:pt x="119" y="63"/>
                  </a:cubicBezTo>
                  <a:cubicBezTo>
                    <a:pt x="120" y="61"/>
                    <a:pt x="122" y="59"/>
                    <a:pt x="123" y="58"/>
                  </a:cubicBezTo>
                  <a:lnTo>
                    <a:pt x="102" y="39"/>
                  </a:lnTo>
                  <a:lnTo>
                    <a:pt x="101" y="33"/>
                  </a:lnTo>
                  <a:lnTo>
                    <a:pt x="51" y="0"/>
                  </a:lnTo>
                  <a:cubicBezTo>
                    <a:pt x="49" y="1"/>
                    <a:pt x="48" y="2"/>
                    <a:pt x="46" y="3"/>
                  </a:cubicBezTo>
                  <a:cubicBezTo>
                    <a:pt x="42" y="4"/>
                    <a:pt x="38" y="4"/>
                    <a:pt x="34" y="3"/>
                  </a:cubicBezTo>
                  <a:cubicBezTo>
                    <a:pt x="29" y="3"/>
                    <a:pt x="24" y="2"/>
                    <a:pt x="19" y="2"/>
                  </a:cubicBezTo>
                  <a:cubicBezTo>
                    <a:pt x="16" y="2"/>
                    <a:pt x="14" y="4"/>
                    <a:pt x="11" y="4"/>
                  </a:cubicBezTo>
                  <a:cubicBezTo>
                    <a:pt x="13" y="6"/>
                    <a:pt x="15" y="7"/>
                    <a:pt x="16" y="10"/>
                  </a:cubicBezTo>
                  <a:cubicBezTo>
                    <a:pt x="17" y="12"/>
                    <a:pt x="16" y="14"/>
                    <a:pt x="16" y="17"/>
                  </a:cubicBezTo>
                  <a:cubicBezTo>
                    <a:pt x="16" y="18"/>
                    <a:pt x="18" y="20"/>
                    <a:pt x="18" y="22"/>
                  </a:cubicBezTo>
                  <a:cubicBezTo>
                    <a:pt x="17" y="24"/>
                    <a:pt x="14" y="25"/>
                    <a:pt x="13" y="27"/>
                  </a:cubicBezTo>
                  <a:lnTo>
                    <a:pt x="13" y="30"/>
                  </a:lnTo>
                  <a:lnTo>
                    <a:pt x="17" y="33"/>
                  </a:lnTo>
                  <a:lnTo>
                    <a:pt x="17" y="37"/>
                  </a:lnTo>
                  <a:lnTo>
                    <a:pt x="12" y="42"/>
                  </a:lnTo>
                  <a:lnTo>
                    <a:pt x="9" y="47"/>
                  </a:lnTo>
                  <a:lnTo>
                    <a:pt x="0" y="57"/>
                  </a:lnTo>
                  <a:cubicBezTo>
                    <a:pt x="0" y="60"/>
                    <a:pt x="1" y="63"/>
                    <a:pt x="1" y="65"/>
                  </a:cubicBezTo>
                  <a:cubicBezTo>
                    <a:pt x="1" y="68"/>
                    <a:pt x="1" y="70"/>
                    <a:pt x="1" y="72"/>
                  </a:cubicBezTo>
                  <a:cubicBezTo>
                    <a:pt x="1" y="75"/>
                    <a:pt x="1" y="78"/>
                    <a:pt x="2" y="81"/>
                  </a:cubicBezTo>
                  <a:cubicBezTo>
                    <a:pt x="3" y="84"/>
                    <a:pt x="5" y="86"/>
                    <a:pt x="7" y="88"/>
                  </a:cubicBezTo>
                  <a:cubicBezTo>
                    <a:pt x="9" y="92"/>
                    <a:pt x="11" y="95"/>
                    <a:pt x="12" y="98"/>
                  </a:cubicBezTo>
                  <a:cubicBezTo>
                    <a:pt x="14" y="102"/>
                    <a:pt x="14" y="106"/>
                    <a:pt x="15" y="11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" name="Freeform 41"/>
            <p:cNvSpPr>
              <a:spLocks noChangeAspect="1"/>
            </p:cNvSpPr>
            <p:nvPr/>
          </p:nvSpPr>
          <p:spPr bwMode="auto">
            <a:xfrm>
              <a:off x="5240338" y="4262438"/>
              <a:ext cx="46037" cy="65087"/>
            </a:xfrm>
            <a:custGeom>
              <a:avLst/>
              <a:gdLst>
                <a:gd name="T0" fmla="*/ 13427 w 24"/>
                <a:gd name="T1" fmla="*/ 65087 h 34"/>
                <a:gd name="T2" fmla="*/ 9591 w 24"/>
                <a:gd name="T3" fmla="*/ 49772 h 34"/>
                <a:gd name="T4" fmla="*/ 5755 w 24"/>
                <a:gd name="T5" fmla="*/ 24886 h 34"/>
                <a:gd name="T6" fmla="*/ 7673 w 24"/>
                <a:gd name="T7" fmla="*/ 17229 h 34"/>
                <a:gd name="T8" fmla="*/ 0 w 24"/>
                <a:gd name="T9" fmla="*/ 9572 h 34"/>
                <a:gd name="T10" fmla="*/ 7673 w 24"/>
                <a:gd name="T11" fmla="*/ 7657 h 34"/>
                <a:gd name="T12" fmla="*/ 11509 w 24"/>
                <a:gd name="T13" fmla="*/ 11486 h 34"/>
                <a:gd name="T14" fmla="*/ 19182 w 24"/>
                <a:gd name="T15" fmla="*/ 11486 h 34"/>
                <a:gd name="T16" fmla="*/ 23019 w 24"/>
                <a:gd name="T17" fmla="*/ 1914 h 34"/>
                <a:gd name="T18" fmla="*/ 32610 w 24"/>
                <a:gd name="T19" fmla="*/ 3829 h 34"/>
                <a:gd name="T20" fmla="*/ 38364 w 24"/>
                <a:gd name="T21" fmla="*/ 7657 h 34"/>
                <a:gd name="T22" fmla="*/ 38364 w 24"/>
                <a:gd name="T23" fmla="*/ 13400 h 34"/>
                <a:gd name="T24" fmla="*/ 46037 w 24"/>
                <a:gd name="T25" fmla="*/ 19143 h 34"/>
                <a:gd name="T26" fmla="*/ 46037 w 24"/>
                <a:gd name="T27" fmla="*/ 26801 h 34"/>
                <a:gd name="T28" fmla="*/ 36446 w 24"/>
                <a:gd name="T29" fmla="*/ 36372 h 34"/>
                <a:gd name="T30" fmla="*/ 30691 w 24"/>
                <a:gd name="T31" fmla="*/ 45944 h 34"/>
                <a:gd name="T32" fmla="*/ 13427 w 24"/>
                <a:gd name="T33" fmla="*/ 65087 h 3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"/>
                <a:gd name="T52" fmla="*/ 0 h 34"/>
                <a:gd name="T53" fmla="*/ 24 w 24"/>
                <a:gd name="T54" fmla="*/ 34 h 3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" h="34">
                  <a:moveTo>
                    <a:pt x="7" y="34"/>
                  </a:moveTo>
                  <a:cubicBezTo>
                    <a:pt x="6" y="31"/>
                    <a:pt x="5" y="29"/>
                    <a:pt x="5" y="26"/>
                  </a:cubicBezTo>
                  <a:cubicBezTo>
                    <a:pt x="4" y="22"/>
                    <a:pt x="3" y="17"/>
                    <a:pt x="3" y="13"/>
                  </a:cubicBezTo>
                  <a:cubicBezTo>
                    <a:pt x="3" y="12"/>
                    <a:pt x="4" y="11"/>
                    <a:pt x="4" y="9"/>
                  </a:cubicBezTo>
                  <a:cubicBezTo>
                    <a:pt x="3" y="8"/>
                    <a:pt x="2" y="6"/>
                    <a:pt x="0" y="5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5" y="4"/>
                    <a:pt x="5" y="6"/>
                    <a:pt x="6" y="6"/>
                  </a:cubicBezTo>
                  <a:cubicBezTo>
                    <a:pt x="7" y="6"/>
                    <a:pt x="9" y="6"/>
                    <a:pt x="10" y="6"/>
                  </a:cubicBezTo>
                  <a:cubicBezTo>
                    <a:pt x="11" y="5"/>
                    <a:pt x="11" y="2"/>
                    <a:pt x="12" y="1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9" y="2"/>
                    <a:pt x="19" y="3"/>
                    <a:pt x="20" y="4"/>
                  </a:cubicBezTo>
                  <a:lnTo>
                    <a:pt x="20" y="7"/>
                  </a:lnTo>
                  <a:lnTo>
                    <a:pt x="24" y="10"/>
                  </a:lnTo>
                  <a:lnTo>
                    <a:pt x="24" y="14"/>
                  </a:lnTo>
                  <a:lnTo>
                    <a:pt x="19" y="19"/>
                  </a:lnTo>
                  <a:lnTo>
                    <a:pt x="16" y="24"/>
                  </a:lnTo>
                  <a:lnTo>
                    <a:pt x="7" y="34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" name="Freeform 42"/>
            <p:cNvSpPr>
              <a:spLocks noChangeAspect="1"/>
            </p:cNvSpPr>
            <p:nvPr/>
          </p:nvSpPr>
          <p:spPr bwMode="auto">
            <a:xfrm>
              <a:off x="5238750" y="4227513"/>
              <a:ext cx="49213" cy="47625"/>
            </a:xfrm>
            <a:custGeom>
              <a:avLst/>
              <a:gdLst>
                <a:gd name="T0" fmla="*/ 1893 w 26"/>
                <a:gd name="T1" fmla="*/ 45720 h 25"/>
                <a:gd name="T2" fmla="*/ 0 w 26"/>
                <a:gd name="T3" fmla="*/ 38100 h 25"/>
                <a:gd name="T4" fmla="*/ 7571 w 26"/>
                <a:gd name="T5" fmla="*/ 15240 h 25"/>
                <a:gd name="T6" fmla="*/ 15142 w 26"/>
                <a:gd name="T7" fmla="*/ 5715 h 25"/>
                <a:gd name="T8" fmla="*/ 26499 w 26"/>
                <a:gd name="T9" fmla="*/ 7620 h 25"/>
                <a:gd name="T10" fmla="*/ 35963 w 26"/>
                <a:gd name="T11" fmla="*/ 0 h 25"/>
                <a:gd name="T12" fmla="*/ 45427 w 26"/>
                <a:gd name="T13" fmla="*/ 11430 h 25"/>
                <a:gd name="T14" fmla="*/ 45427 w 26"/>
                <a:gd name="T15" fmla="*/ 24765 h 25"/>
                <a:gd name="T16" fmla="*/ 49213 w 26"/>
                <a:gd name="T17" fmla="*/ 34290 h 25"/>
                <a:gd name="T18" fmla="*/ 39749 w 26"/>
                <a:gd name="T19" fmla="*/ 43815 h 25"/>
                <a:gd name="T20" fmla="*/ 34071 w 26"/>
                <a:gd name="T21" fmla="*/ 40005 h 25"/>
                <a:gd name="T22" fmla="*/ 24607 w 26"/>
                <a:gd name="T23" fmla="*/ 38100 h 25"/>
                <a:gd name="T24" fmla="*/ 20821 w 26"/>
                <a:gd name="T25" fmla="*/ 47625 h 25"/>
                <a:gd name="T26" fmla="*/ 13250 w 26"/>
                <a:gd name="T27" fmla="*/ 47625 h 25"/>
                <a:gd name="T28" fmla="*/ 9464 w 26"/>
                <a:gd name="T29" fmla="*/ 43815 h 25"/>
                <a:gd name="T30" fmla="*/ 1893 w 26"/>
                <a:gd name="T31" fmla="*/ 45720 h 2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6"/>
                <a:gd name="T49" fmla="*/ 0 h 25"/>
                <a:gd name="T50" fmla="*/ 26 w 26"/>
                <a:gd name="T51" fmla="*/ 25 h 2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6" h="25">
                  <a:moveTo>
                    <a:pt x="1" y="24"/>
                  </a:moveTo>
                  <a:cubicBezTo>
                    <a:pt x="1" y="22"/>
                    <a:pt x="0" y="21"/>
                    <a:pt x="0" y="20"/>
                  </a:cubicBezTo>
                  <a:cubicBezTo>
                    <a:pt x="1" y="16"/>
                    <a:pt x="3" y="12"/>
                    <a:pt x="4" y="8"/>
                  </a:cubicBezTo>
                  <a:cubicBezTo>
                    <a:pt x="5" y="6"/>
                    <a:pt x="7" y="5"/>
                    <a:pt x="8" y="3"/>
                  </a:cubicBezTo>
                  <a:cubicBezTo>
                    <a:pt x="10" y="4"/>
                    <a:pt x="12" y="5"/>
                    <a:pt x="14" y="4"/>
                  </a:cubicBezTo>
                  <a:cubicBezTo>
                    <a:pt x="17" y="4"/>
                    <a:pt x="18" y="1"/>
                    <a:pt x="19" y="0"/>
                  </a:cubicBezTo>
                  <a:cubicBezTo>
                    <a:pt x="21" y="2"/>
                    <a:pt x="23" y="3"/>
                    <a:pt x="24" y="6"/>
                  </a:cubicBezTo>
                  <a:cubicBezTo>
                    <a:pt x="25" y="8"/>
                    <a:pt x="24" y="10"/>
                    <a:pt x="24" y="13"/>
                  </a:cubicBezTo>
                  <a:cubicBezTo>
                    <a:pt x="24" y="14"/>
                    <a:pt x="26" y="16"/>
                    <a:pt x="26" y="18"/>
                  </a:cubicBezTo>
                  <a:cubicBezTo>
                    <a:pt x="25" y="20"/>
                    <a:pt x="22" y="21"/>
                    <a:pt x="21" y="23"/>
                  </a:cubicBezTo>
                  <a:cubicBezTo>
                    <a:pt x="20" y="22"/>
                    <a:pt x="20" y="21"/>
                    <a:pt x="18" y="21"/>
                  </a:cubicBezTo>
                  <a:cubicBezTo>
                    <a:pt x="17" y="20"/>
                    <a:pt x="15" y="19"/>
                    <a:pt x="13" y="20"/>
                  </a:cubicBezTo>
                  <a:cubicBezTo>
                    <a:pt x="12" y="21"/>
                    <a:pt x="12" y="24"/>
                    <a:pt x="11" y="25"/>
                  </a:cubicBezTo>
                  <a:cubicBezTo>
                    <a:pt x="10" y="25"/>
                    <a:pt x="8" y="25"/>
                    <a:pt x="7" y="25"/>
                  </a:cubicBezTo>
                  <a:cubicBezTo>
                    <a:pt x="6" y="25"/>
                    <a:pt x="6" y="23"/>
                    <a:pt x="5" y="23"/>
                  </a:cubicBezTo>
                  <a:cubicBezTo>
                    <a:pt x="4" y="23"/>
                    <a:pt x="3" y="23"/>
                    <a:pt x="1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" name="Freeform 43"/>
            <p:cNvSpPr>
              <a:spLocks noChangeAspect="1"/>
            </p:cNvSpPr>
            <p:nvPr/>
          </p:nvSpPr>
          <p:spPr bwMode="auto">
            <a:xfrm>
              <a:off x="4830763" y="4319588"/>
              <a:ext cx="26987" cy="41275"/>
            </a:xfrm>
            <a:custGeom>
              <a:avLst/>
              <a:gdLst>
                <a:gd name="T0" fmla="*/ 5783 w 14"/>
                <a:gd name="T1" fmla="*/ 39310 h 21"/>
                <a:gd name="T2" fmla="*/ 5783 w 14"/>
                <a:gd name="T3" fmla="*/ 27517 h 21"/>
                <a:gd name="T4" fmla="*/ 0 w 14"/>
                <a:gd name="T5" fmla="*/ 15724 h 21"/>
                <a:gd name="T6" fmla="*/ 19276 w 14"/>
                <a:gd name="T7" fmla="*/ 1965 h 21"/>
                <a:gd name="T8" fmla="*/ 26987 w 14"/>
                <a:gd name="T9" fmla="*/ 7862 h 21"/>
                <a:gd name="T10" fmla="*/ 11566 w 14"/>
                <a:gd name="T11" fmla="*/ 17689 h 21"/>
                <a:gd name="T12" fmla="*/ 13494 w 14"/>
                <a:gd name="T13" fmla="*/ 37344 h 21"/>
                <a:gd name="T14" fmla="*/ 5783 w 14"/>
                <a:gd name="T15" fmla="*/ 39310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21"/>
                <a:gd name="T26" fmla="*/ 14 w 14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21">
                  <a:moveTo>
                    <a:pt x="3" y="20"/>
                  </a:moveTo>
                  <a:cubicBezTo>
                    <a:pt x="3" y="18"/>
                    <a:pt x="3" y="16"/>
                    <a:pt x="3" y="14"/>
                  </a:cubicBezTo>
                  <a:cubicBezTo>
                    <a:pt x="2" y="12"/>
                    <a:pt x="1" y="10"/>
                    <a:pt x="0" y="8"/>
                  </a:cubicBezTo>
                  <a:cubicBezTo>
                    <a:pt x="3" y="6"/>
                    <a:pt x="6" y="2"/>
                    <a:pt x="10" y="1"/>
                  </a:cubicBezTo>
                  <a:cubicBezTo>
                    <a:pt x="11" y="0"/>
                    <a:pt x="13" y="3"/>
                    <a:pt x="14" y="4"/>
                  </a:cubicBezTo>
                  <a:cubicBezTo>
                    <a:pt x="11" y="5"/>
                    <a:pt x="8" y="7"/>
                    <a:pt x="6" y="9"/>
                  </a:cubicBezTo>
                  <a:cubicBezTo>
                    <a:pt x="5" y="12"/>
                    <a:pt x="8" y="16"/>
                    <a:pt x="7" y="19"/>
                  </a:cubicBezTo>
                  <a:cubicBezTo>
                    <a:pt x="6" y="21"/>
                    <a:pt x="4" y="20"/>
                    <a:pt x="3" y="2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" name="Freeform 44"/>
            <p:cNvSpPr>
              <a:spLocks noChangeAspect="1"/>
            </p:cNvSpPr>
            <p:nvPr/>
          </p:nvSpPr>
          <p:spPr bwMode="auto">
            <a:xfrm>
              <a:off x="4837113" y="4052888"/>
              <a:ext cx="458787" cy="525462"/>
            </a:xfrm>
            <a:custGeom>
              <a:avLst/>
              <a:gdLst>
                <a:gd name="T0" fmla="*/ 34266 w 241"/>
                <a:gd name="T1" fmla="*/ 271329 h 275"/>
                <a:gd name="T2" fmla="*/ 62821 w 241"/>
                <a:gd name="T3" fmla="*/ 277062 h 275"/>
                <a:gd name="T4" fmla="*/ 97088 w 241"/>
                <a:gd name="T5" fmla="*/ 231203 h 275"/>
                <a:gd name="T6" fmla="*/ 112317 w 241"/>
                <a:gd name="T7" fmla="*/ 181523 h 275"/>
                <a:gd name="T8" fmla="*/ 137065 w 241"/>
                <a:gd name="T9" fmla="*/ 162416 h 275"/>
                <a:gd name="T10" fmla="*/ 138969 w 241"/>
                <a:gd name="T11" fmla="*/ 103182 h 275"/>
                <a:gd name="T12" fmla="*/ 154198 w 241"/>
                <a:gd name="T13" fmla="*/ 45858 h 275"/>
                <a:gd name="T14" fmla="*/ 169428 w 241"/>
                <a:gd name="T15" fmla="*/ 5732 h 275"/>
                <a:gd name="T16" fmla="*/ 217020 w 241"/>
                <a:gd name="T17" fmla="*/ 24840 h 275"/>
                <a:gd name="T18" fmla="*/ 256997 w 241"/>
                <a:gd name="T19" fmla="*/ 11465 h 275"/>
                <a:gd name="T20" fmla="*/ 295071 w 241"/>
                <a:gd name="T21" fmla="*/ 3822 h 275"/>
                <a:gd name="T22" fmla="*/ 317915 w 241"/>
                <a:gd name="T23" fmla="*/ 0 h 275"/>
                <a:gd name="T24" fmla="*/ 342663 w 241"/>
                <a:gd name="T25" fmla="*/ 11465 h 275"/>
                <a:gd name="T26" fmla="*/ 375025 w 241"/>
                <a:gd name="T27" fmla="*/ 17197 h 275"/>
                <a:gd name="T28" fmla="*/ 407388 w 241"/>
                <a:gd name="T29" fmla="*/ 19108 h 275"/>
                <a:gd name="T30" fmla="*/ 437847 w 241"/>
                <a:gd name="T31" fmla="*/ 43948 h 275"/>
                <a:gd name="T32" fmla="*/ 443558 w 241"/>
                <a:gd name="T33" fmla="*/ 63055 h 275"/>
                <a:gd name="T34" fmla="*/ 458787 w 241"/>
                <a:gd name="T35" fmla="*/ 85985 h 275"/>
                <a:gd name="T36" fmla="*/ 437847 w 241"/>
                <a:gd name="T37" fmla="*/ 110825 h 275"/>
                <a:gd name="T38" fmla="*/ 420713 w 241"/>
                <a:gd name="T39" fmla="*/ 147129 h 275"/>
                <a:gd name="T40" fmla="*/ 409291 w 241"/>
                <a:gd name="T41" fmla="*/ 189166 h 275"/>
                <a:gd name="T42" fmla="*/ 411195 w 241"/>
                <a:gd name="T43" fmla="*/ 227382 h 275"/>
                <a:gd name="T44" fmla="*/ 416906 w 241"/>
                <a:gd name="T45" fmla="*/ 275151 h 275"/>
                <a:gd name="T46" fmla="*/ 420713 w 241"/>
                <a:gd name="T47" fmla="*/ 321009 h 275"/>
                <a:gd name="T48" fmla="*/ 445461 w 241"/>
                <a:gd name="T49" fmla="*/ 376422 h 275"/>
                <a:gd name="T50" fmla="*/ 397869 w 241"/>
                <a:gd name="T51" fmla="*/ 418459 h 275"/>
                <a:gd name="T52" fmla="*/ 392158 w 241"/>
                <a:gd name="T53" fmla="*/ 475782 h 275"/>
                <a:gd name="T54" fmla="*/ 422617 w 241"/>
                <a:gd name="T55" fmla="*/ 487246 h 275"/>
                <a:gd name="T56" fmla="*/ 388351 w 241"/>
                <a:gd name="T57" fmla="*/ 500622 h 275"/>
                <a:gd name="T58" fmla="*/ 354085 w 241"/>
                <a:gd name="T59" fmla="*/ 466228 h 275"/>
                <a:gd name="T60" fmla="*/ 312204 w 241"/>
                <a:gd name="T61" fmla="*/ 464317 h 275"/>
                <a:gd name="T62" fmla="*/ 279841 w 241"/>
                <a:gd name="T63" fmla="*/ 454763 h 275"/>
                <a:gd name="T64" fmla="*/ 239864 w 241"/>
                <a:gd name="T65" fmla="*/ 460496 h 275"/>
                <a:gd name="T66" fmla="*/ 241767 w 241"/>
                <a:gd name="T67" fmla="*/ 422280 h 275"/>
                <a:gd name="T68" fmla="*/ 228442 w 241"/>
                <a:gd name="T69" fmla="*/ 363046 h 275"/>
                <a:gd name="T70" fmla="*/ 203694 w 241"/>
                <a:gd name="T71" fmla="*/ 345849 h 275"/>
                <a:gd name="T72" fmla="*/ 178946 w 241"/>
                <a:gd name="T73" fmla="*/ 343939 h 275"/>
                <a:gd name="T74" fmla="*/ 173235 w 241"/>
                <a:gd name="T75" fmla="*/ 368779 h 275"/>
                <a:gd name="T76" fmla="*/ 125643 w 241"/>
                <a:gd name="T77" fmla="*/ 368779 h 275"/>
                <a:gd name="T78" fmla="*/ 108510 w 241"/>
                <a:gd name="T79" fmla="*/ 317188 h 275"/>
                <a:gd name="T80" fmla="*/ 15229 w 241"/>
                <a:gd name="T81" fmla="*/ 307634 h 275"/>
                <a:gd name="T82" fmla="*/ 7615 w 241"/>
                <a:gd name="T83" fmla="*/ 303813 h 2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41"/>
                <a:gd name="T127" fmla="*/ 0 h 275"/>
                <a:gd name="T128" fmla="*/ 241 w 241"/>
                <a:gd name="T129" fmla="*/ 275 h 2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41" h="275">
                  <a:moveTo>
                    <a:pt x="11" y="144"/>
                  </a:moveTo>
                  <a:cubicBezTo>
                    <a:pt x="12" y="144"/>
                    <a:pt x="14" y="147"/>
                    <a:pt x="16" y="147"/>
                  </a:cubicBezTo>
                  <a:cubicBezTo>
                    <a:pt x="17" y="146"/>
                    <a:pt x="17" y="143"/>
                    <a:pt x="18" y="142"/>
                  </a:cubicBezTo>
                  <a:cubicBezTo>
                    <a:pt x="21" y="140"/>
                    <a:pt x="24" y="138"/>
                    <a:pt x="27" y="138"/>
                  </a:cubicBezTo>
                  <a:cubicBezTo>
                    <a:pt x="29" y="138"/>
                    <a:pt x="26" y="142"/>
                    <a:pt x="27" y="144"/>
                  </a:cubicBezTo>
                  <a:cubicBezTo>
                    <a:pt x="28" y="145"/>
                    <a:pt x="31" y="146"/>
                    <a:pt x="33" y="145"/>
                  </a:cubicBezTo>
                  <a:cubicBezTo>
                    <a:pt x="36" y="144"/>
                    <a:pt x="36" y="140"/>
                    <a:pt x="38" y="138"/>
                  </a:cubicBezTo>
                  <a:cubicBezTo>
                    <a:pt x="40" y="136"/>
                    <a:pt x="45" y="137"/>
                    <a:pt x="47" y="134"/>
                  </a:cubicBezTo>
                  <a:cubicBezTo>
                    <a:pt x="49" y="130"/>
                    <a:pt x="50" y="126"/>
                    <a:pt x="51" y="121"/>
                  </a:cubicBezTo>
                  <a:cubicBezTo>
                    <a:pt x="52" y="117"/>
                    <a:pt x="49" y="113"/>
                    <a:pt x="50" y="110"/>
                  </a:cubicBezTo>
                  <a:cubicBezTo>
                    <a:pt x="51" y="106"/>
                    <a:pt x="55" y="104"/>
                    <a:pt x="57" y="101"/>
                  </a:cubicBezTo>
                  <a:cubicBezTo>
                    <a:pt x="58" y="99"/>
                    <a:pt x="57" y="96"/>
                    <a:pt x="59" y="95"/>
                  </a:cubicBezTo>
                  <a:cubicBezTo>
                    <a:pt x="61" y="93"/>
                    <a:pt x="64" y="94"/>
                    <a:pt x="66" y="93"/>
                  </a:cubicBezTo>
                  <a:cubicBezTo>
                    <a:pt x="67" y="92"/>
                    <a:pt x="65" y="89"/>
                    <a:pt x="66" y="88"/>
                  </a:cubicBezTo>
                  <a:cubicBezTo>
                    <a:pt x="67" y="87"/>
                    <a:pt x="71" y="87"/>
                    <a:pt x="72" y="85"/>
                  </a:cubicBezTo>
                  <a:cubicBezTo>
                    <a:pt x="73" y="82"/>
                    <a:pt x="71" y="78"/>
                    <a:pt x="72" y="75"/>
                  </a:cubicBezTo>
                  <a:cubicBezTo>
                    <a:pt x="72" y="71"/>
                    <a:pt x="72" y="67"/>
                    <a:pt x="72" y="63"/>
                  </a:cubicBezTo>
                  <a:cubicBezTo>
                    <a:pt x="72" y="60"/>
                    <a:pt x="73" y="57"/>
                    <a:pt x="73" y="54"/>
                  </a:cubicBezTo>
                  <a:cubicBezTo>
                    <a:pt x="74" y="49"/>
                    <a:pt x="75" y="45"/>
                    <a:pt x="77" y="41"/>
                  </a:cubicBezTo>
                  <a:cubicBezTo>
                    <a:pt x="78" y="37"/>
                    <a:pt x="81" y="34"/>
                    <a:pt x="81" y="30"/>
                  </a:cubicBezTo>
                  <a:cubicBezTo>
                    <a:pt x="82" y="28"/>
                    <a:pt x="81" y="26"/>
                    <a:pt x="81" y="24"/>
                  </a:cubicBezTo>
                  <a:cubicBezTo>
                    <a:pt x="81" y="21"/>
                    <a:pt x="80" y="18"/>
                    <a:pt x="81" y="14"/>
                  </a:cubicBezTo>
                  <a:cubicBezTo>
                    <a:pt x="81" y="12"/>
                    <a:pt x="83" y="9"/>
                    <a:pt x="84" y="7"/>
                  </a:cubicBezTo>
                  <a:cubicBezTo>
                    <a:pt x="85" y="5"/>
                    <a:pt x="87" y="4"/>
                    <a:pt x="89" y="3"/>
                  </a:cubicBezTo>
                  <a:cubicBezTo>
                    <a:pt x="90" y="3"/>
                    <a:pt x="93" y="2"/>
                    <a:pt x="94" y="3"/>
                  </a:cubicBezTo>
                  <a:cubicBezTo>
                    <a:pt x="98" y="5"/>
                    <a:pt x="101" y="9"/>
                    <a:pt x="105" y="11"/>
                  </a:cubicBezTo>
                  <a:cubicBezTo>
                    <a:pt x="108" y="13"/>
                    <a:pt x="111" y="12"/>
                    <a:pt x="114" y="13"/>
                  </a:cubicBezTo>
                  <a:cubicBezTo>
                    <a:pt x="119" y="14"/>
                    <a:pt x="123" y="17"/>
                    <a:pt x="127" y="16"/>
                  </a:cubicBezTo>
                  <a:cubicBezTo>
                    <a:pt x="130" y="16"/>
                    <a:pt x="130" y="11"/>
                    <a:pt x="131" y="9"/>
                  </a:cubicBezTo>
                  <a:cubicBezTo>
                    <a:pt x="132" y="8"/>
                    <a:pt x="134" y="6"/>
                    <a:pt x="135" y="6"/>
                  </a:cubicBezTo>
                  <a:cubicBezTo>
                    <a:pt x="138" y="6"/>
                    <a:pt x="140" y="9"/>
                    <a:pt x="142" y="9"/>
                  </a:cubicBezTo>
                  <a:cubicBezTo>
                    <a:pt x="145" y="9"/>
                    <a:pt x="149" y="7"/>
                    <a:pt x="152" y="6"/>
                  </a:cubicBezTo>
                  <a:cubicBezTo>
                    <a:pt x="153" y="5"/>
                    <a:pt x="154" y="2"/>
                    <a:pt x="155" y="2"/>
                  </a:cubicBezTo>
                  <a:cubicBezTo>
                    <a:pt x="157" y="2"/>
                    <a:pt x="157" y="5"/>
                    <a:pt x="158" y="5"/>
                  </a:cubicBezTo>
                  <a:cubicBezTo>
                    <a:pt x="160" y="6"/>
                    <a:pt x="162" y="6"/>
                    <a:pt x="164" y="5"/>
                  </a:cubicBezTo>
                  <a:cubicBezTo>
                    <a:pt x="166" y="4"/>
                    <a:pt x="165" y="0"/>
                    <a:pt x="167" y="0"/>
                  </a:cubicBezTo>
                  <a:cubicBezTo>
                    <a:pt x="170" y="0"/>
                    <a:pt x="171" y="4"/>
                    <a:pt x="173" y="4"/>
                  </a:cubicBezTo>
                  <a:cubicBezTo>
                    <a:pt x="175" y="4"/>
                    <a:pt x="176" y="2"/>
                    <a:pt x="177" y="2"/>
                  </a:cubicBezTo>
                  <a:cubicBezTo>
                    <a:pt x="179" y="2"/>
                    <a:pt x="178" y="6"/>
                    <a:pt x="180" y="6"/>
                  </a:cubicBezTo>
                  <a:cubicBezTo>
                    <a:pt x="183" y="5"/>
                    <a:pt x="184" y="2"/>
                    <a:pt x="187" y="2"/>
                  </a:cubicBezTo>
                  <a:cubicBezTo>
                    <a:pt x="188" y="2"/>
                    <a:pt x="190" y="4"/>
                    <a:pt x="191" y="5"/>
                  </a:cubicBezTo>
                  <a:cubicBezTo>
                    <a:pt x="193" y="6"/>
                    <a:pt x="195" y="8"/>
                    <a:pt x="197" y="9"/>
                  </a:cubicBezTo>
                  <a:cubicBezTo>
                    <a:pt x="199" y="10"/>
                    <a:pt x="202" y="12"/>
                    <a:pt x="204" y="12"/>
                  </a:cubicBezTo>
                  <a:cubicBezTo>
                    <a:pt x="206" y="12"/>
                    <a:pt x="207" y="10"/>
                    <a:pt x="208" y="10"/>
                  </a:cubicBezTo>
                  <a:cubicBezTo>
                    <a:pt x="210" y="9"/>
                    <a:pt x="212" y="10"/>
                    <a:pt x="214" y="10"/>
                  </a:cubicBezTo>
                  <a:cubicBezTo>
                    <a:pt x="216" y="9"/>
                    <a:pt x="216" y="7"/>
                    <a:pt x="218" y="7"/>
                  </a:cubicBezTo>
                  <a:cubicBezTo>
                    <a:pt x="221" y="9"/>
                    <a:pt x="224" y="13"/>
                    <a:pt x="226" y="17"/>
                  </a:cubicBezTo>
                  <a:cubicBezTo>
                    <a:pt x="228" y="18"/>
                    <a:pt x="228" y="21"/>
                    <a:pt x="230" y="23"/>
                  </a:cubicBezTo>
                  <a:cubicBezTo>
                    <a:pt x="231" y="24"/>
                    <a:pt x="232" y="25"/>
                    <a:pt x="233" y="26"/>
                  </a:cubicBezTo>
                  <a:cubicBezTo>
                    <a:pt x="234" y="27"/>
                    <a:pt x="236" y="29"/>
                    <a:pt x="235" y="30"/>
                  </a:cubicBezTo>
                  <a:cubicBezTo>
                    <a:pt x="235" y="31"/>
                    <a:pt x="233" y="32"/>
                    <a:pt x="233" y="33"/>
                  </a:cubicBezTo>
                  <a:cubicBezTo>
                    <a:pt x="233" y="35"/>
                    <a:pt x="236" y="35"/>
                    <a:pt x="237" y="36"/>
                  </a:cubicBezTo>
                  <a:cubicBezTo>
                    <a:pt x="237" y="39"/>
                    <a:pt x="234" y="41"/>
                    <a:pt x="235" y="43"/>
                  </a:cubicBezTo>
                  <a:cubicBezTo>
                    <a:pt x="236" y="44"/>
                    <a:pt x="240" y="43"/>
                    <a:pt x="241" y="45"/>
                  </a:cubicBezTo>
                  <a:cubicBezTo>
                    <a:pt x="241" y="47"/>
                    <a:pt x="237" y="47"/>
                    <a:pt x="236" y="49"/>
                  </a:cubicBezTo>
                  <a:cubicBezTo>
                    <a:pt x="234" y="50"/>
                    <a:pt x="232" y="51"/>
                    <a:pt x="231" y="53"/>
                  </a:cubicBezTo>
                  <a:cubicBezTo>
                    <a:pt x="230" y="54"/>
                    <a:pt x="231" y="56"/>
                    <a:pt x="230" y="58"/>
                  </a:cubicBezTo>
                  <a:cubicBezTo>
                    <a:pt x="229" y="59"/>
                    <a:pt x="227" y="59"/>
                    <a:pt x="227" y="61"/>
                  </a:cubicBezTo>
                  <a:cubicBezTo>
                    <a:pt x="225" y="63"/>
                    <a:pt x="225" y="65"/>
                    <a:pt x="224" y="68"/>
                  </a:cubicBezTo>
                  <a:cubicBezTo>
                    <a:pt x="223" y="71"/>
                    <a:pt x="222" y="74"/>
                    <a:pt x="221" y="77"/>
                  </a:cubicBezTo>
                  <a:cubicBezTo>
                    <a:pt x="220" y="79"/>
                    <a:pt x="220" y="81"/>
                    <a:pt x="220" y="83"/>
                  </a:cubicBezTo>
                  <a:cubicBezTo>
                    <a:pt x="220" y="87"/>
                    <a:pt x="219" y="90"/>
                    <a:pt x="219" y="94"/>
                  </a:cubicBezTo>
                  <a:cubicBezTo>
                    <a:pt x="218" y="96"/>
                    <a:pt x="216" y="97"/>
                    <a:pt x="215" y="99"/>
                  </a:cubicBezTo>
                  <a:cubicBezTo>
                    <a:pt x="214" y="103"/>
                    <a:pt x="212" y="107"/>
                    <a:pt x="211" y="111"/>
                  </a:cubicBezTo>
                  <a:cubicBezTo>
                    <a:pt x="211" y="112"/>
                    <a:pt x="212" y="113"/>
                    <a:pt x="212" y="115"/>
                  </a:cubicBezTo>
                  <a:cubicBezTo>
                    <a:pt x="214" y="116"/>
                    <a:pt x="215" y="118"/>
                    <a:pt x="216" y="119"/>
                  </a:cubicBezTo>
                  <a:cubicBezTo>
                    <a:pt x="216" y="121"/>
                    <a:pt x="215" y="122"/>
                    <a:pt x="215" y="123"/>
                  </a:cubicBezTo>
                  <a:cubicBezTo>
                    <a:pt x="215" y="127"/>
                    <a:pt x="216" y="132"/>
                    <a:pt x="217" y="136"/>
                  </a:cubicBezTo>
                  <a:cubicBezTo>
                    <a:pt x="217" y="139"/>
                    <a:pt x="218" y="141"/>
                    <a:pt x="219" y="144"/>
                  </a:cubicBezTo>
                  <a:cubicBezTo>
                    <a:pt x="219" y="147"/>
                    <a:pt x="220" y="150"/>
                    <a:pt x="220" y="152"/>
                  </a:cubicBezTo>
                  <a:cubicBezTo>
                    <a:pt x="220" y="155"/>
                    <a:pt x="220" y="157"/>
                    <a:pt x="220" y="159"/>
                  </a:cubicBezTo>
                  <a:cubicBezTo>
                    <a:pt x="220" y="162"/>
                    <a:pt x="220" y="165"/>
                    <a:pt x="221" y="168"/>
                  </a:cubicBezTo>
                  <a:cubicBezTo>
                    <a:pt x="222" y="171"/>
                    <a:pt x="224" y="173"/>
                    <a:pt x="226" y="175"/>
                  </a:cubicBezTo>
                  <a:cubicBezTo>
                    <a:pt x="228" y="179"/>
                    <a:pt x="230" y="182"/>
                    <a:pt x="231" y="185"/>
                  </a:cubicBezTo>
                  <a:cubicBezTo>
                    <a:pt x="233" y="189"/>
                    <a:pt x="233" y="193"/>
                    <a:pt x="234" y="197"/>
                  </a:cubicBezTo>
                  <a:cubicBezTo>
                    <a:pt x="226" y="198"/>
                    <a:pt x="218" y="195"/>
                    <a:pt x="211" y="198"/>
                  </a:cubicBezTo>
                  <a:cubicBezTo>
                    <a:pt x="207" y="201"/>
                    <a:pt x="208" y="208"/>
                    <a:pt x="207" y="212"/>
                  </a:cubicBezTo>
                  <a:cubicBezTo>
                    <a:pt x="207" y="215"/>
                    <a:pt x="209" y="216"/>
                    <a:pt x="209" y="219"/>
                  </a:cubicBezTo>
                  <a:cubicBezTo>
                    <a:pt x="209" y="223"/>
                    <a:pt x="208" y="228"/>
                    <a:pt x="207" y="233"/>
                  </a:cubicBezTo>
                  <a:cubicBezTo>
                    <a:pt x="207" y="235"/>
                    <a:pt x="205" y="237"/>
                    <a:pt x="205" y="239"/>
                  </a:cubicBezTo>
                  <a:cubicBezTo>
                    <a:pt x="205" y="243"/>
                    <a:pt x="205" y="246"/>
                    <a:pt x="206" y="249"/>
                  </a:cubicBezTo>
                  <a:cubicBezTo>
                    <a:pt x="208" y="252"/>
                    <a:pt x="211" y="255"/>
                    <a:pt x="214" y="256"/>
                  </a:cubicBezTo>
                  <a:cubicBezTo>
                    <a:pt x="215" y="257"/>
                    <a:pt x="216" y="257"/>
                    <a:pt x="218" y="257"/>
                  </a:cubicBezTo>
                  <a:cubicBezTo>
                    <a:pt x="219" y="257"/>
                    <a:pt x="223" y="254"/>
                    <a:pt x="222" y="255"/>
                  </a:cubicBezTo>
                  <a:cubicBezTo>
                    <a:pt x="221" y="260"/>
                    <a:pt x="221" y="267"/>
                    <a:pt x="220" y="272"/>
                  </a:cubicBezTo>
                  <a:cubicBezTo>
                    <a:pt x="219" y="275"/>
                    <a:pt x="214" y="274"/>
                    <a:pt x="212" y="273"/>
                  </a:cubicBezTo>
                  <a:cubicBezTo>
                    <a:pt x="208" y="271"/>
                    <a:pt x="207" y="266"/>
                    <a:pt x="204" y="262"/>
                  </a:cubicBezTo>
                  <a:cubicBezTo>
                    <a:pt x="201" y="260"/>
                    <a:pt x="199" y="257"/>
                    <a:pt x="197" y="255"/>
                  </a:cubicBezTo>
                  <a:cubicBezTo>
                    <a:pt x="195" y="253"/>
                    <a:pt x="193" y="252"/>
                    <a:pt x="191" y="250"/>
                  </a:cubicBezTo>
                  <a:cubicBezTo>
                    <a:pt x="189" y="248"/>
                    <a:pt x="189" y="244"/>
                    <a:pt x="186" y="244"/>
                  </a:cubicBezTo>
                  <a:cubicBezTo>
                    <a:pt x="183" y="244"/>
                    <a:pt x="183" y="249"/>
                    <a:pt x="181" y="250"/>
                  </a:cubicBezTo>
                  <a:cubicBezTo>
                    <a:pt x="177" y="250"/>
                    <a:pt x="173" y="249"/>
                    <a:pt x="169" y="247"/>
                  </a:cubicBezTo>
                  <a:cubicBezTo>
                    <a:pt x="167" y="247"/>
                    <a:pt x="166" y="245"/>
                    <a:pt x="164" y="243"/>
                  </a:cubicBezTo>
                  <a:cubicBezTo>
                    <a:pt x="164" y="242"/>
                    <a:pt x="164" y="240"/>
                    <a:pt x="163" y="240"/>
                  </a:cubicBezTo>
                  <a:cubicBezTo>
                    <a:pt x="160" y="240"/>
                    <a:pt x="157" y="243"/>
                    <a:pt x="154" y="243"/>
                  </a:cubicBezTo>
                  <a:cubicBezTo>
                    <a:pt x="151" y="242"/>
                    <a:pt x="150" y="240"/>
                    <a:pt x="147" y="238"/>
                  </a:cubicBezTo>
                  <a:cubicBezTo>
                    <a:pt x="147" y="237"/>
                    <a:pt x="147" y="236"/>
                    <a:pt x="146" y="236"/>
                  </a:cubicBezTo>
                  <a:cubicBezTo>
                    <a:pt x="143" y="236"/>
                    <a:pt x="139" y="237"/>
                    <a:pt x="136" y="238"/>
                  </a:cubicBezTo>
                  <a:cubicBezTo>
                    <a:pt x="133" y="239"/>
                    <a:pt x="129" y="241"/>
                    <a:pt x="126" y="241"/>
                  </a:cubicBezTo>
                  <a:cubicBezTo>
                    <a:pt x="124" y="241"/>
                    <a:pt x="125" y="239"/>
                    <a:pt x="126" y="237"/>
                  </a:cubicBezTo>
                  <a:cubicBezTo>
                    <a:pt x="126" y="236"/>
                    <a:pt x="127" y="234"/>
                    <a:pt x="127" y="232"/>
                  </a:cubicBezTo>
                  <a:cubicBezTo>
                    <a:pt x="127" y="228"/>
                    <a:pt x="128" y="224"/>
                    <a:pt x="127" y="221"/>
                  </a:cubicBezTo>
                  <a:cubicBezTo>
                    <a:pt x="126" y="218"/>
                    <a:pt x="121" y="218"/>
                    <a:pt x="121" y="215"/>
                  </a:cubicBezTo>
                  <a:cubicBezTo>
                    <a:pt x="120" y="210"/>
                    <a:pt x="122" y="203"/>
                    <a:pt x="122" y="197"/>
                  </a:cubicBezTo>
                  <a:cubicBezTo>
                    <a:pt x="122" y="195"/>
                    <a:pt x="121" y="193"/>
                    <a:pt x="120" y="190"/>
                  </a:cubicBezTo>
                  <a:cubicBezTo>
                    <a:pt x="120" y="189"/>
                    <a:pt x="122" y="188"/>
                    <a:pt x="121" y="186"/>
                  </a:cubicBezTo>
                  <a:cubicBezTo>
                    <a:pt x="121" y="184"/>
                    <a:pt x="121" y="181"/>
                    <a:pt x="119" y="180"/>
                  </a:cubicBezTo>
                  <a:cubicBezTo>
                    <a:pt x="115" y="178"/>
                    <a:pt x="111" y="181"/>
                    <a:pt x="107" y="181"/>
                  </a:cubicBezTo>
                  <a:cubicBezTo>
                    <a:pt x="106" y="180"/>
                    <a:pt x="106" y="178"/>
                    <a:pt x="105" y="178"/>
                  </a:cubicBezTo>
                  <a:cubicBezTo>
                    <a:pt x="104" y="177"/>
                    <a:pt x="103" y="178"/>
                    <a:pt x="102" y="178"/>
                  </a:cubicBezTo>
                  <a:cubicBezTo>
                    <a:pt x="99" y="178"/>
                    <a:pt x="96" y="178"/>
                    <a:pt x="94" y="180"/>
                  </a:cubicBezTo>
                  <a:cubicBezTo>
                    <a:pt x="92" y="181"/>
                    <a:pt x="94" y="184"/>
                    <a:pt x="93" y="186"/>
                  </a:cubicBezTo>
                  <a:cubicBezTo>
                    <a:pt x="93" y="187"/>
                    <a:pt x="92" y="188"/>
                    <a:pt x="92" y="189"/>
                  </a:cubicBezTo>
                  <a:cubicBezTo>
                    <a:pt x="91" y="190"/>
                    <a:pt x="92" y="192"/>
                    <a:pt x="91" y="193"/>
                  </a:cubicBezTo>
                  <a:cubicBezTo>
                    <a:pt x="89" y="194"/>
                    <a:pt x="87" y="193"/>
                    <a:pt x="86" y="193"/>
                  </a:cubicBezTo>
                  <a:cubicBezTo>
                    <a:pt x="83" y="193"/>
                    <a:pt x="81" y="193"/>
                    <a:pt x="79" y="193"/>
                  </a:cubicBezTo>
                  <a:cubicBezTo>
                    <a:pt x="74" y="193"/>
                    <a:pt x="70" y="195"/>
                    <a:pt x="66" y="193"/>
                  </a:cubicBezTo>
                  <a:cubicBezTo>
                    <a:pt x="62" y="191"/>
                    <a:pt x="61" y="186"/>
                    <a:pt x="60" y="182"/>
                  </a:cubicBezTo>
                  <a:cubicBezTo>
                    <a:pt x="59" y="179"/>
                    <a:pt x="58" y="176"/>
                    <a:pt x="58" y="174"/>
                  </a:cubicBezTo>
                  <a:cubicBezTo>
                    <a:pt x="58" y="171"/>
                    <a:pt x="58" y="169"/>
                    <a:pt x="57" y="166"/>
                  </a:cubicBezTo>
                  <a:cubicBezTo>
                    <a:pt x="57" y="164"/>
                    <a:pt x="58" y="161"/>
                    <a:pt x="56" y="161"/>
                  </a:cubicBezTo>
                  <a:lnTo>
                    <a:pt x="14" y="161"/>
                  </a:lnTo>
                  <a:cubicBezTo>
                    <a:pt x="12" y="161"/>
                    <a:pt x="10" y="161"/>
                    <a:pt x="8" y="161"/>
                  </a:cubicBezTo>
                  <a:cubicBezTo>
                    <a:pt x="6" y="161"/>
                    <a:pt x="5" y="163"/>
                    <a:pt x="4" y="163"/>
                  </a:cubicBezTo>
                  <a:cubicBezTo>
                    <a:pt x="2" y="163"/>
                    <a:pt x="1" y="161"/>
                    <a:pt x="0" y="160"/>
                  </a:cubicBezTo>
                  <a:cubicBezTo>
                    <a:pt x="1" y="160"/>
                    <a:pt x="3" y="161"/>
                    <a:pt x="4" y="159"/>
                  </a:cubicBezTo>
                  <a:cubicBezTo>
                    <a:pt x="5" y="156"/>
                    <a:pt x="2" y="152"/>
                    <a:pt x="3" y="149"/>
                  </a:cubicBezTo>
                  <a:cubicBezTo>
                    <a:pt x="5" y="147"/>
                    <a:pt x="8" y="145"/>
                    <a:pt x="11" y="14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" name="Freeform 45"/>
            <p:cNvSpPr>
              <a:spLocks noChangeAspect="1"/>
            </p:cNvSpPr>
            <p:nvPr/>
          </p:nvSpPr>
          <p:spPr bwMode="auto">
            <a:xfrm>
              <a:off x="4810125" y="4097338"/>
              <a:ext cx="182563" cy="238125"/>
            </a:xfrm>
            <a:custGeom>
              <a:avLst/>
              <a:gdLst>
                <a:gd name="T0" fmla="*/ 20919 w 96"/>
                <a:gd name="T1" fmla="*/ 238125 h 125"/>
                <a:gd name="T2" fmla="*/ 9508 w 96"/>
                <a:gd name="T3" fmla="*/ 222885 h 125"/>
                <a:gd name="T4" fmla="*/ 0 w 96"/>
                <a:gd name="T5" fmla="*/ 209550 h 125"/>
                <a:gd name="T6" fmla="*/ 3803 w 96"/>
                <a:gd name="T7" fmla="*/ 200025 h 125"/>
                <a:gd name="T8" fmla="*/ 15214 w 96"/>
                <a:gd name="T9" fmla="*/ 201930 h 125"/>
                <a:gd name="T10" fmla="*/ 17115 w 96"/>
                <a:gd name="T11" fmla="*/ 188595 h 125"/>
                <a:gd name="T12" fmla="*/ 7607 w 96"/>
                <a:gd name="T13" fmla="*/ 179070 h 125"/>
                <a:gd name="T14" fmla="*/ 9508 w 96"/>
                <a:gd name="T15" fmla="*/ 165735 h 125"/>
                <a:gd name="T16" fmla="*/ 26624 w 96"/>
                <a:gd name="T17" fmla="*/ 167640 h 125"/>
                <a:gd name="T18" fmla="*/ 30427 w 96"/>
                <a:gd name="T19" fmla="*/ 154305 h 125"/>
                <a:gd name="T20" fmla="*/ 41837 w 96"/>
                <a:gd name="T21" fmla="*/ 163830 h 125"/>
                <a:gd name="T22" fmla="*/ 57051 w 96"/>
                <a:gd name="T23" fmla="*/ 161925 h 125"/>
                <a:gd name="T24" fmla="*/ 60854 w 96"/>
                <a:gd name="T25" fmla="*/ 167640 h 125"/>
                <a:gd name="T26" fmla="*/ 68461 w 96"/>
                <a:gd name="T27" fmla="*/ 167640 h 125"/>
                <a:gd name="T28" fmla="*/ 70363 w 96"/>
                <a:gd name="T29" fmla="*/ 150495 h 125"/>
                <a:gd name="T30" fmla="*/ 70363 w 96"/>
                <a:gd name="T31" fmla="*/ 131445 h 125"/>
                <a:gd name="T32" fmla="*/ 74166 w 96"/>
                <a:gd name="T33" fmla="*/ 118110 h 125"/>
                <a:gd name="T34" fmla="*/ 62756 w 96"/>
                <a:gd name="T35" fmla="*/ 114300 h 125"/>
                <a:gd name="T36" fmla="*/ 66559 w 96"/>
                <a:gd name="T37" fmla="*/ 93345 h 125"/>
                <a:gd name="T38" fmla="*/ 79871 w 96"/>
                <a:gd name="T39" fmla="*/ 85725 h 125"/>
                <a:gd name="T40" fmla="*/ 79871 w 96"/>
                <a:gd name="T41" fmla="*/ 66675 h 125"/>
                <a:gd name="T42" fmla="*/ 53248 w 96"/>
                <a:gd name="T43" fmla="*/ 64770 h 125"/>
                <a:gd name="T44" fmla="*/ 49444 w 96"/>
                <a:gd name="T45" fmla="*/ 55245 h 125"/>
                <a:gd name="T46" fmla="*/ 55149 w 96"/>
                <a:gd name="T47" fmla="*/ 41910 h 125"/>
                <a:gd name="T48" fmla="*/ 81773 w 96"/>
                <a:gd name="T49" fmla="*/ 41910 h 125"/>
                <a:gd name="T50" fmla="*/ 119807 w 96"/>
                <a:gd name="T51" fmla="*/ 55245 h 125"/>
                <a:gd name="T52" fmla="*/ 119807 w 96"/>
                <a:gd name="T53" fmla="*/ 45720 h 125"/>
                <a:gd name="T54" fmla="*/ 121709 w 96"/>
                <a:gd name="T55" fmla="*/ 34290 h 125"/>
                <a:gd name="T56" fmla="*/ 127414 w 96"/>
                <a:gd name="T57" fmla="*/ 28575 h 125"/>
                <a:gd name="T58" fmla="*/ 129315 w 96"/>
                <a:gd name="T59" fmla="*/ 13335 h 125"/>
                <a:gd name="T60" fmla="*/ 131217 w 96"/>
                <a:gd name="T61" fmla="*/ 3810 h 125"/>
                <a:gd name="T62" fmla="*/ 148332 w 96"/>
                <a:gd name="T63" fmla="*/ 3810 h 125"/>
                <a:gd name="T64" fmla="*/ 155939 w 96"/>
                <a:gd name="T65" fmla="*/ 0 h 125"/>
                <a:gd name="T66" fmla="*/ 167349 w 96"/>
                <a:gd name="T67" fmla="*/ 3810 h 125"/>
                <a:gd name="T68" fmla="*/ 180661 w 96"/>
                <a:gd name="T69" fmla="*/ 1905 h 125"/>
                <a:gd name="T70" fmla="*/ 180661 w 96"/>
                <a:gd name="T71" fmla="*/ 13335 h 125"/>
                <a:gd name="T72" fmla="*/ 173055 w 96"/>
                <a:gd name="T73" fmla="*/ 34290 h 125"/>
                <a:gd name="T74" fmla="*/ 165448 w 96"/>
                <a:gd name="T75" fmla="*/ 59055 h 125"/>
                <a:gd name="T76" fmla="*/ 163546 w 96"/>
                <a:gd name="T77" fmla="*/ 76200 h 125"/>
                <a:gd name="T78" fmla="*/ 163546 w 96"/>
                <a:gd name="T79" fmla="*/ 99060 h 125"/>
                <a:gd name="T80" fmla="*/ 163546 w 96"/>
                <a:gd name="T81" fmla="*/ 118110 h 125"/>
                <a:gd name="T82" fmla="*/ 152136 w 96"/>
                <a:gd name="T83" fmla="*/ 123825 h 125"/>
                <a:gd name="T84" fmla="*/ 152136 w 96"/>
                <a:gd name="T85" fmla="*/ 133350 h 125"/>
                <a:gd name="T86" fmla="*/ 138824 w 96"/>
                <a:gd name="T87" fmla="*/ 137160 h 125"/>
                <a:gd name="T88" fmla="*/ 135021 w 96"/>
                <a:gd name="T89" fmla="*/ 148590 h 125"/>
                <a:gd name="T90" fmla="*/ 121709 w 96"/>
                <a:gd name="T91" fmla="*/ 165735 h 125"/>
                <a:gd name="T92" fmla="*/ 123610 w 96"/>
                <a:gd name="T93" fmla="*/ 186690 h 125"/>
                <a:gd name="T94" fmla="*/ 116004 w 96"/>
                <a:gd name="T95" fmla="*/ 211455 h 125"/>
                <a:gd name="T96" fmla="*/ 98888 w 96"/>
                <a:gd name="T97" fmla="*/ 219075 h 125"/>
                <a:gd name="T98" fmla="*/ 89380 w 96"/>
                <a:gd name="T99" fmla="*/ 232410 h 125"/>
                <a:gd name="T100" fmla="*/ 77970 w 96"/>
                <a:gd name="T101" fmla="*/ 230505 h 125"/>
                <a:gd name="T102" fmla="*/ 77970 w 96"/>
                <a:gd name="T103" fmla="*/ 219075 h 125"/>
                <a:gd name="T104" fmla="*/ 60854 w 96"/>
                <a:gd name="T105" fmla="*/ 226695 h 125"/>
                <a:gd name="T106" fmla="*/ 57051 w 96"/>
                <a:gd name="T107" fmla="*/ 236220 h 125"/>
                <a:gd name="T108" fmla="*/ 47542 w 96"/>
                <a:gd name="T109" fmla="*/ 230505 h 125"/>
                <a:gd name="T110" fmla="*/ 39936 w 96"/>
                <a:gd name="T111" fmla="*/ 224790 h 125"/>
                <a:gd name="T112" fmla="*/ 20919 w 96"/>
                <a:gd name="T113" fmla="*/ 238125 h 12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96"/>
                <a:gd name="T172" fmla="*/ 0 h 125"/>
                <a:gd name="T173" fmla="*/ 96 w 96"/>
                <a:gd name="T174" fmla="*/ 125 h 12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96" h="125">
                  <a:moveTo>
                    <a:pt x="11" y="125"/>
                  </a:moveTo>
                  <a:lnTo>
                    <a:pt x="5" y="117"/>
                  </a:lnTo>
                  <a:lnTo>
                    <a:pt x="0" y="110"/>
                  </a:lnTo>
                  <a:cubicBezTo>
                    <a:pt x="1" y="108"/>
                    <a:pt x="1" y="106"/>
                    <a:pt x="2" y="105"/>
                  </a:cubicBezTo>
                  <a:cubicBezTo>
                    <a:pt x="4" y="104"/>
                    <a:pt x="7" y="107"/>
                    <a:pt x="8" y="106"/>
                  </a:cubicBezTo>
                  <a:cubicBezTo>
                    <a:pt x="9" y="104"/>
                    <a:pt x="9" y="101"/>
                    <a:pt x="9" y="99"/>
                  </a:cubicBezTo>
                  <a:cubicBezTo>
                    <a:pt x="8" y="97"/>
                    <a:pt x="4" y="96"/>
                    <a:pt x="4" y="94"/>
                  </a:cubicBezTo>
                  <a:cubicBezTo>
                    <a:pt x="3" y="91"/>
                    <a:pt x="3" y="88"/>
                    <a:pt x="5" y="87"/>
                  </a:cubicBezTo>
                  <a:cubicBezTo>
                    <a:pt x="8" y="85"/>
                    <a:pt x="12" y="90"/>
                    <a:pt x="14" y="88"/>
                  </a:cubicBezTo>
                  <a:cubicBezTo>
                    <a:pt x="16" y="87"/>
                    <a:pt x="14" y="82"/>
                    <a:pt x="16" y="81"/>
                  </a:cubicBezTo>
                  <a:cubicBezTo>
                    <a:pt x="19" y="80"/>
                    <a:pt x="20" y="85"/>
                    <a:pt x="22" y="86"/>
                  </a:cubicBezTo>
                  <a:cubicBezTo>
                    <a:pt x="25" y="87"/>
                    <a:pt x="28" y="85"/>
                    <a:pt x="30" y="85"/>
                  </a:cubicBezTo>
                  <a:cubicBezTo>
                    <a:pt x="31" y="86"/>
                    <a:pt x="31" y="88"/>
                    <a:pt x="32" y="88"/>
                  </a:cubicBezTo>
                  <a:cubicBezTo>
                    <a:pt x="33" y="89"/>
                    <a:pt x="35" y="90"/>
                    <a:pt x="36" y="88"/>
                  </a:cubicBezTo>
                  <a:cubicBezTo>
                    <a:pt x="38" y="86"/>
                    <a:pt x="37" y="82"/>
                    <a:pt x="37" y="79"/>
                  </a:cubicBezTo>
                  <a:cubicBezTo>
                    <a:pt x="37" y="76"/>
                    <a:pt x="37" y="72"/>
                    <a:pt x="37" y="69"/>
                  </a:cubicBezTo>
                  <a:cubicBezTo>
                    <a:pt x="37" y="67"/>
                    <a:pt x="40" y="64"/>
                    <a:pt x="39" y="62"/>
                  </a:cubicBezTo>
                  <a:cubicBezTo>
                    <a:pt x="38" y="60"/>
                    <a:pt x="34" y="62"/>
                    <a:pt x="33" y="60"/>
                  </a:cubicBezTo>
                  <a:cubicBezTo>
                    <a:pt x="32" y="56"/>
                    <a:pt x="33" y="52"/>
                    <a:pt x="35" y="49"/>
                  </a:cubicBezTo>
                  <a:cubicBezTo>
                    <a:pt x="36" y="47"/>
                    <a:pt x="40" y="47"/>
                    <a:pt x="42" y="45"/>
                  </a:cubicBezTo>
                  <a:cubicBezTo>
                    <a:pt x="43" y="42"/>
                    <a:pt x="45" y="37"/>
                    <a:pt x="42" y="35"/>
                  </a:cubicBezTo>
                  <a:cubicBezTo>
                    <a:pt x="39" y="32"/>
                    <a:pt x="32" y="36"/>
                    <a:pt x="28" y="34"/>
                  </a:cubicBezTo>
                  <a:cubicBezTo>
                    <a:pt x="26" y="34"/>
                    <a:pt x="26" y="31"/>
                    <a:pt x="26" y="29"/>
                  </a:cubicBezTo>
                  <a:cubicBezTo>
                    <a:pt x="26" y="27"/>
                    <a:pt x="28" y="24"/>
                    <a:pt x="29" y="22"/>
                  </a:cubicBezTo>
                  <a:cubicBezTo>
                    <a:pt x="34" y="22"/>
                    <a:pt x="38" y="21"/>
                    <a:pt x="43" y="22"/>
                  </a:cubicBezTo>
                  <a:cubicBezTo>
                    <a:pt x="50" y="23"/>
                    <a:pt x="56" y="28"/>
                    <a:pt x="63" y="29"/>
                  </a:cubicBezTo>
                  <a:cubicBezTo>
                    <a:pt x="64" y="29"/>
                    <a:pt x="62" y="26"/>
                    <a:pt x="63" y="24"/>
                  </a:cubicBezTo>
                  <a:cubicBezTo>
                    <a:pt x="63" y="22"/>
                    <a:pt x="63" y="20"/>
                    <a:pt x="64" y="18"/>
                  </a:cubicBezTo>
                  <a:cubicBezTo>
                    <a:pt x="65" y="17"/>
                    <a:pt x="67" y="17"/>
                    <a:pt x="67" y="15"/>
                  </a:cubicBezTo>
                  <a:cubicBezTo>
                    <a:pt x="68" y="13"/>
                    <a:pt x="68" y="10"/>
                    <a:pt x="68" y="7"/>
                  </a:cubicBezTo>
                  <a:cubicBezTo>
                    <a:pt x="68" y="6"/>
                    <a:pt x="68" y="3"/>
                    <a:pt x="69" y="2"/>
                  </a:cubicBezTo>
                  <a:cubicBezTo>
                    <a:pt x="72" y="1"/>
                    <a:pt x="75" y="2"/>
                    <a:pt x="78" y="2"/>
                  </a:cubicBezTo>
                  <a:cubicBezTo>
                    <a:pt x="79" y="2"/>
                    <a:pt x="80" y="0"/>
                    <a:pt x="82" y="0"/>
                  </a:cubicBezTo>
                  <a:cubicBezTo>
                    <a:pt x="84" y="1"/>
                    <a:pt x="86" y="2"/>
                    <a:pt x="88" y="2"/>
                  </a:cubicBezTo>
                  <a:cubicBezTo>
                    <a:pt x="90" y="3"/>
                    <a:pt x="92" y="2"/>
                    <a:pt x="95" y="1"/>
                  </a:cubicBezTo>
                  <a:cubicBezTo>
                    <a:pt x="95" y="3"/>
                    <a:pt x="96" y="5"/>
                    <a:pt x="95" y="7"/>
                  </a:cubicBezTo>
                  <a:cubicBezTo>
                    <a:pt x="95" y="11"/>
                    <a:pt x="92" y="14"/>
                    <a:pt x="91" y="18"/>
                  </a:cubicBezTo>
                  <a:cubicBezTo>
                    <a:pt x="89" y="22"/>
                    <a:pt x="88" y="26"/>
                    <a:pt x="87" y="31"/>
                  </a:cubicBezTo>
                  <a:cubicBezTo>
                    <a:pt x="87" y="34"/>
                    <a:pt x="86" y="37"/>
                    <a:pt x="86" y="40"/>
                  </a:cubicBezTo>
                  <a:cubicBezTo>
                    <a:pt x="86" y="44"/>
                    <a:pt x="86" y="48"/>
                    <a:pt x="86" y="52"/>
                  </a:cubicBezTo>
                  <a:cubicBezTo>
                    <a:pt x="85" y="55"/>
                    <a:pt x="87" y="59"/>
                    <a:pt x="86" y="62"/>
                  </a:cubicBezTo>
                  <a:cubicBezTo>
                    <a:pt x="85" y="64"/>
                    <a:pt x="81" y="64"/>
                    <a:pt x="80" y="65"/>
                  </a:cubicBezTo>
                  <a:cubicBezTo>
                    <a:pt x="79" y="66"/>
                    <a:pt x="81" y="69"/>
                    <a:pt x="80" y="70"/>
                  </a:cubicBezTo>
                  <a:cubicBezTo>
                    <a:pt x="78" y="71"/>
                    <a:pt x="75" y="70"/>
                    <a:pt x="73" y="72"/>
                  </a:cubicBezTo>
                  <a:cubicBezTo>
                    <a:pt x="71" y="73"/>
                    <a:pt x="72" y="76"/>
                    <a:pt x="71" y="78"/>
                  </a:cubicBezTo>
                  <a:cubicBezTo>
                    <a:pt x="69" y="81"/>
                    <a:pt x="65" y="83"/>
                    <a:pt x="64" y="87"/>
                  </a:cubicBezTo>
                  <a:cubicBezTo>
                    <a:pt x="63" y="90"/>
                    <a:pt x="66" y="94"/>
                    <a:pt x="65" y="98"/>
                  </a:cubicBezTo>
                  <a:cubicBezTo>
                    <a:pt x="64" y="103"/>
                    <a:pt x="63" y="107"/>
                    <a:pt x="61" y="111"/>
                  </a:cubicBezTo>
                  <a:cubicBezTo>
                    <a:pt x="59" y="114"/>
                    <a:pt x="54" y="113"/>
                    <a:pt x="52" y="115"/>
                  </a:cubicBezTo>
                  <a:cubicBezTo>
                    <a:pt x="50" y="117"/>
                    <a:pt x="50" y="121"/>
                    <a:pt x="47" y="122"/>
                  </a:cubicBezTo>
                  <a:cubicBezTo>
                    <a:pt x="45" y="123"/>
                    <a:pt x="42" y="122"/>
                    <a:pt x="41" y="121"/>
                  </a:cubicBezTo>
                  <a:cubicBezTo>
                    <a:pt x="40" y="119"/>
                    <a:pt x="43" y="115"/>
                    <a:pt x="41" y="115"/>
                  </a:cubicBezTo>
                  <a:cubicBezTo>
                    <a:pt x="38" y="115"/>
                    <a:pt x="35" y="117"/>
                    <a:pt x="32" y="119"/>
                  </a:cubicBezTo>
                  <a:cubicBezTo>
                    <a:pt x="31" y="120"/>
                    <a:pt x="31" y="123"/>
                    <a:pt x="30" y="124"/>
                  </a:cubicBezTo>
                  <a:cubicBezTo>
                    <a:pt x="28" y="124"/>
                    <a:pt x="26" y="121"/>
                    <a:pt x="25" y="121"/>
                  </a:cubicBezTo>
                  <a:cubicBezTo>
                    <a:pt x="24" y="120"/>
                    <a:pt x="22" y="117"/>
                    <a:pt x="21" y="118"/>
                  </a:cubicBezTo>
                  <a:cubicBezTo>
                    <a:pt x="17" y="119"/>
                    <a:pt x="14" y="123"/>
                    <a:pt x="11" y="12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" name="Freeform 46"/>
            <p:cNvSpPr>
              <a:spLocks noChangeAspect="1"/>
            </p:cNvSpPr>
            <p:nvPr/>
          </p:nvSpPr>
          <p:spPr bwMode="auto">
            <a:xfrm>
              <a:off x="4133850" y="3424238"/>
              <a:ext cx="196850" cy="190500"/>
            </a:xfrm>
            <a:custGeom>
              <a:avLst/>
              <a:gdLst>
                <a:gd name="T0" fmla="*/ 1893 w 104"/>
                <a:gd name="T1" fmla="*/ 190500 h 100"/>
                <a:gd name="T2" fmla="*/ 1893 w 104"/>
                <a:gd name="T3" fmla="*/ 163830 h 100"/>
                <a:gd name="T4" fmla="*/ 7571 w 104"/>
                <a:gd name="T5" fmla="*/ 150495 h 100"/>
                <a:gd name="T6" fmla="*/ 17035 w 104"/>
                <a:gd name="T7" fmla="*/ 131445 h 100"/>
                <a:gd name="T8" fmla="*/ 28392 w 104"/>
                <a:gd name="T9" fmla="*/ 112395 h 100"/>
                <a:gd name="T10" fmla="*/ 37856 w 104"/>
                <a:gd name="T11" fmla="*/ 95250 h 100"/>
                <a:gd name="T12" fmla="*/ 51105 w 104"/>
                <a:gd name="T13" fmla="*/ 81915 h 100"/>
                <a:gd name="T14" fmla="*/ 56784 w 104"/>
                <a:gd name="T15" fmla="*/ 43815 h 100"/>
                <a:gd name="T16" fmla="*/ 79497 w 104"/>
                <a:gd name="T17" fmla="*/ 30480 h 100"/>
                <a:gd name="T18" fmla="*/ 85175 w 104"/>
                <a:gd name="T19" fmla="*/ 5715 h 100"/>
                <a:gd name="T20" fmla="*/ 90854 w 104"/>
                <a:gd name="T21" fmla="*/ 0 h 100"/>
                <a:gd name="T22" fmla="*/ 196850 w 104"/>
                <a:gd name="T23" fmla="*/ 0 h 100"/>
                <a:gd name="T24" fmla="*/ 196850 w 104"/>
                <a:gd name="T25" fmla="*/ 9525 h 100"/>
                <a:gd name="T26" fmla="*/ 196850 w 104"/>
                <a:gd name="T27" fmla="*/ 49530 h 100"/>
                <a:gd name="T28" fmla="*/ 119246 w 104"/>
                <a:gd name="T29" fmla="*/ 49530 h 100"/>
                <a:gd name="T30" fmla="*/ 119246 w 104"/>
                <a:gd name="T31" fmla="*/ 120015 h 100"/>
                <a:gd name="T32" fmla="*/ 111675 w 104"/>
                <a:gd name="T33" fmla="*/ 123825 h 100"/>
                <a:gd name="T34" fmla="*/ 102211 w 104"/>
                <a:gd name="T35" fmla="*/ 125730 h 100"/>
                <a:gd name="T36" fmla="*/ 88961 w 104"/>
                <a:gd name="T37" fmla="*/ 140970 h 100"/>
                <a:gd name="T38" fmla="*/ 92747 w 104"/>
                <a:gd name="T39" fmla="*/ 175260 h 100"/>
                <a:gd name="T40" fmla="*/ 88961 w 104"/>
                <a:gd name="T41" fmla="*/ 180975 h 100"/>
                <a:gd name="T42" fmla="*/ 9464 w 104"/>
                <a:gd name="T43" fmla="*/ 179070 h 100"/>
                <a:gd name="T44" fmla="*/ 1893 w 104"/>
                <a:gd name="T45" fmla="*/ 190500 h 1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4"/>
                <a:gd name="T70" fmla="*/ 0 h 100"/>
                <a:gd name="T71" fmla="*/ 104 w 104"/>
                <a:gd name="T72" fmla="*/ 100 h 1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4" h="100">
                  <a:moveTo>
                    <a:pt x="1" y="100"/>
                  </a:moveTo>
                  <a:cubicBezTo>
                    <a:pt x="1" y="95"/>
                    <a:pt x="0" y="91"/>
                    <a:pt x="1" y="86"/>
                  </a:cubicBezTo>
                  <a:cubicBezTo>
                    <a:pt x="1" y="84"/>
                    <a:pt x="3" y="81"/>
                    <a:pt x="4" y="79"/>
                  </a:cubicBezTo>
                  <a:cubicBezTo>
                    <a:pt x="6" y="76"/>
                    <a:pt x="8" y="72"/>
                    <a:pt x="9" y="69"/>
                  </a:cubicBezTo>
                  <a:cubicBezTo>
                    <a:pt x="11" y="66"/>
                    <a:pt x="13" y="62"/>
                    <a:pt x="15" y="59"/>
                  </a:cubicBezTo>
                  <a:cubicBezTo>
                    <a:pt x="16" y="56"/>
                    <a:pt x="18" y="53"/>
                    <a:pt x="20" y="50"/>
                  </a:cubicBezTo>
                  <a:cubicBezTo>
                    <a:pt x="22" y="47"/>
                    <a:pt x="26" y="46"/>
                    <a:pt x="27" y="43"/>
                  </a:cubicBezTo>
                  <a:cubicBezTo>
                    <a:pt x="30" y="37"/>
                    <a:pt x="27" y="29"/>
                    <a:pt x="30" y="23"/>
                  </a:cubicBezTo>
                  <a:cubicBezTo>
                    <a:pt x="32" y="19"/>
                    <a:pt x="39" y="19"/>
                    <a:pt x="42" y="16"/>
                  </a:cubicBezTo>
                  <a:cubicBezTo>
                    <a:pt x="44" y="12"/>
                    <a:pt x="43" y="7"/>
                    <a:pt x="45" y="3"/>
                  </a:cubicBezTo>
                  <a:cubicBezTo>
                    <a:pt x="45" y="2"/>
                    <a:pt x="47" y="1"/>
                    <a:pt x="48" y="0"/>
                  </a:cubicBezTo>
                  <a:lnTo>
                    <a:pt x="104" y="0"/>
                  </a:lnTo>
                  <a:lnTo>
                    <a:pt x="104" y="5"/>
                  </a:lnTo>
                  <a:lnTo>
                    <a:pt x="104" y="26"/>
                  </a:lnTo>
                  <a:lnTo>
                    <a:pt x="63" y="26"/>
                  </a:lnTo>
                  <a:lnTo>
                    <a:pt x="63" y="63"/>
                  </a:lnTo>
                  <a:lnTo>
                    <a:pt x="59" y="65"/>
                  </a:lnTo>
                  <a:cubicBezTo>
                    <a:pt x="57" y="65"/>
                    <a:pt x="55" y="65"/>
                    <a:pt x="54" y="66"/>
                  </a:cubicBezTo>
                  <a:cubicBezTo>
                    <a:pt x="51" y="68"/>
                    <a:pt x="49" y="71"/>
                    <a:pt x="47" y="74"/>
                  </a:cubicBezTo>
                  <a:cubicBezTo>
                    <a:pt x="47" y="80"/>
                    <a:pt x="49" y="86"/>
                    <a:pt x="49" y="92"/>
                  </a:cubicBezTo>
                  <a:cubicBezTo>
                    <a:pt x="49" y="94"/>
                    <a:pt x="47" y="94"/>
                    <a:pt x="47" y="95"/>
                  </a:cubicBezTo>
                  <a:lnTo>
                    <a:pt x="5" y="94"/>
                  </a:lnTo>
                  <a:lnTo>
                    <a:pt x="1" y="100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" name="Freeform 47"/>
            <p:cNvSpPr>
              <a:spLocks noChangeAspect="1"/>
            </p:cNvSpPr>
            <p:nvPr/>
          </p:nvSpPr>
          <p:spPr bwMode="auto">
            <a:xfrm>
              <a:off x="4224338" y="3176588"/>
              <a:ext cx="285750" cy="247650"/>
            </a:xfrm>
            <a:custGeom>
              <a:avLst/>
              <a:gdLst>
                <a:gd name="T0" fmla="*/ 262890 w 150"/>
                <a:gd name="T1" fmla="*/ 26670 h 130"/>
                <a:gd name="T2" fmla="*/ 249555 w 150"/>
                <a:gd name="T3" fmla="*/ 24765 h 130"/>
                <a:gd name="T4" fmla="*/ 240030 w 150"/>
                <a:gd name="T5" fmla="*/ 19050 h 130"/>
                <a:gd name="T6" fmla="*/ 224790 w 150"/>
                <a:gd name="T7" fmla="*/ 20955 h 130"/>
                <a:gd name="T8" fmla="*/ 203835 w 150"/>
                <a:gd name="T9" fmla="*/ 22860 h 130"/>
                <a:gd name="T10" fmla="*/ 192405 w 150"/>
                <a:gd name="T11" fmla="*/ 9525 h 130"/>
                <a:gd name="T12" fmla="*/ 194310 w 150"/>
                <a:gd name="T13" fmla="*/ 1905 h 130"/>
                <a:gd name="T14" fmla="*/ 177165 w 150"/>
                <a:gd name="T15" fmla="*/ 5715 h 130"/>
                <a:gd name="T16" fmla="*/ 167640 w 150"/>
                <a:gd name="T17" fmla="*/ 22860 h 130"/>
                <a:gd name="T18" fmla="*/ 156210 w 150"/>
                <a:gd name="T19" fmla="*/ 49530 h 130"/>
                <a:gd name="T20" fmla="*/ 144780 w 150"/>
                <a:gd name="T21" fmla="*/ 66675 h 130"/>
                <a:gd name="T22" fmla="*/ 123825 w 150"/>
                <a:gd name="T23" fmla="*/ 76200 h 130"/>
                <a:gd name="T24" fmla="*/ 110490 w 150"/>
                <a:gd name="T25" fmla="*/ 85725 h 130"/>
                <a:gd name="T26" fmla="*/ 93345 w 150"/>
                <a:gd name="T27" fmla="*/ 102870 h 130"/>
                <a:gd name="T28" fmla="*/ 93345 w 150"/>
                <a:gd name="T29" fmla="*/ 110490 h 130"/>
                <a:gd name="T30" fmla="*/ 81915 w 150"/>
                <a:gd name="T31" fmla="*/ 129540 h 130"/>
                <a:gd name="T32" fmla="*/ 80010 w 150"/>
                <a:gd name="T33" fmla="*/ 160020 h 130"/>
                <a:gd name="T34" fmla="*/ 87630 w 150"/>
                <a:gd name="T35" fmla="*/ 171450 h 130"/>
                <a:gd name="T36" fmla="*/ 72390 w 150"/>
                <a:gd name="T37" fmla="*/ 190500 h 130"/>
                <a:gd name="T38" fmla="*/ 66675 w 150"/>
                <a:gd name="T39" fmla="*/ 200025 h 130"/>
                <a:gd name="T40" fmla="*/ 47625 w 150"/>
                <a:gd name="T41" fmla="*/ 215265 h 130"/>
                <a:gd name="T42" fmla="*/ 40005 w 150"/>
                <a:gd name="T43" fmla="*/ 228600 h 130"/>
                <a:gd name="T44" fmla="*/ 28575 w 150"/>
                <a:gd name="T45" fmla="*/ 228600 h 130"/>
                <a:gd name="T46" fmla="*/ 9525 w 150"/>
                <a:gd name="T47" fmla="*/ 238125 h 130"/>
                <a:gd name="T48" fmla="*/ 0 w 150"/>
                <a:gd name="T49" fmla="*/ 247650 h 130"/>
                <a:gd name="T50" fmla="*/ 106680 w 150"/>
                <a:gd name="T51" fmla="*/ 247650 h 130"/>
                <a:gd name="T52" fmla="*/ 106680 w 150"/>
                <a:gd name="T53" fmla="*/ 219075 h 130"/>
                <a:gd name="T54" fmla="*/ 125730 w 150"/>
                <a:gd name="T55" fmla="*/ 203835 h 130"/>
                <a:gd name="T56" fmla="*/ 140970 w 150"/>
                <a:gd name="T57" fmla="*/ 194310 h 130"/>
                <a:gd name="T58" fmla="*/ 154305 w 150"/>
                <a:gd name="T59" fmla="*/ 190500 h 130"/>
                <a:gd name="T60" fmla="*/ 160020 w 150"/>
                <a:gd name="T61" fmla="*/ 184785 h 130"/>
                <a:gd name="T62" fmla="*/ 175260 w 150"/>
                <a:gd name="T63" fmla="*/ 184785 h 130"/>
                <a:gd name="T64" fmla="*/ 190500 w 150"/>
                <a:gd name="T65" fmla="*/ 180975 h 130"/>
                <a:gd name="T66" fmla="*/ 201930 w 150"/>
                <a:gd name="T67" fmla="*/ 163830 h 130"/>
                <a:gd name="T68" fmla="*/ 224790 w 150"/>
                <a:gd name="T69" fmla="*/ 158115 h 130"/>
                <a:gd name="T70" fmla="*/ 230505 w 150"/>
                <a:gd name="T71" fmla="*/ 150495 h 130"/>
                <a:gd name="T72" fmla="*/ 220980 w 150"/>
                <a:gd name="T73" fmla="*/ 142875 h 130"/>
                <a:gd name="T74" fmla="*/ 228600 w 150"/>
                <a:gd name="T75" fmla="*/ 131445 h 130"/>
                <a:gd name="T76" fmla="*/ 245745 w 150"/>
                <a:gd name="T77" fmla="*/ 127635 h 130"/>
                <a:gd name="T78" fmla="*/ 268605 w 150"/>
                <a:gd name="T79" fmla="*/ 121920 h 130"/>
                <a:gd name="T80" fmla="*/ 280035 w 150"/>
                <a:gd name="T81" fmla="*/ 120015 h 130"/>
                <a:gd name="T82" fmla="*/ 285750 w 150"/>
                <a:gd name="T83" fmla="*/ 106680 h 130"/>
                <a:gd name="T84" fmla="*/ 278130 w 150"/>
                <a:gd name="T85" fmla="*/ 99060 h 130"/>
                <a:gd name="T86" fmla="*/ 278130 w 150"/>
                <a:gd name="T87" fmla="*/ 91440 h 130"/>
                <a:gd name="T88" fmla="*/ 272415 w 150"/>
                <a:gd name="T89" fmla="*/ 83820 h 130"/>
                <a:gd name="T90" fmla="*/ 274320 w 150"/>
                <a:gd name="T91" fmla="*/ 62865 h 130"/>
                <a:gd name="T92" fmla="*/ 272415 w 150"/>
                <a:gd name="T93" fmla="*/ 38100 h 130"/>
                <a:gd name="T94" fmla="*/ 262890 w 150"/>
                <a:gd name="T95" fmla="*/ 26670 h 13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50"/>
                <a:gd name="T145" fmla="*/ 0 h 130"/>
                <a:gd name="T146" fmla="*/ 150 w 150"/>
                <a:gd name="T147" fmla="*/ 130 h 13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50" h="130">
                  <a:moveTo>
                    <a:pt x="138" y="14"/>
                  </a:moveTo>
                  <a:lnTo>
                    <a:pt x="131" y="13"/>
                  </a:lnTo>
                  <a:cubicBezTo>
                    <a:pt x="129" y="13"/>
                    <a:pt x="128" y="10"/>
                    <a:pt x="126" y="10"/>
                  </a:cubicBezTo>
                  <a:cubicBezTo>
                    <a:pt x="124" y="9"/>
                    <a:pt x="121" y="11"/>
                    <a:pt x="118" y="11"/>
                  </a:cubicBezTo>
                  <a:cubicBezTo>
                    <a:pt x="115" y="12"/>
                    <a:pt x="111" y="13"/>
                    <a:pt x="107" y="12"/>
                  </a:cubicBezTo>
                  <a:cubicBezTo>
                    <a:pt x="104" y="11"/>
                    <a:pt x="102" y="8"/>
                    <a:pt x="101" y="5"/>
                  </a:cubicBezTo>
                  <a:cubicBezTo>
                    <a:pt x="100" y="4"/>
                    <a:pt x="103" y="2"/>
                    <a:pt x="102" y="1"/>
                  </a:cubicBezTo>
                  <a:cubicBezTo>
                    <a:pt x="99" y="0"/>
                    <a:pt x="95" y="1"/>
                    <a:pt x="93" y="3"/>
                  </a:cubicBezTo>
                  <a:cubicBezTo>
                    <a:pt x="91" y="5"/>
                    <a:pt x="90" y="9"/>
                    <a:pt x="88" y="12"/>
                  </a:cubicBezTo>
                  <a:cubicBezTo>
                    <a:pt x="86" y="16"/>
                    <a:pt x="85" y="21"/>
                    <a:pt x="82" y="26"/>
                  </a:cubicBezTo>
                  <a:cubicBezTo>
                    <a:pt x="80" y="29"/>
                    <a:pt x="79" y="33"/>
                    <a:pt x="76" y="35"/>
                  </a:cubicBezTo>
                  <a:cubicBezTo>
                    <a:pt x="73" y="38"/>
                    <a:pt x="68" y="38"/>
                    <a:pt x="65" y="40"/>
                  </a:cubicBezTo>
                  <a:cubicBezTo>
                    <a:pt x="62" y="41"/>
                    <a:pt x="60" y="43"/>
                    <a:pt x="58" y="45"/>
                  </a:cubicBezTo>
                  <a:cubicBezTo>
                    <a:pt x="55" y="48"/>
                    <a:pt x="51" y="51"/>
                    <a:pt x="49" y="54"/>
                  </a:cubicBezTo>
                  <a:cubicBezTo>
                    <a:pt x="48" y="55"/>
                    <a:pt x="49" y="57"/>
                    <a:pt x="49" y="58"/>
                  </a:cubicBezTo>
                  <a:cubicBezTo>
                    <a:pt x="47" y="62"/>
                    <a:pt x="44" y="64"/>
                    <a:pt x="43" y="68"/>
                  </a:cubicBezTo>
                  <a:cubicBezTo>
                    <a:pt x="41" y="73"/>
                    <a:pt x="41" y="79"/>
                    <a:pt x="42" y="84"/>
                  </a:cubicBezTo>
                  <a:cubicBezTo>
                    <a:pt x="43" y="86"/>
                    <a:pt x="46" y="88"/>
                    <a:pt x="46" y="90"/>
                  </a:cubicBezTo>
                  <a:cubicBezTo>
                    <a:pt x="44" y="94"/>
                    <a:pt x="40" y="96"/>
                    <a:pt x="38" y="100"/>
                  </a:cubicBezTo>
                  <a:cubicBezTo>
                    <a:pt x="37" y="101"/>
                    <a:pt x="37" y="104"/>
                    <a:pt x="35" y="105"/>
                  </a:cubicBezTo>
                  <a:cubicBezTo>
                    <a:pt x="33" y="108"/>
                    <a:pt x="28" y="110"/>
                    <a:pt x="25" y="113"/>
                  </a:cubicBezTo>
                  <a:cubicBezTo>
                    <a:pt x="23" y="115"/>
                    <a:pt x="23" y="118"/>
                    <a:pt x="21" y="120"/>
                  </a:cubicBezTo>
                  <a:cubicBezTo>
                    <a:pt x="19" y="121"/>
                    <a:pt x="17" y="119"/>
                    <a:pt x="15" y="120"/>
                  </a:cubicBezTo>
                  <a:cubicBezTo>
                    <a:pt x="12" y="121"/>
                    <a:pt x="8" y="123"/>
                    <a:pt x="5" y="125"/>
                  </a:cubicBezTo>
                  <a:cubicBezTo>
                    <a:pt x="3" y="126"/>
                    <a:pt x="2" y="128"/>
                    <a:pt x="0" y="130"/>
                  </a:cubicBezTo>
                  <a:lnTo>
                    <a:pt x="56" y="130"/>
                  </a:lnTo>
                  <a:lnTo>
                    <a:pt x="56" y="115"/>
                  </a:lnTo>
                  <a:cubicBezTo>
                    <a:pt x="56" y="112"/>
                    <a:pt x="63" y="110"/>
                    <a:pt x="66" y="107"/>
                  </a:cubicBezTo>
                  <a:cubicBezTo>
                    <a:pt x="68" y="105"/>
                    <a:pt x="71" y="103"/>
                    <a:pt x="74" y="102"/>
                  </a:cubicBezTo>
                  <a:cubicBezTo>
                    <a:pt x="76" y="101"/>
                    <a:pt x="79" y="102"/>
                    <a:pt x="81" y="100"/>
                  </a:cubicBezTo>
                  <a:cubicBezTo>
                    <a:pt x="82" y="100"/>
                    <a:pt x="82" y="97"/>
                    <a:pt x="84" y="97"/>
                  </a:cubicBezTo>
                  <a:cubicBezTo>
                    <a:pt x="86" y="96"/>
                    <a:pt x="89" y="97"/>
                    <a:pt x="92" y="97"/>
                  </a:cubicBezTo>
                  <a:cubicBezTo>
                    <a:pt x="95" y="96"/>
                    <a:pt x="98" y="96"/>
                    <a:pt x="100" y="95"/>
                  </a:cubicBezTo>
                  <a:cubicBezTo>
                    <a:pt x="103" y="92"/>
                    <a:pt x="103" y="88"/>
                    <a:pt x="106" y="86"/>
                  </a:cubicBezTo>
                  <a:cubicBezTo>
                    <a:pt x="109" y="83"/>
                    <a:pt x="114" y="84"/>
                    <a:pt x="118" y="83"/>
                  </a:cubicBezTo>
                  <a:cubicBezTo>
                    <a:pt x="120" y="82"/>
                    <a:pt x="121" y="80"/>
                    <a:pt x="121" y="79"/>
                  </a:cubicBezTo>
                  <a:cubicBezTo>
                    <a:pt x="120" y="77"/>
                    <a:pt x="116" y="77"/>
                    <a:pt x="116" y="75"/>
                  </a:cubicBezTo>
                  <a:cubicBezTo>
                    <a:pt x="116" y="73"/>
                    <a:pt x="118" y="70"/>
                    <a:pt x="120" y="69"/>
                  </a:cubicBezTo>
                  <a:cubicBezTo>
                    <a:pt x="123" y="67"/>
                    <a:pt x="126" y="67"/>
                    <a:pt x="129" y="67"/>
                  </a:cubicBezTo>
                  <a:cubicBezTo>
                    <a:pt x="133" y="66"/>
                    <a:pt x="137" y="64"/>
                    <a:pt x="141" y="64"/>
                  </a:cubicBezTo>
                  <a:cubicBezTo>
                    <a:pt x="143" y="63"/>
                    <a:pt x="145" y="64"/>
                    <a:pt x="147" y="63"/>
                  </a:cubicBezTo>
                  <a:cubicBezTo>
                    <a:pt x="148" y="61"/>
                    <a:pt x="150" y="59"/>
                    <a:pt x="150" y="56"/>
                  </a:cubicBezTo>
                  <a:cubicBezTo>
                    <a:pt x="150" y="54"/>
                    <a:pt x="147" y="54"/>
                    <a:pt x="146" y="52"/>
                  </a:cubicBezTo>
                  <a:cubicBezTo>
                    <a:pt x="146" y="51"/>
                    <a:pt x="147" y="49"/>
                    <a:pt x="146" y="48"/>
                  </a:cubicBezTo>
                  <a:cubicBezTo>
                    <a:pt x="146" y="46"/>
                    <a:pt x="144" y="46"/>
                    <a:pt x="143" y="44"/>
                  </a:cubicBezTo>
                  <a:cubicBezTo>
                    <a:pt x="143" y="41"/>
                    <a:pt x="144" y="37"/>
                    <a:pt x="144" y="33"/>
                  </a:cubicBezTo>
                  <a:cubicBezTo>
                    <a:pt x="144" y="29"/>
                    <a:pt x="144" y="24"/>
                    <a:pt x="143" y="20"/>
                  </a:cubicBezTo>
                  <a:cubicBezTo>
                    <a:pt x="142" y="18"/>
                    <a:pt x="140" y="16"/>
                    <a:pt x="138" y="1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" name="Freeform 48"/>
            <p:cNvSpPr>
              <a:spLocks noChangeAspect="1"/>
            </p:cNvSpPr>
            <p:nvPr/>
          </p:nvSpPr>
          <p:spPr bwMode="auto">
            <a:xfrm>
              <a:off x="4135438" y="3433763"/>
              <a:ext cx="287337" cy="357187"/>
            </a:xfrm>
            <a:custGeom>
              <a:avLst/>
              <a:gdLst>
                <a:gd name="T0" fmla="*/ 110368 w 151"/>
                <a:gd name="T1" fmla="*/ 355277 h 187"/>
                <a:gd name="T2" fmla="*/ 119882 w 151"/>
                <a:gd name="T3" fmla="*/ 353367 h 187"/>
                <a:gd name="T4" fmla="*/ 125591 w 151"/>
                <a:gd name="T5" fmla="*/ 338086 h 187"/>
                <a:gd name="T6" fmla="*/ 133203 w 151"/>
                <a:gd name="T7" fmla="*/ 338086 h 187"/>
                <a:gd name="T8" fmla="*/ 142717 w 151"/>
                <a:gd name="T9" fmla="*/ 349547 h 187"/>
                <a:gd name="T10" fmla="*/ 150329 w 151"/>
                <a:gd name="T11" fmla="*/ 339996 h 187"/>
                <a:gd name="T12" fmla="*/ 175066 w 151"/>
                <a:gd name="T13" fmla="*/ 339996 h 187"/>
                <a:gd name="T14" fmla="*/ 180775 w 151"/>
                <a:gd name="T15" fmla="*/ 332356 h 187"/>
                <a:gd name="T16" fmla="*/ 184581 w 151"/>
                <a:gd name="T17" fmla="*/ 339996 h 187"/>
                <a:gd name="T18" fmla="*/ 274017 w 151"/>
                <a:gd name="T19" fmla="*/ 339996 h 187"/>
                <a:gd name="T20" fmla="*/ 279725 w 151"/>
                <a:gd name="T21" fmla="*/ 313255 h 187"/>
                <a:gd name="T22" fmla="*/ 272114 w 151"/>
                <a:gd name="T23" fmla="*/ 309435 h 187"/>
                <a:gd name="T24" fmla="*/ 251182 w 151"/>
                <a:gd name="T25" fmla="*/ 66853 h 187"/>
                <a:gd name="T26" fmla="*/ 287337 w 151"/>
                <a:gd name="T27" fmla="*/ 66853 h 187"/>
                <a:gd name="T28" fmla="*/ 195998 w 151"/>
                <a:gd name="T29" fmla="*/ 0 h 187"/>
                <a:gd name="T30" fmla="*/ 195998 w 151"/>
                <a:gd name="T31" fmla="*/ 40112 h 187"/>
                <a:gd name="T32" fmla="*/ 117979 w 151"/>
                <a:gd name="T33" fmla="*/ 40112 h 187"/>
                <a:gd name="T34" fmla="*/ 117979 w 151"/>
                <a:gd name="T35" fmla="*/ 110785 h 187"/>
                <a:gd name="T36" fmla="*/ 110368 w 151"/>
                <a:gd name="T37" fmla="*/ 114605 h 187"/>
                <a:gd name="T38" fmla="*/ 100853 w 151"/>
                <a:gd name="T39" fmla="*/ 116516 h 187"/>
                <a:gd name="T40" fmla="*/ 87533 w 151"/>
                <a:gd name="T41" fmla="*/ 131796 h 187"/>
                <a:gd name="T42" fmla="*/ 91339 w 151"/>
                <a:gd name="T43" fmla="*/ 166178 h 187"/>
                <a:gd name="T44" fmla="*/ 87533 w 151"/>
                <a:gd name="T45" fmla="*/ 171908 h 187"/>
                <a:gd name="T46" fmla="*/ 7612 w 151"/>
                <a:gd name="T47" fmla="*/ 169998 h 187"/>
                <a:gd name="T48" fmla="*/ 0 w 151"/>
                <a:gd name="T49" fmla="*/ 181459 h 187"/>
                <a:gd name="T50" fmla="*/ 7612 w 151"/>
                <a:gd name="T51" fmla="*/ 189099 h 187"/>
                <a:gd name="T52" fmla="*/ 11417 w 151"/>
                <a:gd name="T53" fmla="*/ 189099 h 187"/>
                <a:gd name="T54" fmla="*/ 15223 w 151"/>
                <a:gd name="T55" fmla="*/ 204380 h 187"/>
                <a:gd name="T56" fmla="*/ 9514 w 151"/>
                <a:gd name="T57" fmla="*/ 231121 h 187"/>
                <a:gd name="T58" fmla="*/ 13320 w 151"/>
                <a:gd name="T59" fmla="*/ 236851 h 187"/>
                <a:gd name="T60" fmla="*/ 17126 w 151"/>
                <a:gd name="T61" fmla="*/ 257862 h 187"/>
                <a:gd name="T62" fmla="*/ 13320 w 151"/>
                <a:gd name="T63" fmla="*/ 284604 h 187"/>
                <a:gd name="T64" fmla="*/ 5709 w 151"/>
                <a:gd name="T65" fmla="*/ 313255 h 187"/>
                <a:gd name="T66" fmla="*/ 15223 w 151"/>
                <a:gd name="T67" fmla="*/ 303704 h 187"/>
                <a:gd name="T68" fmla="*/ 39961 w 151"/>
                <a:gd name="T69" fmla="*/ 303704 h 187"/>
                <a:gd name="T70" fmla="*/ 43767 w 151"/>
                <a:gd name="T71" fmla="*/ 299884 h 187"/>
                <a:gd name="T72" fmla="*/ 58990 w 151"/>
                <a:gd name="T73" fmla="*/ 301794 h 187"/>
                <a:gd name="T74" fmla="*/ 70407 w 151"/>
                <a:gd name="T75" fmla="*/ 317075 h 187"/>
                <a:gd name="T76" fmla="*/ 81824 w 151"/>
                <a:gd name="T77" fmla="*/ 317075 h 187"/>
                <a:gd name="T78" fmla="*/ 87533 w 151"/>
                <a:gd name="T79" fmla="*/ 336176 h 187"/>
                <a:gd name="T80" fmla="*/ 97048 w 151"/>
                <a:gd name="T81" fmla="*/ 347637 h 187"/>
                <a:gd name="T82" fmla="*/ 110368 w 151"/>
                <a:gd name="T83" fmla="*/ 355277 h 18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1"/>
                <a:gd name="T127" fmla="*/ 0 h 187"/>
                <a:gd name="T128" fmla="*/ 151 w 151"/>
                <a:gd name="T129" fmla="*/ 187 h 18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1" h="187">
                  <a:moveTo>
                    <a:pt x="58" y="186"/>
                  </a:moveTo>
                  <a:cubicBezTo>
                    <a:pt x="60" y="186"/>
                    <a:pt x="62" y="187"/>
                    <a:pt x="63" y="185"/>
                  </a:cubicBezTo>
                  <a:cubicBezTo>
                    <a:pt x="65" y="183"/>
                    <a:pt x="64" y="179"/>
                    <a:pt x="66" y="177"/>
                  </a:cubicBezTo>
                  <a:cubicBezTo>
                    <a:pt x="66" y="176"/>
                    <a:pt x="69" y="176"/>
                    <a:pt x="70" y="177"/>
                  </a:cubicBezTo>
                  <a:cubicBezTo>
                    <a:pt x="72" y="178"/>
                    <a:pt x="72" y="182"/>
                    <a:pt x="75" y="183"/>
                  </a:cubicBezTo>
                  <a:cubicBezTo>
                    <a:pt x="77" y="183"/>
                    <a:pt x="77" y="178"/>
                    <a:pt x="79" y="178"/>
                  </a:cubicBezTo>
                  <a:cubicBezTo>
                    <a:pt x="83" y="176"/>
                    <a:pt x="88" y="179"/>
                    <a:pt x="92" y="178"/>
                  </a:cubicBezTo>
                  <a:cubicBezTo>
                    <a:pt x="94" y="177"/>
                    <a:pt x="93" y="174"/>
                    <a:pt x="95" y="174"/>
                  </a:cubicBezTo>
                  <a:cubicBezTo>
                    <a:pt x="96" y="174"/>
                    <a:pt x="96" y="178"/>
                    <a:pt x="97" y="178"/>
                  </a:cubicBezTo>
                  <a:lnTo>
                    <a:pt x="144" y="178"/>
                  </a:lnTo>
                  <a:lnTo>
                    <a:pt x="147" y="164"/>
                  </a:lnTo>
                  <a:lnTo>
                    <a:pt x="143" y="162"/>
                  </a:lnTo>
                  <a:lnTo>
                    <a:pt x="132" y="35"/>
                  </a:lnTo>
                  <a:cubicBezTo>
                    <a:pt x="131" y="29"/>
                    <a:pt x="144" y="35"/>
                    <a:pt x="151" y="35"/>
                  </a:cubicBezTo>
                  <a:lnTo>
                    <a:pt x="103" y="0"/>
                  </a:lnTo>
                  <a:lnTo>
                    <a:pt x="103" y="21"/>
                  </a:lnTo>
                  <a:lnTo>
                    <a:pt x="62" y="21"/>
                  </a:lnTo>
                  <a:lnTo>
                    <a:pt x="62" y="58"/>
                  </a:lnTo>
                  <a:lnTo>
                    <a:pt x="58" y="60"/>
                  </a:lnTo>
                  <a:cubicBezTo>
                    <a:pt x="56" y="60"/>
                    <a:pt x="54" y="60"/>
                    <a:pt x="53" y="61"/>
                  </a:cubicBezTo>
                  <a:cubicBezTo>
                    <a:pt x="50" y="63"/>
                    <a:pt x="48" y="66"/>
                    <a:pt x="46" y="69"/>
                  </a:cubicBezTo>
                  <a:cubicBezTo>
                    <a:pt x="46" y="75"/>
                    <a:pt x="48" y="81"/>
                    <a:pt x="48" y="87"/>
                  </a:cubicBezTo>
                  <a:cubicBezTo>
                    <a:pt x="48" y="89"/>
                    <a:pt x="46" y="89"/>
                    <a:pt x="46" y="90"/>
                  </a:cubicBezTo>
                  <a:lnTo>
                    <a:pt x="4" y="89"/>
                  </a:lnTo>
                  <a:lnTo>
                    <a:pt x="0" y="95"/>
                  </a:lnTo>
                  <a:cubicBezTo>
                    <a:pt x="1" y="96"/>
                    <a:pt x="2" y="98"/>
                    <a:pt x="4" y="99"/>
                  </a:cubicBezTo>
                  <a:cubicBezTo>
                    <a:pt x="4" y="99"/>
                    <a:pt x="6" y="98"/>
                    <a:pt x="6" y="99"/>
                  </a:cubicBezTo>
                  <a:cubicBezTo>
                    <a:pt x="7" y="101"/>
                    <a:pt x="8" y="104"/>
                    <a:pt x="8" y="107"/>
                  </a:cubicBezTo>
                  <a:cubicBezTo>
                    <a:pt x="8" y="111"/>
                    <a:pt x="6" y="116"/>
                    <a:pt x="5" y="121"/>
                  </a:cubicBezTo>
                  <a:cubicBezTo>
                    <a:pt x="5" y="122"/>
                    <a:pt x="7" y="123"/>
                    <a:pt x="7" y="124"/>
                  </a:cubicBezTo>
                  <a:cubicBezTo>
                    <a:pt x="8" y="127"/>
                    <a:pt x="9" y="131"/>
                    <a:pt x="9" y="135"/>
                  </a:cubicBezTo>
                  <a:cubicBezTo>
                    <a:pt x="9" y="139"/>
                    <a:pt x="8" y="144"/>
                    <a:pt x="7" y="149"/>
                  </a:cubicBezTo>
                  <a:cubicBezTo>
                    <a:pt x="6" y="154"/>
                    <a:pt x="4" y="160"/>
                    <a:pt x="3" y="164"/>
                  </a:cubicBezTo>
                  <a:cubicBezTo>
                    <a:pt x="5" y="163"/>
                    <a:pt x="6" y="160"/>
                    <a:pt x="8" y="159"/>
                  </a:cubicBezTo>
                  <a:cubicBezTo>
                    <a:pt x="12" y="158"/>
                    <a:pt x="17" y="160"/>
                    <a:pt x="21" y="159"/>
                  </a:cubicBezTo>
                  <a:cubicBezTo>
                    <a:pt x="22" y="159"/>
                    <a:pt x="22" y="157"/>
                    <a:pt x="23" y="157"/>
                  </a:cubicBezTo>
                  <a:cubicBezTo>
                    <a:pt x="26" y="157"/>
                    <a:pt x="29" y="156"/>
                    <a:pt x="31" y="158"/>
                  </a:cubicBezTo>
                  <a:cubicBezTo>
                    <a:pt x="34" y="159"/>
                    <a:pt x="34" y="164"/>
                    <a:pt x="37" y="166"/>
                  </a:cubicBezTo>
                  <a:cubicBezTo>
                    <a:pt x="39" y="167"/>
                    <a:pt x="41" y="165"/>
                    <a:pt x="43" y="166"/>
                  </a:cubicBezTo>
                  <a:cubicBezTo>
                    <a:pt x="45" y="169"/>
                    <a:pt x="45" y="173"/>
                    <a:pt x="46" y="176"/>
                  </a:cubicBezTo>
                  <a:cubicBezTo>
                    <a:pt x="47" y="178"/>
                    <a:pt x="49" y="181"/>
                    <a:pt x="51" y="182"/>
                  </a:cubicBezTo>
                  <a:cubicBezTo>
                    <a:pt x="53" y="184"/>
                    <a:pt x="56" y="185"/>
                    <a:pt x="58" y="18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" name="Freeform 49"/>
            <p:cNvSpPr>
              <a:spLocks noChangeAspect="1"/>
            </p:cNvSpPr>
            <p:nvPr/>
          </p:nvSpPr>
          <p:spPr bwMode="auto">
            <a:xfrm>
              <a:off x="4116388" y="3732213"/>
              <a:ext cx="147637" cy="120650"/>
            </a:xfrm>
            <a:custGeom>
              <a:avLst/>
              <a:gdLst>
                <a:gd name="T0" fmla="*/ 18928 w 78"/>
                <a:gd name="T1" fmla="*/ 120650 h 64"/>
                <a:gd name="T2" fmla="*/ 17035 w 78"/>
                <a:gd name="T3" fmla="*/ 111224 h 64"/>
                <a:gd name="T4" fmla="*/ 17035 w 78"/>
                <a:gd name="T5" fmla="*/ 101798 h 64"/>
                <a:gd name="T6" fmla="*/ 37856 w 78"/>
                <a:gd name="T7" fmla="*/ 101798 h 64"/>
                <a:gd name="T8" fmla="*/ 56783 w 78"/>
                <a:gd name="T9" fmla="*/ 96143 h 64"/>
                <a:gd name="T10" fmla="*/ 73819 w 78"/>
                <a:gd name="T11" fmla="*/ 98028 h 64"/>
                <a:gd name="T12" fmla="*/ 87068 w 78"/>
                <a:gd name="T13" fmla="*/ 96143 h 64"/>
                <a:gd name="T14" fmla="*/ 88961 w 78"/>
                <a:gd name="T15" fmla="*/ 88602 h 64"/>
                <a:gd name="T16" fmla="*/ 68140 w 78"/>
                <a:gd name="T17" fmla="*/ 84832 h 64"/>
                <a:gd name="T18" fmla="*/ 54891 w 78"/>
                <a:gd name="T19" fmla="*/ 82947 h 64"/>
                <a:gd name="T20" fmla="*/ 49212 w 78"/>
                <a:gd name="T21" fmla="*/ 88602 h 64"/>
                <a:gd name="T22" fmla="*/ 26499 w 78"/>
                <a:gd name="T23" fmla="*/ 90487 h 64"/>
                <a:gd name="T24" fmla="*/ 20821 w 78"/>
                <a:gd name="T25" fmla="*/ 77291 h 64"/>
                <a:gd name="T26" fmla="*/ 15142 w 78"/>
                <a:gd name="T27" fmla="*/ 62210 h 64"/>
                <a:gd name="T28" fmla="*/ 0 w 78"/>
                <a:gd name="T29" fmla="*/ 58440 h 64"/>
                <a:gd name="T30" fmla="*/ 15142 w 78"/>
                <a:gd name="T31" fmla="*/ 43359 h 64"/>
                <a:gd name="T32" fmla="*/ 26499 w 78"/>
                <a:gd name="T33" fmla="*/ 30163 h 64"/>
                <a:gd name="T34" fmla="*/ 24606 w 78"/>
                <a:gd name="T35" fmla="*/ 15081 h 64"/>
                <a:gd name="T36" fmla="*/ 34070 w 78"/>
                <a:gd name="T37" fmla="*/ 5655 h 64"/>
                <a:gd name="T38" fmla="*/ 58676 w 78"/>
                <a:gd name="T39" fmla="*/ 5655 h 64"/>
                <a:gd name="T40" fmla="*/ 62462 w 78"/>
                <a:gd name="T41" fmla="*/ 1885 h 64"/>
                <a:gd name="T42" fmla="*/ 77604 w 78"/>
                <a:gd name="T43" fmla="*/ 3770 h 64"/>
                <a:gd name="T44" fmla="*/ 88961 w 78"/>
                <a:gd name="T45" fmla="*/ 18852 h 64"/>
                <a:gd name="T46" fmla="*/ 100317 w 78"/>
                <a:gd name="T47" fmla="*/ 18852 h 64"/>
                <a:gd name="T48" fmla="*/ 105996 w 78"/>
                <a:gd name="T49" fmla="*/ 37703 h 64"/>
                <a:gd name="T50" fmla="*/ 115460 w 78"/>
                <a:gd name="T51" fmla="*/ 49014 h 64"/>
                <a:gd name="T52" fmla="*/ 128709 w 78"/>
                <a:gd name="T53" fmla="*/ 56555 h 64"/>
                <a:gd name="T54" fmla="*/ 134388 w 78"/>
                <a:gd name="T55" fmla="*/ 71636 h 64"/>
                <a:gd name="T56" fmla="*/ 130602 w 78"/>
                <a:gd name="T57" fmla="*/ 88602 h 64"/>
                <a:gd name="T58" fmla="*/ 136280 w 78"/>
                <a:gd name="T59" fmla="*/ 96143 h 64"/>
                <a:gd name="T60" fmla="*/ 141959 w 78"/>
                <a:gd name="T61" fmla="*/ 96143 h 64"/>
                <a:gd name="T62" fmla="*/ 147637 w 78"/>
                <a:gd name="T63" fmla="*/ 107454 h 64"/>
                <a:gd name="T64" fmla="*/ 143851 w 78"/>
                <a:gd name="T65" fmla="*/ 118765 h 64"/>
                <a:gd name="T66" fmla="*/ 128709 w 78"/>
                <a:gd name="T67" fmla="*/ 120650 h 64"/>
                <a:gd name="T68" fmla="*/ 113567 w 78"/>
                <a:gd name="T69" fmla="*/ 118765 h 64"/>
                <a:gd name="T70" fmla="*/ 107889 w 78"/>
                <a:gd name="T71" fmla="*/ 118765 h 64"/>
                <a:gd name="T72" fmla="*/ 104103 w 78"/>
                <a:gd name="T73" fmla="*/ 114995 h 64"/>
                <a:gd name="T74" fmla="*/ 90854 w 78"/>
                <a:gd name="T75" fmla="*/ 114995 h 64"/>
                <a:gd name="T76" fmla="*/ 62462 w 78"/>
                <a:gd name="T77" fmla="*/ 113109 h 64"/>
                <a:gd name="T78" fmla="*/ 47320 w 78"/>
                <a:gd name="T79" fmla="*/ 120650 h 64"/>
                <a:gd name="T80" fmla="*/ 30285 w 78"/>
                <a:gd name="T81" fmla="*/ 118765 h 64"/>
                <a:gd name="T82" fmla="*/ 18928 w 78"/>
                <a:gd name="T83" fmla="*/ 120650 h 6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8"/>
                <a:gd name="T127" fmla="*/ 0 h 64"/>
                <a:gd name="T128" fmla="*/ 78 w 78"/>
                <a:gd name="T129" fmla="*/ 64 h 6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8" h="64">
                  <a:moveTo>
                    <a:pt x="10" y="64"/>
                  </a:moveTo>
                  <a:cubicBezTo>
                    <a:pt x="10" y="62"/>
                    <a:pt x="9" y="61"/>
                    <a:pt x="9" y="59"/>
                  </a:cubicBezTo>
                  <a:cubicBezTo>
                    <a:pt x="9" y="57"/>
                    <a:pt x="9" y="56"/>
                    <a:pt x="9" y="54"/>
                  </a:cubicBezTo>
                  <a:cubicBezTo>
                    <a:pt x="13" y="54"/>
                    <a:pt x="16" y="55"/>
                    <a:pt x="20" y="54"/>
                  </a:cubicBezTo>
                  <a:cubicBezTo>
                    <a:pt x="23" y="54"/>
                    <a:pt x="26" y="51"/>
                    <a:pt x="30" y="51"/>
                  </a:cubicBezTo>
                  <a:cubicBezTo>
                    <a:pt x="33" y="51"/>
                    <a:pt x="36" y="52"/>
                    <a:pt x="39" y="52"/>
                  </a:cubicBezTo>
                  <a:cubicBezTo>
                    <a:pt x="42" y="52"/>
                    <a:pt x="44" y="52"/>
                    <a:pt x="46" y="51"/>
                  </a:cubicBezTo>
                  <a:cubicBezTo>
                    <a:pt x="47" y="50"/>
                    <a:pt x="48" y="48"/>
                    <a:pt x="47" y="47"/>
                  </a:cubicBezTo>
                  <a:cubicBezTo>
                    <a:pt x="44" y="46"/>
                    <a:pt x="39" y="45"/>
                    <a:pt x="36" y="45"/>
                  </a:cubicBezTo>
                  <a:cubicBezTo>
                    <a:pt x="33" y="44"/>
                    <a:pt x="31" y="44"/>
                    <a:pt x="29" y="44"/>
                  </a:cubicBezTo>
                  <a:cubicBezTo>
                    <a:pt x="28" y="45"/>
                    <a:pt x="27" y="47"/>
                    <a:pt x="26" y="47"/>
                  </a:cubicBezTo>
                  <a:cubicBezTo>
                    <a:pt x="22" y="48"/>
                    <a:pt x="18" y="48"/>
                    <a:pt x="14" y="48"/>
                  </a:cubicBezTo>
                  <a:cubicBezTo>
                    <a:pt x="13" y="46"/>
                    <a:pt x="12" y="43"/>
                    <a:pt x="11" y="41"/>
                  </a:cubicBezTo>
                  <a:cubicBezTo>
                    <a:pt x="10" y="38"/>
                    <a:pt x="10" y="35"/>
                    <a:pt x="8" y="33"/>
                  </a:cubicBezTo>
                  <a:cubicBezTo>
                    <a:pt x="6" y="32"/>
                    <a:pt x="0" y="34"/>
                    <a:pt x="0" y="31"/>
                  </a:cubicBezTo>
                  <a:cubicBezTo>
                    <a:pt x="0" y="27"/>
                    <a:pt x="6" y="26"/>
                    <a:pt x="8" y="23"/>
                  </a:cubicBezTo>
                  <a:cubicBezTo>
                    <a:pt x="10" y="21"/>
                    <a:pt x="13" y="19"/>
                    <a:pt x="14" y="16"/>
                  </a:cubicBezTo>
                  <a:cubicBezTo>
                    <a:pt x="14" y="14"/>
                    <a:pt x="13" y="11"/>
                    <a:pt x="13" y="8"/>
                  </a:cubicBezTo>
                  <a:cubicBezTo>
                    <a:pt x="15" y="7"/>
                    <a:pt x="16" y="4"/>
                    <a:pt x="18" y="3"/>
                  </a:cubicBezTo>
                  <a:cubicBezTo>
                    <a:pt x="22" y="2"/>
                    <a:pt x="27" y="4"/>
                    <a:pt x="31" y="3"/>
                  </a:cubicBezTo>
                  <a:cubicBezTo>
                    <a:pt x="32" y="3"/>
                    <a:pt x="32" y="1"/>
                    <a:pt x="33" y="1"/>
                  </a:cubicBezTo>
                  <a:cubicBezTo>
                    <a:pt x="36" y="1"/>
                    <a:pt x="39" y="0"/>
                    <a:pt x="41" y="2"/>
                  </a:cubicBezTo>
                  <a:cubicBezTo>
                    <a:pt x="44" y="3"/>
                    <a:pt x="44" y="8"/>
                    <a:pt x="47" y="10"/>
                  </a:cubicBezTo>
                  <a:cubicBezTo>
                    <a:pt x="49" y="11"/>
                    <a:pt x="51" y="9"/>
                    <a:pt x="53" y="10"/>
                  </a:cubicBezTo>
                  <a:cubicBezTo>
                    <a:pt x="55" y="13"/>
                    <a:pt x="55" y="17"/>
                    <a:pt x="56" y="20"/>
                  </a:cubicBezTo>
                  <a:cubicBezTo>
                    <a:pt x="57" y="22"/>
                    <a:pt x="59" y="25"/>
                    <a:pt x="61" y="26"/>
                  </a:cubicBezTo>
                  <a:cubicBezTo>
                    <a:pt x="63" y="28"/>
                    <a:pt x="66" y="29"/>
                    <a:pt x="68" y="30"/>
                  </a:cubicBezTo>
                  <a:lnTo>
                    <a:pt x="71" y="38"/>
                  </a:lnTo>
                  <a:lnTo>
                    <a:pt x="69" y="47"/>
                  </a:lnTo>
                  <a:lnTo>
                    <a:pt x="72" y="51"/>
                  </a:lnTo>
                  <a:lnTo>
                    <a:pt x="75" y="51"/>
                  </a:lnTo>
                  <a:lnTo>
                    <a:pt x="78" y="57"/>
                  </a:lnTo>
                  <a:lnTo>
                    <a:pt x="76" y="63"/>
                  </a:lnTo>
                  <a:cubicBezTo>
                    <a:pt x="73" y="63"/>
                    <a:pt x="71" y="64"/>
                    <a:pt x="68" y="64"/>
                  </a:cubicBezTo>
                  <a:cubicBezTo>
                    <a:pt x="66" y="63"/>
                    <a:pt x="63" y="63"/>
                    <a:pt x="60" y="63"/>
                  </a:cubicBezTo>
                  <a:cubicBezTo>
                    <a:pt x="59" y="63"/>
                    <a:pt x="58" y="64"/>
                    <a:pt x="57" y="63"/>
                  </a:cubicBezTo>
                  <a:cubicBezTo>
                    <a:pt x="56" y="63"/>
                    <a:pt x="56" y="61"/>
                    <a:pt x="55" y="61"/>
                  </a:cubicBezTo>
                  <a:cubicBezTo>
                    <a:pt x="53" y="60"/>
                    <a:pt x="50" y="61"/>
                    <a:pt x="48" y="61"/>
                  </a:cubicBezTo>
                  <a:cubicBezTo>
                    <a:pt x="43" y="60"/>
                    <a:pt x="38" y="59"/>
                    <a:pt x="33" y="60"/>
                  </a:cubicBezTo>
                  <a:cubicBezTo>
                    <a:pt x="30" y="60"/>
                    <a:pt x="28" y="63"/>
                    <a:pt x="25" y="64"/>
                  </a:cubicBezTo>
                  <a:cubicBezTo>
                    <a:pt x="22" y="64"/>
                    <a:pt x="19" y="63"/>
                    <a:pt x="16" y="63"/>
                  </a:cubicBezTo>
                  <a:cubicBezTo>
                    <a:pt x="14" y="63"/>
                    <a:pt x="12" y="63"/>
                    <a:pt x="10" y="6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" name="Freeform 50"/>
            <p:cNvSpPr>
              <a:spLocks noChangeAspect="1"/>
            </p:cNvSpPr>
            <p:nvPr/>
          </p:nvSpPr>
          <p:spPr bwMode="auto">
            <a:xfrm>
              <a:off x="4135438" y="3843338"/>
              <a:ext cx="79375" cy="52387"/>
            </a:xfrm>
            <a:custGeom>
              <a:avLst/>
              <a:gdLst>
                <a:gd name="T0" fmla="*/ 41577 w 42"/>
                <a:gd name="T1" fmla="*/ 52387 h 27"/>
                <a:gd name="T2" fmla="*/ 49137 w 42"/>
                <a:gd name="T3" fmla="*/ 34925 h 27"/>
                <a:gd name="T4" fmla="*/ 62366 w 42"/>
                <a:gd name="T5" fmla="*/ 29104 h 27"/>
                <a:gd name="T6" fmla="*/ 75595 w 42"/>
                <a:gd name="T7" fmla="*/ 27164 h 27"/>
                <a:gd name="T8" fmla="*/ 71815 w 42"/>
                <a:gd name="T9" fmla="*/ 15522 h 27"/>
                <a:gd name="T10" fmla="*/ 73705 w 42"/>
                <a:gd name="T11" fmla="*/ 9701 h 27"/>
                <a:gd name="T12" fmla="*/ 71815 w 42"/>
                <a:gd name="T13" fmla="*/ 3881 h 27"/>
                <a:gd name="T14" fmla="*/ 43467 w 42"/>
                <a:gd name="T15" fmla="*/ 1940 h 27"/>
                <a:gd name="T16" fmla="*/ 28348 w 42"/>
                <a:gd name="T17" fmla="*/ 9701 h 27"/>
                <a:gd name="T18" fmla="*/ 11339 w 42"/>
                <a:gd name="T19" fmla="*/ 7761 h 27"/>
                <a:gd name="T20" fmla="*/ 0 w 42"/>
                <a:gd name="T21" fmla="*/ 9701 h 27"/>
                <a:gd name="T22" fmla="*/ 9449 w 42"/>
                <a:gd name="T23" fmla="*/ 23283 h 27"/>
                <a:gd name="T24" fmla="*/ 41577 w 42"/>
                <a:gd name="T25" fmla="*/ 23283 h 27"/>
                <a:gd name="T26" fmla="*/ 26458 w 42"/>
                <a:gd name="T27" fmla="*/ 29104 h 27"/>
                <a:gd name="T28" fmla="*/ 34018 w 42"/>
                <a:gd name="T29" fmla="*/ 38805 h 27"/>
                <a:gd name="T30" fmla="*/ 41577 w 42"/>
                <a:gd name="T31" fmla="*/ 52387 h 2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2"/>
                <a:gd name="T49" fmla="*/ 0 h 27"/>
                <a:gd name="T50" fmla="*/ 42 w 42"/>
                <a:gd name="T51" fmla="*/ 27 h 2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2" h="27">
                  <a:moveTo>
                    <a:pt x="22" y="27"/>
                  </a:moveTo>
                  <a:cubicBezTo>
                    <a:pt x="23" y="24"/>
                    <a:pt x="23" y="21"/>
                    <a:pt x="26" y="18"/>
                  </a:cubicBezTo>
                  <a:cubicBezTo>
                    <a:pt x="27" y="16"/>
                    <a:pt x="31" y="16"/>
                    <a:pt x="33" y="15"/>
                  </a:cubicBezTo>
                  <a:cubicBezTo>
                    <a:pt x="36" y="15"/>
                    <a:pt x="39" y="16"/>
                    <a:pt x="40" y="14"/>
                  </a:cubicBezTo>
                  <a:cubicBezTo>
                    <a:pt x="42" y="12"/>
                    <a:pt x="38" y="10"/>
                    <a:pt x="38" y="8"/>
                  </a:cubicBezTo>
                  <a:cubicBezTo>
                    <a:pt x="38" y="7"/>
                    <a:pt x="39" y="6"/>
                    <a:pt x="39" y="5"/>
                  </a:cubicBezTo>
                  <a:cubicBezTo>
                    <a:pt x="39" y="4"/>
                    <a:pt x="39" y="3"/>
                    <a:pt x="38" y="2"/>
                  </a:cubicBezTo>
                  <a:cubicBezTo>
                    <a:pt x="33" y="1"/>
                    <a:pt x="28" y="0"/>
                    <a:pt x="23" y="1"/>
                  </a:cubicBezTo>
                  <a:cubicBezTo>
                    <a:pt x="20" y="1"/>
                    <a:pt x="18" y="4"/>
                    <a:pt x="15" y="5"/>
                  </a:cubicBezTo>
                  <a:cubicBezTo>
                    <a:pt x="12" y="5"/>
                    <a:pt x="9" y="4"/>
                    <a:pt x="6" y="4"/>
                  </a:cubicBezTo>
                  <a:cubicBezTo>
                    <a:pt x="4" y="4"/>
                    <a:pt x="2" y="4"/>
                    <a:pt x="0" y="5"/>
                  </a:cubicBezTo>
                  <a:cubicBezTo>
                    <a:pt x="1" y="7"/>
                    <a:pt x="2" y="11"/>
                    <a:pt x="5" y="12"/>
                  </a:cubicBezTo>
                  <a:cubicBezTo>
                    <a:pt x="11" y="14"/>
                    <a:pt x="16" y="10"/>
                    <a:pt x="22" y="12"/>
                  </a:cubicBezTo>
                  <a:cubicBezTo>
                    <a:pt x="24" y="12"/>
                    <a:pt x="15" y="12"/>
                    <a:pt x="14" y="15"/>
                  </a:cubicBezTo>
                  <a:cubicBezTo>
                    <a:pt x="14" y="16"/>
                    <a:pt x="17" y="18"/>
                    <a:pt x="18" y="20"/>
                  </a:cubicBezTo>
                  <a:cubicBezTo>
                    <a:pt x="20" y="22"/>
                    <a:pt x="21" y="24"/>
                    <a:pt x="22" y="2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" name="Freeform 51"/>
            <p:cNvSpPr>
              <a:spLocks noChangeAspect="1"/>
            </p:cNvSpPr>
            <p:nvPr/>
          </p:nvSpPr>
          <p:spPr bwMode="auto">
            <a:xfrm>
              <a:off x="4133850" y="3814763"/>
              <a:ext cx="73025" cy="22225"/>
            </a:xfrm>
            <a:custGeom>
              <a:avLst/>
              <a:gdLst>
                <a:gd name="T0" fmla="*/ 0 w 39"/>
                <a:gd name="T1" fmla="*/ 20205 h 11"/>
                <a:gd name="T2" fmla="*/ 26214 w 39"/>
                <a:gd name="T3" fmla="*/ 14143 h 11"/>
                <a:gd name="T4" fmla="*/ 9362 w 39"/>
                <a:gd name="T5" fmla="*/ 8082 h 11"/>
                <a:gd name="T6" fmla="*/ 31831 w 39"/>
                <a:gd name="T7" fmla="*/ 6061 h 11"/>
                <a:gd name="T8" fmla="*/ 37449 w 39"/>
                <a:gd name="T9" fmla="*/ 0 h 11"/>
                <a:gd name="T10" fmla="*/ 50556 w 39"/>
                <a:gd name="T11" fmla="*/ 2020 h 11"/>
                <a:gd name="T12" fmla="*/ 71153 w 39"/>
                <a:gd name="T13" fmla="*/ 6061 h 11"/>
                <a:gd name="T14" fmla="*/ 69280 w 39"/>
                <a:gd name="T15" fmla="*/ 14143 h 11"/>
                <a:gd name="T16" fmla="*/ 56173 w 39"/>
                <a:gd name="T17" fmla="*/ 16164 h 11"/>
                <a:gd name="T18" fmla="*/ 39321 w 39"/>
                <a:gd name="T19" fmla="*/ 14143 h 11"/>
                <a:gd name="T20" fmla="*/ 20597 w 39"/>
                <a:gd name="T21" fmla="*/ 20205 h 11"/>
                <a:gd name="T22" fmla="*/ 0 w 39"/>
                <a:gd name="T23" fmla="*/ 20205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1"/>
                <a:gd name="T38" fmla="*/ 39 w 3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1">
                  <a:moveTo>
                    <a:pt x="0" y="10"/>
                  </a:moveTo>
                  <a:cubicBezTo>
                    <a:pt x="5" y="9"/>
                    <a:pt x="9" y="8"/>
                    <a:pt x="14" y="7"/>
                  </a:cubicBezTo>
                  <a:cubicBezTo>
                    <a:pt x="11" y="5"/>
                    <a:pt x="8" y="5"/>
                    <a:pt x="5" y="4"/>
                  </a:cubicBezTo>
                  <a:cubicBezTo>
                    <a:pt x="9" y="4"/>
                    <a:pt x="13" y="4"/>
                    <a:pt x="17" y="3"/>
                  </a:cubicBezTo>
                  <a:cubicBezTo>
                    <a:pt x="18" y="3"/>
                    <a:pt x="19" y="1"/>
                    <a:pt x="20" y="0"/>
                  </a:cubicBezTo>
                  <a:cubicBezTo>
                    <a:pt x="22" y="0"/>
                    <a:pt x="24" y="0"/>
                    <a:pt x="27" y="1"/>
                  </a:cubicBezTo>
                  <a:cubicBezTo>
                    <a:pt x="30" y="1"/>
                    <a:pt x="35" y="2"/>
                    <a:pt x="38" y="3"/>
                  </a:cubicBezTo>
                  <a:cubicBezTo>
                    <a:pt x="39" y="4"/>
                    <a:pt x="38" y="6"/>
                    <a:pt x="37" y="7"/>
                  </a:cubicBezTo>
                  <a:cubicBezTo>
                    <a:pt x="35" y="8"/>
                    <a:pt x="33" y="8"/>
                    <a:pt x="30" y="8"/>
                  </a:cubicBezTo>
                  <a:cubicBezTo>
                    <a:pt x="27" y="8"/>
                    <a:pt x="24" y="7"/>
                    <a:pt x="21" y="7"/>
                  </a:cubicBezTo>
                  <a:cubicBezTo>
                    <a:pt x="17" y="7"/>
                    <a:pt x="14" y="10"/>
                    <a:pt x="11" y="10"/>
                  </a:cubicBezTo>
                  <a:cubicBezTo>
                    <a:pt x="7" y="11"/>
                    <a:pt x="4" y="10"/>
                    <a:pt x="0" y="1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" name="Freeform 52"/>
            <p:cNvSpPr>
              <a:spLocks noChangeAspect="1"/>
            </p:cNvSpPr>
            <p:nvPr/>
          </p:nvSpPr>
          <p:spPr bwMode="auto">
            <a:xfrm>
              <a:off x="4176713" y="3846513"/>
              <a:ext cx="182562" cy="153987"/>
            </a:xfrm>
            <a:custGeom>
              <a:avLst/>
              <a:gdLst>
                <a:gd name="T0" fmla="*/ 161643 w 96"/>
                <a:gd name="T1" fmla="*/ 60834 h 81"/>
                <a:gd name="T2" fmla="*/ 152135 w 96"/>
                <a:gd name="T3" fmla="*/ 51329 h 81"/>
                <a:gd name="T4" fmla="*/ 152135 w 96"/>
                <a:gd name="T5" fmla="*/ 28516 h 81"/>
                <a:gd name="T6" fmla="*/ 135020 w 96"/>
                <a:gd name="T7" fmla="*/ 9505 h 81"/>
                <a:gd name="T8" fmla="*/ 127413 w 96"/>
                <a:gd name="T9" fmla="*/ 17110 h 81"/>
                <a:gd name="T10" fmla="*/ 106494 w 96"/>
                <a:gd name="T11" fmla="*/ 22813 h 81"/>
                <a:gd name="T12" fmla="*/ 93183 w 96"/>
                <a:gd name="T13" fmla="*/ 17110 h 81"/>
                <a:gd name="T14" fmla="*/ 83674 w 96"/>
                <a:gd name="T15" fmla="*/ 5703 h 81"/>
                <a:gd name="T16" fmla="*/ 53247 w 96"/>
                <a:gd name="T17" fmla="*/ 5703 h 81"/>
                <a:gd name="T18" fmla="*/ 43739 w 96"/>
                <a:gd name="T19" fmla="*/ 1901 h 81"/>
                <a:gd name="T20" fmla="*/ 32329 w 96"/>
                <a:gd name="T21" fmla="*/ 7604 h 81"/>
                <a:gd name="T22" fmla="*/ 34230 w 96"/>
                <a:gd name="T23" fmla="*/ 24714 h 81"/>
                <a:gd name="T24" fmla="*/ 7607 w 96"/>
                <a:gd name="T25" fmla="*/ 32318 h 81"/>
                <a:gd name="T26" fmla="*/ 11410 w 96"/>
                <a:gd name="T27" fmla="*/ 49428 h 81"/>
                <a:gd name="T28" fmla="*/ 22820 w 96"/>
                <a:gd name="T29" fmla="*/ 70340 h 81"/>
                <a:gd name="T30" fmla="*/ 39935 w 96"/>
                <a:gd name="T31" fmla="*/ 89350 h 81"/>
                <a:gd name="T32" fmla="*/ 53247 w 96"/>
                <a:gd name="T33" fmla="*/ 91252 h 81"/>
                <a:gd name="T34" fmla="*/ 74166 w 96"/>
                <a:gd name="T35" fmla="*/ 79845 h 81"/>
                <a:gd name="T36" fmla="*/ 89379 w 96"/>
                <a:gd name="T37" fmla="*/ 76043 h 81"/>
                <a:gd name="T38" fmla="*/ 98888 w 96"/>
                <a:gd name="T39" fmla="*/ 87449 h 81"/>
                <a:gd name="T40" fmla="*/ 104593 w 96"/>
                <a:gd name="T41" fmla="*/ 100757 h 81"/>
                <a:gd name="T42" fmla="*/ 104593 w 96"/>
                <a:gd name="T43" fmla="*/ 119768 h 81"/>
                <a:gd name="T44" fmla="*/ 117905 w 96"/>
                <a:gd name="T45" fmla="*/ 117867 h 81"/>
                <a:gd name="T46" fmla="*/ 127413 w 96"/>
                <a:gd name="T47" fmla="*/ 115966 h 81"/>
                <a:gd name="T48" fmla="*/ 135020 w 96"/>
                <a:gd name="T49" fmla="*/ 127372 h 81"/>
                <a:gd name="T50" fmla="*/ 135020 w 96"/>
                <a:gd name="T51" fmla="*/ 140679 h 81"/>
                <a:gd name="T52" fmla="*/ 140725 w 96"/>
                <a:gd name="T53" fmla="*/ 153987 h 81"/>
                <a:gd name="T54" fmla="*/ 154037 w 96"/>
                <a:gd name="T55" fmla="*/ 140679 h 81"/>
                <a:gd name="T56" fmla="*/ 167349 w 96"/>
                <a:gd name="T57" fmla="*/ 142581 h 81"/>
                <a:gd name="T58" fmla="*/ 173054 w 96"/>
                <a:gd name="T59" fmla="*/ 127372 h 81"/>
                <a:gd name="T60" fmla="*/ 180660 w 96"/>
                <a:gd name="T61" fmla="*/ 117867 h 81"/>
                <a:gd name="T62" fmla="*/ 176857 w 96"/>
                <a:gd name="T63" fmla="*/ 104559 h 81"/>
                <a:gd name="T64" fmla="*/ 167349 w 96"/>
                <a:gd name="T65" fmla="*/ 81746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6"/>
                <a:gd name="T100" fmla="*/ 0 h 81"/>
                <a:gd name="T101" fmla="*/ 96 w 9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6" h="81">
                  <a:moveTo>
                    <a:pt x="92" y="38"/>
                  </a:moveTo>
                  <a:cubicBezTo>
                    <a:pt x="90" y="36"/>
                    <a:pt x="86" y="35"/>
                    <a:pt x="85" y="32"/>
                  </a:cubicBezTo>
                  <a:cubicBezTo>
                    <a:pt x="84" y="31"/>
                    <a:pt x="86" y="28"/>
                    <a:pt x="85" y="26"/>
                  </a:cubicBezTo>
                  <a:cubicBezTo>
                    <a:pt x="84" y="25"/>
                    <a:pt x="80" y="28"/>
                    <a:pt x="80" y="27"/>
                  </a:cubicBezTo>
                  <a:cubicBezTo>
                    <a:pt x="80" y="24"/>
                    <a:pt x="84" y="22"/>
                    <a:pt x="84" y="19"/>
                  </a:cubicBezTo>
                  <a:cubicBezTo>
                    <a:pt x="84" y="17"/>
                    <a:pt x="81" y="17"/>
                    <a:pt x="80" y="15"/>
                  </a:cubicBezTo>
                  <a:cubicBezTo>
                    <a:pt x="79" y="13"/>
                    <a:pt x="80" y="9"/>
                    <a:pt x="79" y="7"/>
                  </a:cubicBezTo>
                  <a:cubicBezTo>
                    <a:pt x="77" y="5"/>
                    <a:pt x="74" y="4"/>
                    <a:pt x="71" y="5"/>
                  </a:cubicBezTo>
                  <a:cubicBezTo>
                    <a:pt x="70" y="5"/>
                    <a:pt x="72" y="7"/>
                    <a:pt x="71" y="8"/>
                  </a:cubicBezTo>
                  <a:cubicBezTo>
                    <a:pt x="70" y="9"/>
                    <a:pt x="69" y="9"/>
                    <a:pt x="67" y="9"/>
                  </a:cubicBezTo>
                  <a:cubicBezTo>
                    <a:pt x="66" y="9"/>
                    <a:pt x="64" y="7"/>
                    <a:pt x="63" y="8"/>
                  </a:cubicBezTo>
                  <a:cubicBezTo>
                    <a:pt x="60" y="8"/>
                    <a:pt x="58" y="12"/>
                    <a:pt x="56" y="12"/>
                  </a:cubicBezTo>
                  <a:cubicBezTo>
                    <a:pt x="54" y="11"/>
                    <a:pt x="54" y="7"/>
                    <a:pt x="52" y="6"/>
                  </a:cubicBezTo>
                  <a:cubicBezTo>
                    <a:pt x="51" y="6"/>
                    <a:pt x="50" y="8"/>
                    <a:pt x="49" y="9"/>
                  </a:cubicBezTo>
                  <a:cubicBezTo>
                    <a:pt x="48" y="9"/>
                    <a:pt x="46" y="10"/>
                    <a:pt x="45" y="9"/>
                  </a:cubicBezTo>
                  <a:cubicBezTo>
                    <a:pt x="44" y="8"/>
                    <a:pt x="44" y="5"/>
                    <a:pt x="44" y="3"/>
                  </a:cubicBezTo>
                  <a:cubicBezTo>
                    <a:pt x="41" y="3"/>
                    <a:pt x="39" y="4"/>
                    <a:pt x="36" y="4"/>
                  </a:cubicBezTo>
                  <a:cubicBezTo>
                    <a:pt x="34" y="3"/>
                    <a:pt x="31" y="3"/>
                    <a:pt x="28" y="3"/>
                  </a:cubicBezTo>
                  <a:cubicBezTo>
                    <a:pt x="27" y="3"/>
                    <a:pt x="26" y="4"/>
                    <a:pt x="25" y="3"/>
                  </a:cubicBezTo>
                  <a:cubicBezTo>
                    <a:pt x="24" y="3"/>
                    <a:pt x="24" y="1"/>
                    <a:pt x="23" y="1"/>
                  </a:cubicBezTo>
                  <a:cubicBezTo>
                    <a:pt x="21" y="0"/>
                    <a:pt x="18" y="1"/>
                    <a:pt x="16" y="1"/>
                  </a:cubicBezTo>
                  <a:cubicBezTo>
                    <a:pt x="17" y="2"/>
                    <a:pt x="17" y="3"/>
                    <a:pt x="17" y="4"/>
                  </a:cubicBezTo>
                  <a:cubicBezTo>
                    <a:pt x="17" y="5"/>
                    <a:pt x="16" y="6"/>
                    <a:pt x="16" y="7"/>
                  </a:cubicBezTo>
                  <a:cubicBezTo>
                    <a:pt x="16" y="9"/>
                    <a:pt x="20" y="11"/>
                    <a:pt x="18" y="13"/>
                  </a:cubicBezTo>
                  <a:cubicBezTo>
                    <a:pt x="17" y="15"/>
                    <a:pt x="14" y="14"/>
                    <a:pt x="11" y="14"/>
                  </a:cubicBezTo>
                  <a:cubicBezTo>
                    <a:pt x="9" y="15"/>
                    <a:pt x="5" y="15"/>
                    <a:pt x="4" y="17"/>
                  </a:cubicBezTo>
                  <a:cubicBezTo>
                    <a:pt x="1" y="20"/>
                    <a:pt x="1" y="23"/>
                    <a:pt x="0" y="26"/>
                  </a:cubicBezTo>
                  <a:cubicBezTo>
                    <a:pt x="2" y="26"/>
                    <a:pt x="4" y="25"/>
                    <a:pt x="6" y="26"/>
                  </a:cubicBezTo>
                  <a:cubicBezTo>
                    <a:pt x="7" y="26"/>
                    <a:pt x="6" y="29"/>
                    <a:pt x="7" y="30"/>
                  </a:cubicBezTo>
                  <a:cubicBezTo>
                    <a:pt x="9" y="33"/>
                    <a:pt x="11" y="35"/>
                    <a:pt x="12" y="37"/>
                  </a:cubicBezTo>
                  <a:cubicBezTo>
                    <a:pt x="13" y="39"/>
                    <a:pt x="13" y="41"/>
                    <a:pt x="15" y="42"/>
                  </a:cubicBezTo>
                  <a:cubicBezTo>
                    <a:pt x="16" y="44"/>
                    <a:pt x="19" y="45"/>
                    <a:pt x="21" y="47"/>
                  </a:cubicBezTo>
                  <a:cubicBezTo>
                    <a:pt x="22" y="49"/>
                    <a:pt x="24" y="50"/>
                    <a:pt x="25" y="52"/>
                  </a:cubicBezTo>
                  <a:cubicBezTo>
                    <a:pt x="26" y="51"/>
                    <a:pt x="26" y="49"/>
                    <a:pt x="28" y="48"/>
                  </a:cubicBezTo>
                  <a:cubicBezTo>
                    <a:pt x="29" y="45"/>
                    <a:pt x="31" y="43"/>
                    <a:pt x="34" y="42"/>
                  </a:cubicBezTo>
                  <a:cubicBezTo>
                    <a:pt x="35" y="41"/>
                    <a:pt x="37" y="42"/>
                    <a:pt x="39" y="42"/>
                  </a:cubicBezTo>
                  <a:cubicBezTo>
                    <a:pt x="40" y="42"/>
                    <a:pt x="40" y="40"/>
                    <a:pt x="41" y="40"/>
                  </a:cubicBezTo>
                  <a:cubicBezTo>
                    <a:pt x="43" y="39"/>
                    <a:pt x="45" y="39"/>
                    <a:pt x="47" y="40"/>
                  </a:cubicBezTo>
                  <a:cubicBezTo>
                    <a:pt x="49" y="40"/>
                    <a:pt x="50" y="41"/>
                    <a:pt x="51" y="42"/>
                  </a:cubicBezTo>
                  <a:cubicBezTo>
                    <a:pt x="52" y="43"/>
                    <a:pt x="52" y="45"/>
                    <a:pt x="52" y="46"/>
                  </a:cubicBezTo>
                  <a:cubicBezTo>
                    <a:pt x="53" y="47"/>
                    <a:pt x="55" y="48"/>
                    <a:pt x="56" y="49"/>
                  </a:cubicBezTo>
                  <a:cubicBezTo>
                    <a:pt x="56" y="50"/>
                    <a:pt x="55" y="52"/>
                    <a:pt x="55" y="53"/>
                  </a:cubicBezTo>
                  <a:cubicBezTo>
                    <a:pt x="56" y="55"/>
                    <a:pt x="58" y="57"/>
                    <a:pt x="58" y="59"/>
                  </a:cubicBezTo>
                  <a:cubicBezTo>
                    <a:pt x="58" y="60"/>
                    <a:pt x="56" y="61"/>
                    <a:pt x="55" y="63"/>
                  </a:cubicBezTo>
                  <a:cubicBezTo>
                    <a:pt x="55" y="64"/>
                    <a:pt x="57" y="65"/>
                    <a:pt x="57" y="65"/>
                  </a:cubicBezTo>
                  <a:cubicBezTo>
                    <a:pt x="59" y="64"/>
                    <a:pt x="60" y="63"/>
                    <a:pt x="62" y="62"/>
                  </a:cubicBezTo>
                  <a:cubicBezTo>
                    <a:pt x="63" y="62"/>
                    <a:pt x="65" y="63"/>
                    <a:pt x="66" y="63"/>
                  </a:cubicBezTo>
                  <a:cubicBezTo>
                    <a:pt x="67" y="63"/>
                    <a:pt x="66" y="61"/>
                    <a:pt x="67" y="61"/>
                  </a:cubicBezTo>
                  <a:cubicBezTo>
                    <a:pt x="69" y="61"/>
                    <a:pt x="70" y="61"/>
                    <a:pt x="71" y="62"/>
                  </a:cubicBezTo>
                  <a:cubicBezTo>
                    <a:pt x="72" y="64"/>
                    <a:pt x="70" y="66"/>
                    <a:pt x="71" y="67"/>
                  </a:cubicBezTo>
                  <a:cubicBezTo>
                    <a:pt x="72" y="69"/>
                    <a:pt x="75" y="70"/>
                    <a:pt x="75" y="72"/>
                  </a:cubicBezTo>
                  <a:cubicBezTo>
                    <a:pt x="75" y="74"/>
                    <a:pt x="72" y="73"/>
                    <a:pt x="71" y="74"/>
                  </a:cubicBezTo>
                  <a:cubicBezTo>
                    <a:pt x="70" y="76"/>
                    <a:pt x="70" y="78"/>
                    <a:pt x="70" y="80"/>
                  </a:cubicBezTo>
                  <a:cubicBezTo>
                    <a:pt x="71" y="81"/>
                    <a:pt x="73" y="81"/>
                    <a:pt x="74" y="81"/>
                  </a:cubicBezTo>
                  <a:cubicBezTo>
                    <a:pt x="76" y="81"/>
                    <a:pt x="77" y="80"/>
                    <a:pt x="78" y="79"/>
                  </a:cubicBezTo>
                  <a:cubicBezTo>
                    <a:pt x="79" y="78"/>
                    <a:pt x="79" y="74"/>
                    <a:pt x="81" y="74"/>
                  </a:cubicBezTo>
                  <a:cubicBezTo>
                    <a:pt x="83" y="74"/>
                    <a:pt x="84" y="77"/>
                    <a:pt x="86" y="79"/>
                  </a:cubicBezTo>
                  <a:cubicBezTo>
                    <a:pt x="87" y="78"/>
                    <a:pt x="88" y="77"/>
                    <a:pt x="88" y="75"/>
                  </a:cubicBezTo>
                  <a:cubicBezTo>
                    <a:pt x="89" y="74"/>
                    <a:pt x="87" y="73"/>
                    <a:pt x="87" y="72"/>
                  </a:cubicBezTo>
                  <a:cubicBezTo>
                    <a:pt x="87" y="70"/>
                    <a:pt x="91" y="69"/>
                    <a:pt x="91" y="67"/>
                  </a:cubicBezTo>
                  <a:cubicBezTo>
                    <a:pt x="91" y="66"/>
                    <a:pt x="85" y="66"/>
                    <a:pt x="86" y="65"/>
                  </a:cubicBezTo>
                  <a:cubicBezTo>
                    <a:pt x="88" y="62"/>
                    <a:pt x="93" y="64"/>
                    <a:pt x="95" y="62"/>
                  </a:cubicBezTo>
                  <a:cubicBezTo>
                    <a:pt x="96" y="60"/>
                    <a:pt x="91" y="60"/>
                    <a:pt x="90" y="58"/>
                  </a:cubicBezTo>
                  <a:cubicBezTo>
                    <a:pt x="90" y="57"/>
                    <a:pt x="92" y="57"/>
                    <a:pt x="93" y="55"/>
                  </a:cubicBezTo>
                  <a:cubicBezTo>
                    <a:pt x="93" y="54"/>
                    <a:pt x="93" y="52"/>
                    <a:pt x="92" y="50"/>
                  </a:cubicBezTo>
                  <a:cubicBezTo>
                    <a:pt x="92" y="48"/>
                    <a:pt x="89" y="46"/>
                    <a:pt x="88" y="43"/>
                  </a:cubicBezTo>
                  <a:cubicBezTo>
                    <a:pt x="88" y="41"/>
                    <a:pt x="91" y="40"/>
                    <a:pt x="92" y="3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" name="Freeform 53"/>
            <p:cNvSpPr>
              <a:spLocks noChangeAspect="1"/>
            </p:cNvSpPr>
            <p:nvPr/>
          </p:nvSpPr>
          <p:spPr bwMode="auto">
            <a:xfrm>
              <a:off x="4221163" y="3919538"/>
              <a:ext cx="68262" cy="88900"/>
            </a:xfrm>
            <a:custGeom>
              <a:avLst/>
              <a:gdLst>
                <a:gd name="T0" fmla="*/ 64470 w 36"/>
                <a:gd name="T1" fmla="*/ 50248 h 46"/>
                <a:gd name="T2" fmla="*/ 66366 w 36"/>
                <a:gd name="T3" fmla="*/ 65709 h 46"/>
                <a:gd name="T4" fmla="*/ 53093 w 36"/>
                <a:gd name="T5" fmla="*/ 73439 h 46"/>
                <a:gd name="T6" fmla="*/ 49300 w 36"/>
                <a:gd name="T7" fmla="*/ 81170 h 46"/>
                <a:gd name="T8" fmla="*/ 43612 w 36"/>
                <a:gd name="T9" fmla="*/ 88900 h 46"/>
                <a:gd name="T10" fmla="*/ 20858 w 36"/>
                <a:gd name="T11" fmla="*/ 77304 h 46"/>
                <a:gd name="T12" fmla="*/ 20858 w 36"/>
                <a:gd name="T13" fmla="*/ 69574 h 46"/>
                <a:gd name="T14" fmla="*/ 7585 w 36"/>
                <a:gd name="T15" fmla="*/ 61843 h 46"/>
                <a:gd name="T16" fmla="*/ 7585 w 36"/>
                <a:gd name="T17" fmla="*/ 50248 h 46"/>
                <a:gd name="T18" fmla="*/ 0 w 36"/>
                <a:gd name="T19" fmla="*/ 44450 h 46"/>
                <a:gd name="T20" fmla="*/ 1896 w 36"/>
                <a:gd name="T21" fmla="*/ 32854 h 46"/>
                <a:gd name="T22" fmla="*/ 3792 w 36"/>
                <a:gd name="T23" fmla="*/ 25124 h 46"/>
                <a:gd name="T24" fmla="*/ 9481 w 36"/>
                <a:gd name="T25" fmla="*/ 17393 h 46"/>
                <a:gd name="T26" fmla="*/ 20858 w 36"/>
                <a:gd name="T27" fmla="*/ 5798 h 46"/>
                <a:gd name="T28" fmla="*/ 30339 w 36"/>
                <a:gd name="T29" fmla="*/ 5798 h 46"/>
                <a:gd name="T30" fmla="*/ 34131 w 36"/>
                <a:gd name="T31" fmla="*/ 1933 h 46"/>
                <a:gd name="T32" fmla="*/ 45508 w 36"/>
                <a:gd name="T33" fmla="*/ 1933 h 46"/>
                <a:gd name="T34" fmla="*/ 53093 w 36"/>
                <a:gd name="T35" fmla="*/ 5798 h 46"/>
                <a:gd name="T36" fmla="*/ 54989 w 36"/>
                <a:gd name="T37" fmla="*/ 13528 h 46"/>
                <a:gd name="T38" fmla="*/ 62574 w 36"/>
                <a:gd name="T39" fmla="*/ 19326 h 46"/>
                <a:gd name="T40" fmla="*/ 60677 w 36"/>
                <a:gd name="T41" fmla="*/ 27057 h 46"/>
                <a:gd name="T42" fmla="*/ 66366 w 36"/>
                <a:gd name="T43" fmla="*/ 38652 h 46"/>
                <a:gd name="T44" fmla="*/ 60677 w 36"/>
                <a:gd name="T45" fmla="*/ 46383 h 46"/>
                <a:gd name="T46" fmla="*/ 64470 w 36"/>
                <a:gd name="T47" fmla="*/ 50248 h 4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6"/>
                <a:gd name="T73" fmla="*/ 0 h 46"/>
                <a:gd name="T74" fmla="*/ 36 w 36"/>
                <a:gd name="T75" fmla="*/ 46 h 4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6" h="46">
                  <a:moveTo>
                    <a:pt x="34" y="26"/>
                  </a:moveTo>
                  <a:cubicBezTo>
                    <a:pt x="34" y="29"/>
                    <a:pt x="36" y="31"/>
                    <a:pt x="35" y="34"/>
                  </a:cubicBezTo>
                  <a:cubicBezTo>
                    <a:pt x="33" y="36"/>
                    <a:pt x="30" y="36"/>
                    <a:pt x="28" y="38"/>
                  </a:cubicBezTo>
                  <a:cubicBezTo>
                    <a:pt x="27" y="39"/>
                    <a:pt x="27" y="41"/>
                    <a:pt x="26" y="42"/>
                  </a:cubicBezTo>
                  <a:cubicBezTo>
                    <a:pt x="25" y="44"/>
                    <a:pt x="24" y="45"/>
                    <a:pt x="23" y="46"/>
                  </a:cubicBezTo>
                  <a:cubicBezTo>
                    <a:pt x="19" y="45"/>
                    <a:pt x="15" y="43"/>
                    <a:pt x="11" y="40"/>
                  </a:cubicBezTo>
                  <a:cubicBezTo>
                    <a:pt x="10" y="39"/>
                    <a:pt x="12" y="37"/>
                    <a:pt x="11" y="36"/>
                  </a:cubicBezTo>
                  <a:cubicBezTo>
                    <a:pt x="9" y="34"/>
                    <a:pt x="6" y="34"/>
                    <a:pt x="4" y="32"/>
                  </a:cubicBezTo>
                  <a:cubicBezTo>
                    <a:pt x="3" y="30"/>
                    <a:pt x="5" y="27"/>
                    <a:pt x="4" y="26"/>
                  </a:cubicBezTo>
                  <a:cubicBezTo>
                    <a:pt x="3" y="24"/>
                    <a:pt x="1" y="24"/>
                    <a:pt x="0" y="23"/>
                  </a:cubicBezTo>
                  <a:cubicBezTo>
                    <a:pt x="0" y="21"/>
                    <a:pt x="1" y="19"/>
                    <a:pt x="1" y="17"/>
                  </a:cubicBezTo>
                  <a:cubicBezTo>
                    <a:pt x="1" y="16"/>
                    <a:pt x="2" y="15"/>
                    <a:pt x="2" y="13"/>
                  </a:cubicBezTo>
                  <a:cubicBezTo>
                    <a:pt x="3" y="12"/>
                    <a:pt x="3" y="10"/>
                    <a:pt x="5" y="9"/>
                  </a:cubicBezTo>
                  <a:cubicBezTo>
                    <a:pt x="6" y="6"/>
                    <a:pt x="8" y="4"/>
                    <a:pt x="11" y="3"/>
                  </a:cubicBezTo>
                  <a:cubicBezTo>
                    <a:pt x="12" y="2"/>
                    <a:pt x="14" y="3"/>
                    <a:pt x="16" y="3"/>
                  </a:cubicBezTo>
                  <a:cubicBezTo>
                    <a:pt x="17" y="3"/>
                    <a:pt x="17" y="1"/>
                    <a:pt x="18" y="1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1"/>
                    <a:pt x="27" y="2"/>
                    <a:pt x="28" y="3"/>
                  </a:cubicBezTo>
                  <a:cubicBezTo>
                    <a:pt x="29" y="4"/>
                    <a:pt x="29" y="6"/>
                    <a:pt x="29" y="7"/>
                  </a:cubicBezTo>
                  <a:cubicBezTo>
                    <a:pt x="30" y="8"/>
                    <a:pt x="32" y="9"/>
                    <a:pt x="33" y="10"/>
                  </a:cubicBezTo>
                  <a:cubicBezTo>
                    <a:pt x="33" y="11"/>
                    <a:pt x="32" y="13"/>
                    <a:pt x="32" y="14"/>
                  </a:cubicBezTo>
                  <a:cubicBezTo>
                    <a:pt x="33" y="16"/>
                    <a:pt x="35" y="18"/>
                    <a:pt x="35" y="20"/>
                  </a:cubicBezTo>
                  <a:cubicBezTo>
                    <a:pt x="35" y="21"/>
                    <a:pt x="33" y="22"/>
                    <a:pt x="32" y="24"/>
                  </a:cubicBezTo>
                  <a:cubicBezTo>
                    <a:pt x="32" y="25"/>
                    <a:pt x="34" y="26"/>
                    <a:pt x="34" y="2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" name="Freeform 54"/>
            <p:cNvSpPr>
              <a:spLocks noChangeAspect="1"/>
            </p:cNvSpPr>
            <p:nvPr/>
          </p:nvSpPr>
          <p:spPr bwMode="auto">
            <a:xfrm>
              <a:off x="4264025" y="3962400"/>
              <a:ext cx="100013" cy="117475"/>
            </a:xfrm>
            <a:custGeom>
              <a:avLst/>
              <a:gdLst>
                <a:gd name="T0" fmla="*/ 94243 w 52"/>
                <a:gd name="T1" fmla="*/ 117475 h 62"/>
                <a:gd name="T2" fmla="*/ 82703 w 52"/>
                <a:gd name="T3" fmla="*/ 109896 h 62"/>
                <a:gd name="T4" fmla="*/ 67316 w 52"/>
                <a:gd name="T5" fmla="*/ 102317 h 62"/>
                <a:gd name="T6" fmla="*/ 48083 w 52"/>
                <a:gd name="T7" fmla="*/ 89054 h 62"/>
                <a:gd name="T8" fmla="*/ 30773 w 52"/>
                <a:gd name="T9" fmla="*/ 72001 h 62"/>
                <a:gd name="T10" fmla="*/ 15387 w 52"/>
                <a:gd name="T11" fmla="*/ 60632 h 62"/>
                <a:gd name="T12" fmla="*/ 1923 w 52"/>
                <a:gd name="T13" fmla="*/ 53053 h 62"/>
                <a:gd name="T14" fmla="*/ 0 w 52"/>
                <a:gd name="T15" fmla="*/ 45474 h 62"/>
                <a:gd name="T16" fmla="*/ 5770 w 52"/>
                <a:gd name="T17" fmla="*/ 37895 h 62"/>
                <a:gd name="T18" fmla="*/ 9617 w 52"/>
                <a:gd name="T19" fmla="*/ 30316 h 62"/>
                <a:gd name="T20" fmla="*/ 23080 w 52"/>
                <a:gd name="T21" fmla="*/ 22737 h 62"/>
                <a:gd name="T22" fmla="*/ 21157 w 52"/>
                <a:gd name="T23" fmla="*/ 7579 h 62"/>
                <a:gd name="T24" fmla="*/ 30773 w 52"/>
                <a:gd name="T25" fmla="*/ 1895 h 62"/>
                <a:gd name="T26" fmla="*/ 38467 w 52"/>
                <a:gd name="T27" fmla="*/ 3790 h 62"/>
                <a:gd name="T28" fmla="*/ 40390 w 52"/>
                <a:gd name="T29" fmla="*/ 0 h 62"/>
                <a:gd name="T30" fmla="*/ 48083 w 52"/>
                <a:gd name="T31" fmla="*/ 1895 h 62"/>
                <a:gd name="T32" fmla="*/ 48083 w 52"/>
                <a:gd name="T33" fmla="*/ 11369 h 62"/>
                <a:gd name="T34" fmla="*/ 55776 w 52"/>
                <a:gd name="T35" fmla="*/ 20842 h 62"/>
                <a:gd name="T36" fmla="*/ 48083 w 52"/>
                <a:gd name="T37" fmla="*/ 24632 h 62"/>
                <a:gd name="T38" fmla="*/ 46160 w 52"/>
                <a:gd name="T39" fmla="*/ 36000 h 62"/>
                <a:gd name="T40" fmla="*/ 53853 w 52"/>
                <a:gd name="T41" fmla="*/ 37895 h 62"/>
                <a:gd name="T42" fmla="*/ 61546 w 52"/>
                <a:gd name="T43" fmla="*/ 34106 h 62"/>
                <a:gd name="T44" fmla="*/ 67316 w 52"/>
                <a:gd name="T45" fmla="*/ 24632 h 62"/>
                <a:gd name="T46" fmla="*/ 76933 w 52"/>
                <a:gd name="T47" fmla="*/ 34106 h 62"/>
                <a:gd name="T48" fmla="*/ 78856 w 52"/>
                <a:gd name="T49" fmla="*/ 43579 h 62"/>
                <a:gd name="T50" fmla="*/ 71163 w 52"/>
                <a:gd name="T51" fmla="*/ 53053 h 62"/>
                <a:gd name="T52" fmla="*/ 78856 w 52"/>
                <a:gd name="T53" fmla="*/ 62527 h 62"/>
                <a:gd name="T54" fmla="*/ 88473 w 52"/>
                <a:gd name="T55" fmla="*/ 64422 h 62"/>
                <a:gd name="T56" fmla="*/ 88473 w 52"/>
                <a:gd name="T57" fmla="*/ 72001 h 62"/>
                <a:gd name="T58" fmla="*/ 98090 w 52"/>
                <a:gd name="T59" fmla="*/ 73896 h 62"/>
                <a:gd name="T60" fmla="*/ 98090 w 52"/>
                <a:gd name="T61" fmla="*/ 87159 h 62"/>
                <a:gd name="T62" fmla="*/ 92320 w 52"/>
                <a:gd name="T63" fmla="*/ 96633 h 62"/>
                <a:gd name="T64" fmla="*/ 94243 w 52"/>
                <a:gd name="T65" fmla="*/ 117475 h 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2"/>
                <a:gd name="T100" fmla="*/ 0 h 62"/>
                <a:gd name="T101" fmla="*/ 52 w 52"/>
                <a:gd name="T102" fmla="*/ 62 h 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2" h="62">
                  <a:moveTo>
                    <a:pt x="49" y="62"/>
                  </a:moveTo>
                  <a:cubicBezTo>
                    <a:pt x="47" y="61"/>
                    <a:pt x="45" y="59"/>
                    <a:pt x="43" y="58"/>
                  </a:cubicBezTo>
                  <a:cubicBezTo>
                    <a:pt x="40" y="57"/>
                    <a:pt x="38" y="56"/>
                    <a:pt x="35" y="54"/>
                  </a:cubicBezTo>
                  <a:cubicBezTo>
                    <a:pt x="32" y="52"/>
                    <a:pt x="28" y="50"/>
                    <a:pt x="25" y="47"/>
                  </a:cubicBezTo>
                  <a:cubicBezTo>
                    <a:pt x="21" y="44"/>
                    <a:pt x="19" y="41"/>
                    <a:pt x="16" y="38"/>
                  </a:cubicBezTo>
                  <a:cubicBezTo>
                    <a:pt x="14" y="36"/>
                    <a:pt x="11" y="33"/>
                    <a:pt x="8" y="32"/>
                  </a:cubicBezTo>
                  <a:cubicBezTo>
                    <a:pt x="6" y="30"/>
                    <a:pt x="3" y="30"/>
                    <a:pt x="1" y="28"/>
                  </a:cubicBezTo>
                  <a:cubicBezTo>
                    <a:pt x="0" y="28"/>
                    <a:pt x="0" y="26"/>
                    <a:pt x="0" y="24"/>
                  </a:cubicBezTo>
                  <a:cubicBezTo>
                    <a:pt x="1" y="23"/>
                    <a:pt x="2" y="22"/>
                    <a:pt x="3" y="20"/>
                  </a:cubicBezTo>
                  <a:cubicBezTo>
                    <a:pt x="4" y="19"/>
                    <a:pt x="4" y="17"/>
                    <a:pt x="5" y="16"/>
                  </a:cubicBezTo>
                  <a:cubicBezTo>
                    <a:pt x="7" y="14"/>
                    <a:pt x="10" y="14"/>
                    <a:pt x="12" y="12"/>
                  </a:cubicBezTo>
                  <a:cubicBezTo>
                    <a:pt x="13" y="9"/>
                    <a:pt x="11" y="7"/>
                    <a:pt x="11" y="4"/>
                  </a:cubicBezTo>
                  <a:cubicBezTo>
                    <a:pt x="13" y="3"/>
                    <a:pt x="14" y="2"/>
                    <a:pt x="16" y="1"/>
                  </a:cubicBezTo>
                  <a:cubicBezTo>
                    <a:pt x="17" y="1"/>
                    <a:pt x="19" y="2"/>
                    <a:pt x="20" y="2"/>
                  </a:cubicBezTo>
                  <a:cubicBezTo>
                    <a:pt x="21" y="2"/>
                    <a:pt x="20" y="0"/>
                    <a:pt x="21" y="0"/>
                  </a:cubicBezTo>
                  <a:cubicBezTo>
                    <a:pt x="23" y="0"/>
                    <a:pt x="24" y="0"/>
                    <a:pt x="25" y="1"/>
                  </a:cubicBezTo>
                  <a:cubicBezTo>
                    <a:pt x="26" y="3"/>
                    <a:pt x="24" y="5"/>
                    <a:pt x="25" y="6"/>
                  </a:cubicBezTo>
                  <a:cubicBezTo>
                    <a:pt x="26" y="8"/>
                    <a:pt x="29" y="9"/>
                    <a:pt x="29" y="11"/>
                  </a:cubicBezTo>
                  <a:cubicBezTo>
                    <a:pt x="29" y="13"/>
                    <a:pt x="26" y="12"/>
                    <a:pt x="25" y="13"/>
                  </a:cubicBezTo>
                  <a:cubicBezTo>
                    <a:pt x="24" y="15"/>
                    <a:pt x="24" y="17"/>
                    <a:pt x="24" y="19"/>
                  </a:cubicBezTo>
                  <a:cubicBezTo>
                    <a:pt x="25" y="20"/>
                    <a:pt x="27" y="20"/>
                    <a:pt x="28" y="20"/>
                  </a:cubicBezTo>
                  <a:cubicBezTo>
                    <a:pt x="30" y="20"/>
                    <a:pt x="31" y="19"/>
                    <a:pt x="32" y="18"/>
                  </a:cubicBezTo>
                  <a:cubicBezTo>
                    <a:pt x="33" y="17"/>
                    <a:pt x="33" y="13"/>
                    <a:pt x="35" y="13"/>
                  </a:cubicBezTo>
                  <a:cubicBezTo>
                    <a:pt x="37" y="13"/>
                    <a:pt x="38" y="16"/>
                    <a:pt x="40" y="18"/>
                  </a:cubicBezTo>
                  <a:cubicBezTo>
                    <a:pt x="40" y="20"/>
                    <a:pt x="41" y="21"/>
                    <a:pt x="41" y="23"/>
                  </a:cubicBezTo>
                  <a:cubicBezTo>
                    <a:pt x="40" y="25"/>
                    <a:pt x="37" y="26"/>
                    <a:pt x="37" y="28"/>
                  </a:cubicBezTo>
                  <a:cubicBezTo>
                    <a:pt x="37" y="30"/>
                    <a:pt x="39" y="32"/>
                    <a:pt x="41" y="33"/>
                  </a:cubicBezTo>
                  <a:cubicBezTo>
                    <a:pt x="43" y="34"/>
                    <a:pt x="45" y="33"/>
                    <a:pt x="46" y="34"/>
                  </a:cubicBezTo>
                  <a:cubicBezTo>
                    <a:pt x="47" y="35"/>
                    <a:pt x="45" y="37"/>
                    <a:pt x="46" y="38"/>
                  </a:cubicBezTo>
                  <a:cubicBezTo>
                    <a:pt x="47" y="39"/>
                    <a:pt x="50" y="38"/>
                    <a:pt x="51" y="39"/>
                  </a:cubicBezTo>
                  <a:cubicBezTo>
                    <a:pt x="52" y="41"/>
                    <a:pt x="51" y="44"/>
                    <a:pt x="51" y="46"/>
                  </a:cubicBezTo>
                  <a:cubicBezTo>
                    <a:pt x="50" y="48"/>
                    <a:pt x="48" y="49"/>
                    <a:pt x="48" y="51"/>
                  </a:cubicBezTo>
                  <a:cubicBezTo>
                    <a:pt x="48" y="54"/>
                    <a:pt x="49" y="58"/>
                    <a:pt x="49" y="6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" name="Freeform 55"/>
            <p:cNvSpPr>
              <a:spLocks noChangeAspect="1"/>
            </p:cNvSpPr>
            <p:nvPr/>
          </p:nvSpPr>
          <p:spPr bwMode="auto">
            <a:xfrm>
              <a:off x="4335463" y="3905250"/>
              <a:ext cx="144462" cy="174625"/>
            </a:xfrm>
            <a:custGeom>
              <a:avLst/>
              <a:gdLst>
                <a:gd name="T0" fmla="*/ 136859 w 76"/>
                <a:gd name="T1" fmla="*/ 153746 h 92"/>
                <a:gd name="T2" fmla="*/ 114049 w 76"/>
                <a:gd name="T3" fmla="*/ 149950 h 92"/>
                <a:gd name="T4" fmla="*/ 108346 w 76"/>
                <a:gd name="T5" fmla="*/ 153746 h 92"/>
                <a:gd name="T6" fmla="*/ 100743 w 76"/>
                <a:gd name="T7" fmla="*/ 149950 h 92"/>
                <a:gd name="T8" fmla="*/ 72231 w 76"/>
                <a:gd name="T9" fmla="*/ 151848 h 92"/>
                <a:gd name="T10" fmla="*/ 43719 w 76"/>
                <a:gd name="T11" fmla="*/ 161338 h 92"/>
                <a:gd name="T12" fmla="*/ 22810 w 76"/>
                <a:gd name="T13" fmla="*/ 174625 h 92"/>
                <a:gd name="T14" fmla="*/ 20909 w 76"/>
                <a:gd name="T15" fmla="*/ 153746 h 92"/>
                <a:gd name="T16" fmla="*/ 26611 w 76"/>
                <a:gd name="T17" fmla="*/ 144255 h 92"/>
                <a:gd name="T18" fmla="*/ 26611 w 76"/>
                <a:gd name="T19" fmla="*/ 130969 h 92"/>
                <a:gd name="T20" fmla="*/ 17107 w 76"/>
                <a:gd name="T21" fmla="*/ 129071 h 92"/>
                <a:gd name="T22" fmla="*/ 17107 w 76"/>
                <a:gd name="T23" fmla="*/ 121478 h 92"/>
                <a:gd name="T24" fmla="*/ 7603 w 76"/>
                <a:gd name="T25" fmla="*/ 119580 h 92"/>
                <a:gd name="T26" fmla="*/ 0 w 76"/>
                <a:gd name="T27" fmla="*/ 110090 h 92"/>
                <a:gd name="T28" fmla="*/ 7603 w 76"/>
                <a:gd name="T29" fmla="*/ 100599 h 92"/>
                <a:gd name="T30" fmla="*/ 5702 w 76"/>
                <a:gd name="T31" fmla="*/ 91109 h 92"/>
                <a:gd name="T32" fmla="*/ 9504 w 76"/>
                <a:gd name="T33" fmla="*/ 83516 h 92"/>
                <a:gd name="T34" fmla="*/ 7603 w 76"/>
                <a:gd name="T35" fmla="*/ 77822 h 92"/>
                <a:gd name="T36" fmla="*/ 15207 w 76"/>
                <a:gd name="T37" fmla="*/ 68332 h 92"/>
                <a:gd name="T38" fmla="*/ 5702 w 76"/>
                <a:gd name="T39" fmla="*/ 64535 h 92"/>
                <a:gd name="T40" fmla="*/ 22810 w 76"/>
                <a:gd name="T41" fmla="*/ 58841 h 92"/>
                <a:gd name="T42" fmla="*/ 13306 w 76"/>
                <a:gd name="T43" fmla="*/ 51249 h 92"/>
                <a:gd name="T44" fmla="*/ 19008 w 76"/>
                <a:gd name="T45" fmla="*/ 45554 h 92"/>
                <a:gd name="T46" fmla="*/ 17107 w 76"/>
                <a:gd name="T47" fmla="*/ 36064 h 92"/>
                <a:gd name="T48" fmla="*/ 9504 w 76"/>
                <a:gd name="T49" fmla="*/ 22777 h 92"/>
                <a:gd name="T50" fmla="*/ 17107 w 76"/>
                <a:gd name="T51" fmla="*/ 13287 h 92"/>
                <a:gd name="T52" fmla="*/ 20909 w 76"/>
                <a:gd name="T53" fmla="*/ 5694 h 92"/>
                <a:gd name="T54" fmla="*/ 30413 w 76"/>
                <a:gd name="T55" fmla="*/ 7592 h 92"/>
                <a:gd name="T56" fmla="*/ 39917 w 76"/>
                <a:gd name="T57" fmla="*/ 9490 h 92"/>
                <a:gd name="T58" fmla="*/ 41818 w 76"/>
                <a:gd name="T59" fmla="*/ 0 h 92"/>
                <a:gd name="T60" fmla="*/ 47520 w 76"/>
                <a:gd name="T61" fmla="*/ 3796 h 92"/>
                <a:gd name="T62" fmla="*/ 55124 w 76"/>
                <a:gd name="T63" fmla="*/ 0 h 92"/>
                <a:gd name="T64" fmla="*/ 55124 w 76"/>
                <a:gd name="T65" fmla="*/ 11389 h 92"/>
                <a:gd name="T66" fmla="*/ 62727 w 76"/>
                <a:gd name="T67" fmla="*/ 9490 h 92"/>
                <a:gd name="T68" fmla="*/ 77933 w 76"/>
                <a:gd name="T69" fmla="*/ 5694 h 92"/>
                <a:gd name="T70" fmla="*/ 77933 w 76"/>
                <a:gd name="T71" fmla="*/ 13287 h 92"/>
                <a:gd name="T72" fmla="*/ 83636 w 76"/>
                <a:gd name="T73" fmla="*/ 15185 h 92"/>
                <a:gd name="T74" fmla="*/ 83636 w 76"/>
                <a:gd name="T75" fmla="*/ 22777 h 92"/>
                <a:gd name="T76" fmla="*/ 89338 w 76"/>
                <a:gd name="T77" fmla="*/ 24675 h 92"/>
                <a:gd name="T78" fmla="*/ 95041 w 76"/>
                <a:gd name="T79" fmla="*/ 26573 h 92"/>
                <a:gd name="T80" fmla="*/ 106446 w 76"/>
                <a:gd name="T81" fmla="*/ 22777 h 92"/>
                <a:gd name="T82" fmla="*/ 121652 w 76"/>
                <a:gd name="T83" fmla="*/ 20879 h 92"/>
                <a:gd name="T84" fmla="*/ 131156 w 76"/>
                <a:gd name="T85" fmla="*/ 22777 h 92"/>
                <a:gd name="T86" fmla="*/ 136859 w 76"/>
                <a:gd name="T87" fmla="*/ 28471 h 92"/>
                <a:gd name="T88" fmla="*/ 138760 w 76"/>
                <a:gd name="T89" fmla="*/ 39860 h 92"/>
                <a:gd name="T90" fmla="*/ 140660 w 76"/>
                <a:gd name="T91" fmla="*/ 47452 h 92"/>
                <a:gd name="T92" fmla="*/ 142561 w 76"/>
                <a:gd name="T93" fmla="*/ 56943 h 92"/>
                <a:gd name="T94" fmla="*/ 142561 w 76"/>
                <a:gd name="T95" fmla="*/ 66433 h 92"/>
                <a:gd name="T96" fmla="*/ 138760 w 76"/>
                <a:gd name="T97" fmla="*/ 75924 h 92"/>
                <a:gd name="T98" fmla="*/ 136859 w 76"/>
                <a:gd name="T99" fmla="*/ 93007 h 92"/>
                <a:gd name="T100" fmla="*/ 129255 w 76"/>
                <a:gd name="T101" fmla="*/ 104395 h 92"/>
                <a:gd name="T102" fmla="*/ 133057 w 76"/>
                <a:gd name="T103" fmla="*/ 119580 h 92"/>
                <a:gd name="T104" fmla="*/ 131156 w 76"/>
                <a:gd name="T105" fmla="*/ 132867 h 92"/>
                <a:gd name="T106" fmla="*/ 138760 w 76"/>
                <a:gd name="T107" fmla="*/ 138561 h 92"/>
                <a:gd name="T108" fmla="*/ 138760 w 76"/>
                <a:gd name="T109" fmla="*/ 149950 h 92"/>
                <a:gd name="T110" fmla="*/ 136859 w 76"/>
                <a:gd name="T111" fmla="*/ 153746 h 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6"/>
                <a:gd name="T169" fmla="*/ 0 h 92"/>
                <a:gd name="T170" fmla="*/ 76 w 76"/>
                <a:gd name="T171" fmla="*/ 92 h 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6" h="92">
                  <a:moveTo>
                    <a:pt x="72" y="81"/>
                  </a:moveTo>
                  <a:cubicBezTo>
                    <a:pt x="68" y="80"/>
                    <a:pt x="64" y="79"/>
                    <a:pt x="60" y="79"/>
                  </a:cubicBezTo>
                  <a:cubicBezTo>
                    <a:pt x="59" y="79"/>
                    <a:pt x="58" y="81"/>
                    <a:pt x="57" y="81"/>
                  </a:cubicBezTo>
                  <a:cubicBezTo>
                    <a:pt x="56" y="81"/>
                    <a:pt x="54" y="79"/>
                    <a:pt x="53" y="79"/>
                  </a:cubicBezTo>
                  <a:cubicBezTo>
                    <a:pt x="48" y="79"/>
                    <a:pt x="42" y="79"/>
                    <a:pt x="38" y="80"/>
                  </a:cubicBezTo>
                  <a:cubicBezTo>
                    <a:pt x="32" y="81"/>
                    <a:pt x="28" y="83"/>
                    <a:pt x="23" y="85"/>
                  </a:cubicBezTo>
                  <a:cubicBezTo>
                    <a:pt x="19" y="87"/>
                    <a:pt x="16" y="89"/>
                    <a:pt x="12" y="92"/>
                  </a:cubicBezTo>
                  <a:cubicBezTo>
                    <a:pt x="12" y="88"/>
                    <a:pt x="11" y="84"/>
                    <a:pt x="11" y="81"/>
                  </a:cubicBezTo>
                  <a:cubicBezTo>
                    <a:pt x="11" y="79"/>
                    <a:pt x="13" y="78"/>
                    <a:pt x="14" y="76"/>
                  </a:cubicBezTo>
                  <a:cubicBezTo>
                    <a:pt x="14" y="74"/>
                    <a:pt x="15" y="71"/>
                    <a:pt x="14" y="69"/>
                  </a:cubicBezTo>
                  <a:cubicBezTo>
                    <a:pt x="13" y="68"/>
                    <a:pt x="10" y="69"/>
                    <a:pt x="9" y="68"/>
                  </a:cubicBezTo>
                  <a:cubicBezTo>
                    <a:pt x="8" y="67"/>
                    <a:pt x="10" y="65"/>
                    <a:pt x="9" y="64"/>
                  </a:cubicBezTo>
                  <a:cubicBezTo>
                    <a:pt x="8" y="63"/>
                    <a:pt x="6" y="64"/>
                    <a:pt x="4" y="63"/>
                  </a:cubicBezTo>
                  <a:cubicBezTo>
                    <a:pt x="2" y="62"/>
                    <a:pt x="0" y="60"/>
                    <a:pt x="0" y="58"/>
                  </a:cubicBezTo>
                  <a:cubicBezTo>
                    <a:pt x="0" y="56"/>
                    <a:pt x="3" y="55"/>
                    <a:pt x="4" y="53"/>
                  </a:cubicBezTo>
                  <a:cubicBezTo>
                    <a:pt x="4" y="51"/>
                    <a:pt x="3" y="50"/>
                    <a:pt x="3" y="48"/>
                  </a:cubicBezTo>
                  <a:cubicBezTo>
                    <a:pt x="4" y="47"/>
                    <a:pt x="5" y="46"/>
                    <a:pt x="5" y="44"/>
                  </a:cubicBezTo>
                  <a:cubicBezTo>
                    <a:pt x="6" y="43"/>
                    <a:pt x="4" y="42"/>
                    <a:pt x="4" y="41"/>
                  </a:cubicBezTo>
                  <a:cubicBezTo>
                    <a:pt x="4" y="39"/>
                    <a:pt x="8" y="38"/>
                    <a:pt x="8" y="36"/>
                  </a:cubicBezTo>
                  <a:cubicBezTo>
                    <a:pt x="8" y="35"/>
                    <a:pt x="2" y="35"/>
                    <a:pt x="3" y="34"/>
                  </a:cubicBezTo>
                  <a:cubicBezTo>
                    <a:pt x="5" y="31"/>
                    <a:pt x="10" y="33"/>
                    <a:pt x="12" y="31"/>
                  </a:cubicBezTo>
                  <a:cubicBezTo>
                    <a:pt x="13" y="29"/>
                    <a:pt x="8" y="29"/>
                    <a:pt x="7" y="27"/>
                  </a:cubicBezTo>
                  <a:cubicBezTo>
                    <a:pt x="7" y="26"/>
                    <a:pt x="9" y="26"/>
                    <a:pt x="10" y="24"/>
                  </a:cubicBezTo>
                  <a:cubicBezTo>
                    <a:pt x="10" y="23"/>
                    <a:pt x="10" y="21"/>
                    <a:pt x="9" y="19"/>
                  </a:cubicBezTo>
                  <a:cubicBezTo>
                    <a:pt x="9" y="17"/>
                    <a:pt x="6" y="15"/>
                    <a:pt x="5" y="12"/>
                  </a:cubicBezTo>
                  <a:cubicBezTo>
                    <a:pt x="5" y="10"/>
                    <a:pt x="8" y="9"/>
                    <a:pt x="9" y="7"/>
                  </a:cubicBezTo>
                  <a:cubicBezTo>
                    <a:pt x="10" y="6"/>
                    <a:pt x="10" y="4"/>
                    <a:pt x="11" y="3"/>
                  </a:cubicBezTo>
                  <a:cubicBezTo>
                    <a:pt x="13" y="3"/>
                    <a:pt x="15" y="4"/>
                    <a:pt x="16" y="4"/>
                  </a:cubicBezTo>
                  <a:cubicBezTo>
                    <a:pt x="18" y="5"/>
                    <a:pt x="19" y="6"/>
                    <a:pt x="21" y="5"/>
                  </a:cubicBezTo>
                  <a:cubicBezTo>
                    <a:pt x="22" y="4"/>
                    <a:pt x="21" y="1"/>
                    <a:pt x="22" y="0"/>
                  </a:cubicBezTo>
                  <a:cubicBezTo>
                    <a:pt x="23" y="0"/>
                    <a:pt x="24" y="2"/>
                    <a:pt x="25" y="2"/>
                  </a:cubicBezTo>
                  <a:cubicBezTo>
                    <a:pt x="27" y="2"/>
                    <a:pt x="28" y="0"/>
                    <a:pt x="29" y="0"/>
                  </a:cubicBezTo>
                  <a:cubicBezTo>
                    <a:pt x="30" y="2"/>
                    <a:pt x="28" y="5"/>
                    <a:pt x="29" y="6"/>
                  </a:cubicBezTo>
                  <a:cubicBezTo>
                    <a:pt x="30" y="7"/>
                    <a:pt x="32" y="5"/>
                    <a:pt x="33" y="5"/>
                  </a:cubicBezTo>
                  <a:cubicBezTo>
                    <a:pt x="36" y="4"/>
                    <a:pt x="39" y="4"/>
                    <a:pt x="41" y="3"/>
                  </a:cubicBezTo>
                  <a:cubicBezTo>
                    <a:pt x="41" y="4"/>
                    <a:pt x="40" y="6"/>
                    <a:pt x="41" y="7"/>
                  </a:cubicBezTo>
                  <a:cubicBezTo>
                    <a:pt x="41" y="8"/>
                    <a:pt x="43" y="7"/>
                    <a:pt x="44" y="8"/>
                  </a:cubicBezTo>
                  <a:cubicBezTo>
                    <a:pt x="44" y="9"/>
                    <a:pt x="43" y="11"/>
                    <a:pt x="44" y="12"/>
                  </a:cubicBezTo>
                  <a:cubicBezTo>
                    <a:pt x="44" y="13"/>
                    <a:pt x="46" y="12"/>
                    <a:pt x="47" y="13"/>
                  </a:cubicBezTo>
                  <a:cubicBezTo>
                    <a:pt x="48" y="13"/>
                    <a:pt x="49" y="15"/>
                    <a:pt x="50" y="14"/>
                  </a:cubicBezTo>
                  <a:cubicBezTo>
                    <a:pt x="52" y="14"/>
                    <a:pt x="54" y="12"/>
                    <a:pt x="56" y="12"/>
                  </a:cubicBezTo>
                  <a:cubicBezTo>
                    <a:pt x="58" y="11"/>
                    <a:pt x="61" y="11"/>
                    <a:pt x="64" y="11"/>
                  </a:cubicBezTo>
                  <a:cubicBezTo>
                    <a:pt x="66" y="11"/>
                    <a:pt x="68" y="11"/>
                    <a:pt x="69" y="12"/>
                  </a:cubicBezTo>
                  <a:cubicBezTo>
                    <a:pt x="70" y="13"/>
                    <a:pt x="71" y="14"/>
                    <a:pt x="72" y="15"/>
                  </a:cubicBezTo>
                  <a:cubicBezTo>
                    <a:pt x="72" y="17"/>
                    <a:pt x="72" y="19"/>
                    <a:pt x="73" y="21"/>
                  </a:cubicBezTo>
                  <a:cubicBezTo>
                    <a:pt x="73" y="22"/>
                    <a:pt x="73" y="23"/>
                    <a:pt x="74" y="25"/>
                  </a:cubicBezTo>
                  <a:cubicBezTo>
                    <a:pt x="74" y="27"/>
                    <a:pt x="75" y="28"/>
                    <a:pt x="75" y="30"/>
                  </a:cubicBezTo>
                  <a:cubicBezTo>
                    <a:pt x="76" y="32"/>
                    <a:pt x="76" y="34"/>
                    <a:pt x="75" y="35"/>
                  </a:cubicBezTo>
                  <a:cubicBezTo>
                    <a:pt x="75" y="37"/>
                    <a:pt x="73" y="38"/>
                    <a:pt x="73" y="40"/>
                  </a:cubicBezTo>
                  <a:cubicBezTo>
                    <a:pt x="72" y="43"/>
                    <a:pt x="73" y="46"/>
                    <a:pt x="72" y="49"/>
                  </a:cubicBezTo>
                  <a:cubicBezTo>
                    <a:pt x="71" y="51"/>
                    <a:pt x="68" y="53"/>
                    <a:pt x="68" y="55"/>
                  </a:cubicBezTo>
                  <a:cubicBezTo>
                    <a:pt x="67" y="58"/>
                    <a:pt x="70" y="60"/>
                    <a:pt x="70" y="63"/>
                  </a:cubicBezTo>
                  <a:cubicBezTo>
                    <a:pt x="70" y="65"/>
                    <a:pt x="69" y="68"/>
                    <a:pt x="69" y="70"/>
                  </a:cubicBezTo>
                  <a:cubicBezTo>
                    <a:pt x="70" y="71"/>
                    <a:pt x="72" y="71"/>
                    <a:pt x="73" y="73"/>
                  </a:cubicBezTo>
                  <a:cubicBezTo>
                    <a:pt x="74" y="75"/>
                    <a:pt x="73" y="77"/>
                    <a:pt x="73" y="79"/>
                  </a:cubicBezTo>
                  <a:cubicBezTo>
                    <a:pt x="73" y="79"/>
                    <a:pt x="72" y="80"/>
                    <a:pt x="72" y="8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" name="Freeform 56"/>
            <p:cNvSpPr>
              <a:spLocks noChangeAspect="1"/>
            </p:cNvSpPr>
            <p:nvPr/>
          </p:nvSpPr>
          <p:spPr bwMode="auto">
            <a:xfrm>
              <a:off x="4244975" y="3489325"/>
              <a:ext cx="396875" cy="428625"/>
            </a:xfrm>
            <a:custGeom>
              <a:avLst/>
              <a:gdLst>
                <a:gd name="T0" fmla="*/ 152644 w 208"/>
                <a:gd name="T1" fmla="*/ 424815 h 225"/>
                <a:gd name="T2" fmla="*/ 145012 w 208"/>
                <a:gd name="T3" fmla="*/ 415290 h 225"/>
                <a:gd name="T4" fmla="*/ 131656 w 208"/>
                <a:gd name="T5" fmla="*/ 415290 h 225"/>
                <a:gd name="T6" fmla="*/ 120207 w 208"/>
                <a:gd name="T7" fmla="*/ 422910 h 225"/>
                <a:gd name="T8" fmla="*/ 106851 w 208"/>
                <a:gd name="T9" fmla="*/ 428625 h 225"/>
                <a:gd name="T10" fmla="*/ 93495 w 208"/>
                <a:gd name="T11" fmla="*/ 405765 h 225"/>
                <a:gd name="T12" fmla="*/ 91587 w 208"/>
                <a:gd name="T13" fmla="*/ 392430 h 225"/>
                <a:gd name="T14" fmla="*/ 82046 w 208"/>
                <a:gd name="T15" fmla="*/ 369570 h 225"/>
                <a:gd name="T16" fmla="*/ 66782 w 208"/>
                <a:gd name="T17" fmla="*/ 371475 h 225"/>
                <a:gd name="T18" fmla="*/ 51517 w 208"/>
                <a:gd name="T19" fmla="*/ 371475 h 225"/>
                <a:gd name="T20" fmla="*/ 30529 w 208"/>
                <a:gd name="T21" fmla="*/ 367665 h 225"/>
                <a:gd name="T22" fmla="*/ 17172 w 208"/>
                <a:gd name="T23" fmla="*/ 373380 h 225"/>
                <a:gd name="T24" fmla="*/ 19081 w 208"/>
                <a:gd name="T25" fmla="*/ 350520 h 225"/>
                <a:gd name="T26" fmla="*/ 7632 w 208"/>
                <a:gd name="T27" fmla="*/ 339090 h 225"/>
                <a:gd name="T28" fmla="*/ 5724 w 208"/>
                <a:gd name="T29" fmla="*/ 314325 h 225"/>
                <a:gd name="T30" fmla="*/ 9540 w 208"/>
                <a:gd name="T31" fmla="*/ 297180 h 225"/>
                <a:gd name="T32" fmla="*/ 22897 w 208"/>
                <a:gd name="T33" fmla="*/ 281940 h 225"/>
                <a:gd name="T34" fmla="*/ 40069 w 208"/>
                <a:gd name="T35" fmla="*/ 283845 h 225"/>
                <a:gd name="T36" fmla="*/ 70598 w 208"/>
                <a:gd name="T37" fmla="*/ 276225 h 225"/>
                <a:gd name="T38" fmla="*/ 164093 w 208"/>
                <a:gd name="T39" fmla="*/ 283845 h 225"/>
                <a:gd name="T40" fmla="*/ 162185 w 208"/>
                <a:gd name="T41" fmla="*/ 253365 h 225"/>
                <a:gd name="T42" fmla="*/ 177449 w 208"/>
                <a:gd name="T43" fmla="*/ 11430 h 225"/>
                <a:gd name="T44" fmla="*/ 322461 w 208"/>
                <a:gd name="T45" fmla="*/ 137160 h 225"/>
                <a:gd name="T46" fmla="*/ 341541 w 208"/>
                <a:gd name="T47" fmla="*/ 150495 h 225"/>
                <a:gd name="T48" fmla="*/ 370162 w 208"/>
                <a:gd name="T49" fmla="*/ 161925 h 225"/>
                <a:gd name="T50" fmla="*/ 373978 w 208"/>
                <a:gd name="T51" fmla="*/ 184785 h 225"/>
                <a:gd name="T52" fmla="*/ 396875 w 208"/>
                <a:gd name="T53" fmla="*/ 264795 h 225"/>
                <a:gd name="T54" fmla="*/ 385427 w 208"/>
                <a:gd name="T55" fmla="*/ 274320 h 225"/>
                <a:gd name="T56" fmla="*/ 373978 w 208"/>
                <a:gd name="T57" fmla="*/ 283845 h 225"/>
                <a:gd name="T58" fmla="*/ 314829 w 208"/>
                <a:gd name="T59" fmla="*/ 297180 h 225"/>
                <a:gd name="T60" fmla="*/ 280484 w 208"/>
                <a:gd name="T61" fmla="*/ 291465 h 225"/>
                <a:gd name="T62" fmla="*/ 246139 w 208"/>
                <a:gd name="T63" fmla="*/ 318135 h 225"/>
                <a:gd name="T64" fmla="*/ 228966 w 208"/>
                <a:gd name="T65" fmla="*/ 323850 h 225"/>
                <a:gd name="T66" fmla="*/ 219426 w 208"/>
                <a:gd name="T67" fmla="*/ 331470 h 225"/>
                <a:gd name="T68" fmla="*/ 211794 w 208"/>
                <a:gd name="T69" fmla="*/ 344805 h 225"/>
                <a:gd name="T70" fmla="*/ 192713 w 208"/>
                <a:gd name="T71" fmla="*/ 342900 h 225"/>
                <a:gd name="T72" fmla="*/ 188897 w 208"/>
                <a:gd name="T73" fmla="*/ 360045 h 225"/>
                <a:gd name="T74" fmla="*/ 186989 w 208"/>
                <a:gd name="T75" fmla="*/ 367665 h 225"/>
                <a:gd name="T76" fmla="*/ 164093 w 208"/>
                <a:gd name="T77" fmla="*/ 379095 h 225"/>
                <a:gd name="T78" fmla="*/ 166001 w 208"/>
                <a:gd name="T79" fmla="*/ 403860 h 22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8"/>
                <a:gd name="T121" fmla="*/ 0 h 225"/>
                <a:gd name="T122" fmla="*/ 208 w 208"/>
                <a:gd name="T123" fmla="*/ 225 h 22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8" h="225">
                  <a:moveTo>
                    <a:pt x="88" y="221"/>
                  </a:moveTo>
                  <a:cubicBezTo>
                    <a:pt x="86" y="222"/>
                    <a:pt x="83" y="222"/>
                    <a:pt x="80" y="223"/>
                  </a:cubicBezTo>
                  <a:cubicBezTo>
                    <a:pt x="79" y="223"/>
                    <a:pt x="77" y="225"/>
                    <a:pt x="76" y="224"/>
                  </a:cubicBezTo>
                  <a:cubicBezTo>
                    <a:pt x="75" y="223"/>
                    <a:pt x="77" y="220"/>
                    <a:pt x="76" y="218"/>
                  </a:cubicBezTo>
                  <a:cubicBezTo>
                    <a:pt x="75" y="218"/>
                    <a:pt x="74" y="220"/>
                    <a:pt x="72" y="220"/>
                  </a:cubicBezTo>
                  <a:cubicBezTo>
                    <a:pt x="71" y="220"/>
                    <a:pt x="70" y="218"/>
                    <a:pt x="69" y="218"/>
                  </a:cubicBezTo>
                  <a:cubicBezTo>
                    <a:pt x="68" y="219"/>
                    <a:pt x="69" y="222"/>
                    <a:pt x="68" y="223"/>
                  </a:cubicBezTo>
                  <a:cubicBezTo>
                    <a:pt x="66" y="224"/>
                    <a:pt x="65" y="223"/>
                    <a:pt x="63" y="222"/>
                  </a:cubicBezTo>
                  <a:cubicBezTo>
                    <a:pt x="62" y="222"/>
                    <a:pt x="60" y="221"/>
                    <a:pt x="58" y="221"/>
                  </a:cubicBezTo>
                  <a:cubicBezTo>
                    <a:pt x="57" y="222"/>
                    <a:pt x="57" y="224"/>
                    <a:pt x="56" y="225"/>
                  </a:cubicBezTo>
                  <a:cubicBezTo>
                    <a:pt x="54" y="223"/>
                    <a:pt x="50" y="222"/>
                    <a:pt x="49" y="219"/>
                  </a:cubicBezTo>
                  <a:cubicBezTo>
                    <a:pt x="48" y="218"/>
                    <a:pt x="50" y="215"/>
                    <a:pt x="49" y="213"/>
                  </a:cubicBezTo>
                  <a:cubicBezTo>
                    <a:pt x="48" y="212"/>
                    <a:pt x="44" y="215"/>
                    <a:pt x="44" y="214"/>
                  </a:cubicBezTo>
                  <a:cubicBezTo>
                    <a:pt x="44" y="211"/>
                    <a:pt x="48" y="209"/>
                    <a:pt x="48" y="206"/>
                  </a:cubicBezTo>
                  <a:cubicBezTo>
                    <a:pt x="48" y="204"/>
                    <a:pt x="45" y="204"/>
                    <a:pt x="44" y="202"/>
                  </a:cubicBezTo>
                  <a:cubicBezTo>
                    <a:pt x="43" y="200"/>
                    <a:pt x="44" y="196"/>
                    <a:pt x="43" y="194"/>
                  </a:cubicBezTo>
                  <a:cubicBezTo>
                    <a:pt x="41" y="192"/>
                    <a:pt x="38" y="191"/>
                    <a:pt x="35" y="192"/>
                  </a:cubicBezTo>
                  <a:cubicBezTo>
                    <a:pt x="34" y="192"/>
                    <a:pt x="36" y="194"/>
                    <a:pt x="35" y="195"/>
                  </a:cubicBezTo>
                  <a:cubicBezTo>
                    <a:pt x="34" y="196"/>
                    <a:pt x="33" y="196"/>
                    <a:pt x="31" y="196"/>
                  </a:cubicBezTo>
                  <a:cubicBezTo>
                    <a:pt x="30" y="196"/>
                    <a:pt x="28" y="194"/>
                    <a:pt x="27" y="195"/>
                  </a:cubicBezTo>
                  <a:cubicBezTo>
                    <a:pt x="24" y="195"/>
                    <a:pt x="22" y="199"/>
                    <a:pt x="20" y="199"/>
                  </a:cubicBezTo>
                  <a:cubicBezTo>
                    <a:pt x="18" y="198"/>
                    <a:pt x="18" y="194"/>
                    <a:pt x="16" y="193"/>
                  </a:cubicBezTo>
                  <a:cubicBezTo>
                    <a:pt x="15" y="193"/>
                    <a:pt x="14" y="195"/>
                    <a:pt x="13" y="196"/>
                  </a:cubicBezTo>
                  <a:cubicBezTo>
                    <a:pt x="12" y="196"/>
                    <a:pt x="10" y="197"/>
                    <a:pt x="9" y="196"/>
                  </a:cubicBezTo>
                  <a:cubicBezTo>
                    <a:pt x="8" y="195"/>
                    <a:pt x="8" y="192"/>
                    <a:pt x="8" y="190"/>
                  </a:cubicBezTo>
                  <a:lnTo>
                    <a:pt x="10" y="184"/>
                  </a:lnTo>
                  <a:lnTo>
                    <a:pt x="7" y="178"/>
                  </a:lnTo>
                  <a:lnTo>
                    <a:pt x="4" y="178"/>
                  </a:lnTo>
                  <a:lnTo>
                    <a:pt x="1" y="174"/>
                  </a:lnTo>
                  <a:lnTo>
                    <a:pt x="3" y="165"/>
                  </a:lnTo>
                  <a:lnTo>
                    <a:pt x="0" y="157"/>
                  </a:lnTo>
                  <a:cubicBezTo>
                    <a:pt x="2" y="157"/>
                    <a:pt x="4" y="158"/>
                    <a:pt x="5" y="156"/>
                  </a:cubicBezTo>
                  <a:cubicBezTo>
                    <a:pt x="7" y="154"/>
                    <a:pt x="6" y="150"/>
                    <a:pt x="8" y="148"/>
                  </a:cubicBezTo>
                  <a:cubicBezTo>
                    <a:pt x="8" y="147"/>
                    <a:pt x="11" y="147"/>
                    <a:pt x="12" y="148"/>
                  </a:cubicBezTo>
                  <a:cubicBezTo>
                    <a:pt x="14" y="149"/>
                    <a:pt x="14" y="153"/>
                    <a:pt x="17" y="154"/>
                  </a:cubicBezTo>
                  <a:cubicBezTo>
                    <a:pt x="19" y="154"/>
                    <a:pt x="19" y="149"/>
                    <a:pt x="21" y="149"/>
                  </a:cubicBezTo>
                  <a:cubicBezTo>
                    <a:pt x="25" y="147"/>
                    <a:pt x="30" y="150"/>
                    <a:pt x="34" y="149"/>
                  </a:cubicBezTo>
                  <a:cubicBezTo>
                    <a:pt x="36" y="148"/>
                    <a:pt x="35" y="145"/>
                    <a:pt x="37" y="145"/>
                  </a:cubicBezTo>
                  <a:cubicBezTo>
                    <a:pt x="38" y="145"/>
                    <a:pt x="38" y="149"/>
                    <a:pt x="39" y="149"/>
                  </a:cubicBezTo>
                  <a:lnTo>
                    <a:pt x="86" y="149"/>
                  </a:lnTo>
                  <a:lnTo>
                    <a:pt x="89" y="135"/>
                  </a:lnTo>
                  <a:lnTo>
                    <a:pt x="85" y="133"/>
                  </a:lnTo>
                  <a:lnTo>
                    <a:pt x="74" y="6"/>
                  </a:lnTo>
                  <a:cubicBezTo>
                    <a:pt x="73" y="0"/>
                    <a:pt x="86" y="6"/>
                    <a:pt x="93" y="6"/>
                  </a:cubicBezTo>
                  <a:lnTo>
                    <a:pt x="169" y="65"/>
                  </a:lnTo>
                  <a:cubicBezTo>
                    <a:pt x="169" y="68"/>
                    <a:pt x="168" y="70"/>
                    <a:pt x="169" y="72"/>
                  </a:cubicBezTo>
                  <a:cubicBezTo>
                    <a:pt x="170" y="74"/>
                    <a:pt x="173" y="73"/>
                    <a:pt x="175" y="74"/>
                  </a:cubicBezTo>
                  <a:cubicBezTo>
                    <a:pt x="176" y="76"/>
                    <a:pt x="177" y="78"/>
                    <a:pt x="179" y="79"/>
                  </a:cubicBezTo>
                  <a:cubicBezTo>
                    <a:pt x="181" y="80"/>
                    <a:pt x="183" y="79"/>
                    <a:pt x="185" y="80"/>
                  </a:cubicBezTo>
                  <a:cubicBezTo>
                    <a:pt x="188" y="81"/>
                    <a:pt x="192" y="82"/>
                    <a:pt x="194" y="85"/>
                  </a:cubicBezTo>
                  <a:cubicBezTo>
                    <a:pt x="195" y="88"/>
                    <a:pt x="192" y="92"/>
                    <a:pt x="193" y="96"/>
                  </a:cubicBezTo>
                  <a:cubicBezTo>
                    <a:pt x="193" y="97"/>
                    <a:pt x="195" y="97"/>
                    <a:pt x="196" y="97"/>
                  </a:cubicBezTo>
                  <a:cubicBezTo>
                    <a:pt x="201" y="97"/>
                    <a:pt x="204" y="95"/>
                    <a:pt x="208" y="94"/>
                  </a:cubicBezTo>
                  <a:lnTo>
                    <a:pt x="208" y="139"/>
                  </a:lnTo>
                  <a:cubicBezTo>
                    <a:pt x="207" y="139"/>
                    <a:pt x="205" y="139"/>
                    <a:pt x="204" y="140"/>
                  </a:cubicBezTo>
                  <a:cubicBezTo>
                    <a:pt x="203" y="141"/>
                    <a:pt x="203" y="143"/>
                    <a:pt x="202" y="144"/>
                  </a:cubicBezTo>
                  <a:cubicBezTo>
                    <a:pt x="201" y="145"/>
                    <a:pt x="199" y="144"/>
                    <a:pt x="198" y="145"/>
                  </a:cubicBezTo>
                  <a:lnTo>
                    <a:pt x="196" y="149"/>
                  </a:lnTo>
                  <a:lnTo>
                    <a:pt x="169" y="152"/>
                  </a:lnTo>
                  <a:cubicBezTo>
                    <a:pt x="168" y="153"/>
                    <a:pt x="167" y="156"/>
                    <a:pt x="165" y="156"/>
                  </a:cubicBezTo>
                  <a:lnTo>
                    <a:pt x="156" y="155"/>
                  </a:lnTo>
                  <a:cubicBezTo>
                    <a:pt x="153" y="155"/>
                    <a:pt x="150" y="152"/>
                    <a:pt x="147" y="153"/>
                  </a:cubicBezTo>
                  <a:cubicBezTo>
                    <a:pt x="141" y="155"/>
                    <a:pt x="136" y="159"/>
                    <a:pt x="131" y="162"/>
                  </a:cubicBezTo>
                  <a:cubicBezTo>
                    <a:pt x="130" y="163"/>
                    <a:pt x="131" y="166"/>
                    <a:pt x="129" y="167"/>
                  </a:cubicBezTo>
                  <a:cubicBezTo>
                    <a:pt x="128" y="168"/>
                    <a:pt x="127" y="165"/>
                    <a:pt x="126" y="166"/>
                  </a:cubicBezTo>
                  <a:cubicBezTo>
                    <a:pt x="124" y="166"/>
                    <a:pt x="121" y="168"/>
                    <a:pt x="120" y="170"/>
                  </a:cubicBezTo>
                  <a:cubicBezTo>
                    <a:pt x="119" y="171"/>
                    <a:pt x="122" y="174"/>
                    <a:pt x="120" y="175"/>
                  </a:cubicBezTo>
                  <a:cubicBezTo>
                    <a:pt x="119" y="176"/>
                    <a:pt x="117" y="173"/>
                    <a:pt x="115" y="174"/>
                  </a:cubicBezTo>
                  <a:cubicBezTo>
                    <a:pt x="114" y="175"/>
                    <a:pt x="116" y="177"/>
                    <a:pt x="115" y="179"/>
                  </a:cubicBezTo>
                  <a:cubicBezTo>
                    <a:pt x="114" y="180"/>
                    <a:pt x="112" y="181"/>
                    <a:pt x="111" y="181"/>
                  </a:cubicBezTo>
                  <a:cubicBezTo>
                    <a:pt x="108" y="181"/>
                    <a:pt x="107" y="177"/>
                    <a:pt x="105" y="177"/>
                  </a:cubicBezTo>
                  <a:cubicBezTo>
                    <a:pt x="103" y="177"/>
                    <a:pt x="103" y="179"/>
                    <a:pt x="101" y="180"/>
                  </a:cubicBezTo>
                  <a:cubicBezTo>
                    <a:pt x="100" y="181"/>
                    <a:pt x="97" y="180"/>
                    <a:pt x="97" y="182"/>
                  </a:cubicBezTo>
                  <a:cubicBezTo>
                    <a:pt x="96" y="184"/>
                    <a:pt x="100" y="186"/>
                    <a:pt x="99" y="189"/>
                  </a:cubicBezTo>
                  <a:cubicBezTo>
                    <a:pt x="99" y="190"/>
                    <a:pt x="97" y="188"/>
                    <a:pt x="96" y="189"/>
                  </a:cubicBezTo>
                  <a:cubicBezTo>
                    <a:pt x="96" y="190"/>
                    <a:pt x="99" y="191"/>
                    <a:pt x="98" y="193"/>
                  </a:cubicBezTo>
                  <a:cubicBezTo>
                    <a:pt x="97" y="195"/>
                    <a:pt x="95" y="197"/>
                    <a:pt x="93" y="199"/>
                  </a:cubicBezTo>
                  <a:cubicBezTo>
                    <a:pt x="91" y="200"/>
                    <a:pt x="87" y="197"/>
                    <a:pt x="86" y="199"/>
                  </a:cubicBezTo>
                  <a:cubicBezTo>
                    <a:pt x="85" y="201"/>
                    <a:pt x="89" y="202"/>
                    <a:pt x="89" y="205"/>
                  </a:cubicBezTo>
                  <a:cubicBezTo>
                    <a:pt x="89" y="207"/>
                    <a:pt x="87" y="210"/>
                    <a:pt x="87" y="212"/>
                  </a:cubicBezTo>
                  <a:cubicBezTo>
                    <a:pt x="87" y="215"/>
                    <a:pt x="88" y="218"/>
                    <a:pt x="88" y="22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" name="Freeform 57"/>
            <p:cNvSpPr>
              <a:spLocks noChangeAspect="1"/>
            </p:cNvSpPr>
            <p:nvPr/>
          </p:nvSpPr>
          <p:spPr bwMode="auto">
            <a:xfrm>
              <a:off x="4406900" y="3779838"/>
              <a:ext cx="188913" cy="153987"/>
            </a:xfrm>
            <a:custGeom>
              <a:avLst/>
              <a:gdLst>
                <a:gd name="T0" fmla="*/ 64879 w 99"/>
                <a:gd name="T1" fmla="*/ 153987 h 81"/>
                <a:gd name="T2" fmla="*/ 59155 w 99"/>
                <a:gd name="T3" fmla="*/ 148284 h 81"/>
                <a:gd name="T4" fmla="*/ 49614 w 99"/>
                <a:gd name="T5" fmla="*/ 146383 h 81"/>
                <a:gd name="T6" fmla="*/ 34348 w 99"/>
                <a:gd name="T7" fmla="*/ 148284 h 81"/>
                <a:gd name="T8" fmla="*/ 22899 w 99"/>
                <a:gd name="T9" fmla="*/ 152086 h 81"/>
                <a:gd name="T10" fmla="*/ 17174 w 99"/>
                <a:gd name="T11" fmla="*/ 150185 h 81"/>
                <a:gd name="T12" fmla="*/ 11449 w 99"/>
                <a:gd name="T13" fmla="*/ 148284 h 81"/>
                <a:gd name="T14" fmla="*/ 11449 w 99"/>
                <a:gd name="T15" fmla="*/ 140679 h 81"/>
                <a:gd name="T16" fmla="*/ 5725 w 99"/>
                <a:gd name="T17" fmla="*/ 138778 h 81"/>
                <a:gd name="T18" fmla="*/ 5725 w 99"/>
                <a:gd name="T19" fmla="*/ 131174 h 81"/>
                <a:gd name="T20" fmla="*/ 3816 w 99"/>
                <a:gd name="T21" fmla="*/ 114064 h 81"/>
                <a:gd name="T22" fmla="*/ 7633 w 99"/>
                <a:gd name="T23" fmla="*/ 100757 h 81"/>
                <a:gd name="T24" fmla="*/ 1908 w 99"/>
                <a:gd name="T25" fmla="*/ 89350 h 81"/>
                <a:gd name="T26" fmla="*/ 15266 w 99"/>
                <a:gd name="T27" fmla="*/ 89350 h 81"/>
                <a:gd name="T28" fmla="*/ 24807 w 99"/>
                <a:gd name="T29" fmla="*/ 77944 h 81"/>
                <a:gd name="T30" fmla="*/ 20990 w 99"/>
                <a:gd name="T31" fmla="*/ 70340 h 81"/>
                <a:gd name="T32" fmla="*/ 26715 w 99"/>
                <a:gd name="T33" fmla="*/ 70340 h 81"/>
                <a:gd name="T34" fmla="*/ 22899 w 99"/>
                <a:gd name="T35" fmla="*/ 57032 h 81"/>
                <a:gd name="T36" fmla="*/ 30531 w 99"/>
                <a:gd name="T37" fmla="*/ 53230 h 81"/>
                <a:gd name="T38" fmla="*/ 38164 w 99"/>
                <a:gd name="T39" fmla="*/ 47527 h 81"/>
                <a:gd name="T40" fmla="*/ 49614 w 99"/>
                <a:gd name="T41" fmla="*/ 55131 h 81"/>
                <a:gd name="T42" fmla="*/ 57246 w 99"/>
                <a:gd name="T43" fmla="*/ 51329 h 81"/>
                <a:gd name="T44" fmla="*/ 57246 w 99"/>
                <a:gd name="T45" fmla="*/ 41824 h 81"/>
                <a:gd name="T46" fmla="*/ 66787 w 99"/>
                <a:gd name="T47" fmla="*/ 43725 h 81"/>
                <a:gd name="T48" fmla="*/ 66787 w 99"/>
                <a:gd name="T49" fmla="*/ 34219 h 81"/>
                <a:gd name="T50" fmla="*/ 78237 w 99"/>
                <a:gd name="T51" fmla="*/ 26615 h 81"/>
                <a:gd name="T52" fmla="*/ 83961 w 99"/>
                <a:gd name="T53" fmla="*/ 28516 h 81"/>
                <a:gd name="T54" fmla="*/ 87778 w 99"/>
                <a:gd name="T55" fmla="*/ 19011 h 81"/>
                <a:gd name="T56" fmla="*/ 118309 w 99"/>
                <a:gd name="T57" fmla="*/ 1901 h 81"/>
                <a:gd name="T58" fmla="*/ 135483 w 99"/>
                <a:gd name="T59" fmla="*/ 5703 h 81"/>
                <a:gd name="T60" fmla="*/ 133575 w 99"/>
                <a:gd name="T61" fmla="*/ 22813 h 81"/>
                <a:gd name="T62" fmla="*/ 137391 w 99"/>
                <a:gd name="T63" fmla="*/ 36120 h 81"/>
                <a:gd name="T64" fmla="*/ 148841 w 99"/>
                <a:gd name="T65" fmla="*/ 45626 h 81"/>
                <a:gd name="T66" fmla="*/ 154565 w 99"/>
                <a:gd name="T67" fmla="*/ 47527 h 81"/>
                <a:gd name="T68" fmla="*/ 148841 w 99"/>
                <a:gd name="T69" fmla="*/ 60834 h 81"/>
                <a:gd name="T70" fmla="*/ 171739 w 99"/>
                <a:gd name="T71" fmla="*/ 70340 h 81"/>
                <a:gd name="T72" fmla="*/ 179372 w 99"/>
                <a:gd name="T73" fmla="*/ 68439 h 81"/>
                <a:gd name="T74" fmla="*/ 187005 w 99"/>
                <a:gd name="T75" fmla="*/ 74142 h 81"/>
                <a:gd name="T76" fmla="*/ 183188 w 99"/>
                <a:gd name="T77" fmla="*/ 79845 h 81"/>
                <a:gd name="T78" fmla="*/ 185097 w 99"/>
                <a:gd name="T79" fmla="*/ 91252 h 81"/>
                <a:gd name="T80" fmla="*/ 188913 w 99"/>
                <a:gd name="T81" fmla="*/ 93153 h 81"/>
                <a:gd name="T82" fmla="*/ 187005 w 99"/>
                <a:gd name="T83" fmla="*/ 100757 h 81"/>
                <a:gd name="T84" fmla="*/ 177464 w 99"/>
                <a:gd name="T85" fmla="*/ 104559 h 81"/>
                <a:gd name="T86" fmla="*/ 166014 w 99"/>
                <a:gd name="T87" fmla="*/ 104559 h 81"/>
                <a:gd name="T88" fmla="*/ 158382 w 99"/>
                <a:gd name="T89" fmla="*/ 106460 h 81"/>
                <a:gd name="T90" fmla="*/ 158382 w 99"/>
                <a:gd name="T91" fmla="*/ 115966 h 81"/>
                <a:gd name="T92" fmla="*/ 152657 w 99"/>
                <a:gd name="T93" fmla="*/ 114064 h 81"/>
                <a:gd name="T94" fmla="*/ 150749 w 99"/>
                <a:gd name="T95" fmla="*/ 121669 h 81"/>
                <a:gd name="T96" fmla="*/ 141208 w 99"/>
                <a:gd name="T97" fmla="*/ 119768 h 81"/>
                <a:gd name="T98" fmla="*/ 131667 w 99"/>
                <a:gd name="T99" fmla="*/ 115966 h 81"/>
                <a:gd name="T100" fmla="*/ 124034 w 99"/>
                <a:gd name="T101" fmla="*/ 112163 h 81"/>
                <a:gd name="T102" fmla="*/ 116401 w 99"/>
                <a:gd name="T103" fmla="*/ 115966 h 81"/>
                <a:gd name="T104" fmla="*/ 83961 w 99"/>
                <a:gd name="T105" fmla="*/ 115966 h 81"/>
                <a:gd name="T106" fmla="*/ 64879 w 99"/>
                <a:gd name="T107" fmla="*/ 115966 h 81"/>
                <a:gd name="T108" fmla="*/ 61063 w 99"/>
                <a:gd name="T109" fmla="*/ 123570 h 81"/>
                <a:gd name="T110" fmla="*/ 64879 w 99"/>
                <a:gd name="T111" fmla="*/ 129273 h 81"/>
                <a:gd name="T112" fmla="*/ 62971 w 99"/>
                <a:gd name="T113" fmla="*/ 133075 h 81"/>
                <a:gd name="T114" fmla="*/ 66787 w 99"/>
                <a:gd name="T115" fmla="*/ 136877 h 81"/>
                <a:gd name="T116" fmla="*/ 62971 w 99"/>
                <a:gd name="T117" fmla="*/ 138778 h 81"/>
                <a:gd name="T118" fmla="*/ 64879 w 99"/>
                <a:gd name="T119" fmla="*/ 153987 h 8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9"/>
                <a:gd name="T181" fmla="*/ 0 h 81"/>
                <a:gd name="T182" fmla="*/ 99 w 99"/>
                <a:gd name="T183" fmla="*/ 81 h 8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9" h="81">
                  <a:moveTo>
                    <a:pt x="34" y="81"/>
                  </a:moveTo>
                  <a:cubicBezTo>
                    <a:pt x="33" y="80"/>
                    <a:pt x="32" y="79"/>
                    <a:pt x="31" y="78"/>
                  </a:cubicBezTo>
                  <a:cubicBezTo>
                    <a:pt x="30" y="77"/>
                    <a:pt x="28" y="77"/>
                    <a:pt x="26" y="77"/>
                  </a:cubicBezTo>
                  <a:cubicBezTo>
                    <a:pt x="23" y="77"/>
                    <a:pt x="20" y="77"/>
                    <a:pt x="18" y="78"/>
                  </a:cubicBezTo>
                  <a:cubicBezTo>
                    <a:pt x="16" y="78"/>
                    <a:pt x="14" y="80"/>
                    <a:pt x="12" y="80"/>
                  </a:cubicBezTo>
                  <a:cubicBezTo>
                    <a:pt x="11" y="81"/>
                    <a:pt x="10" y="79"/>
                    <a:pt x="9" y="79"/>
                  </a:cubicBezTo>
                  <a:cubicBezTo>
                    <a:pt x="8" y="78"/>
                    <a:pt x="6" y="79"/>
                    <a:pt x="6" y="78"/>
                  </a:cubicBezTo>
                  <a:cubicBezTo>
                    <a:pt x="5" y="77"/>
                    <a:pt x="6" y="75"/>
                    <a:pt x="6" y="74"/>
                  </a:cubicBezTo>
                  <a:cubicBezTo>
                    <a:pt x="5" y="73"/>
                    <a:pt x="3" y="74"/>
                    <a:pt x="3" y="73"/>
                  </a:cubicBezTo>
                  <a:cubicBezTo>
                    <a:pt x="2" y="72"/>
                    <a:pt x="3" y="70"/>
                    <a:pt x="3" y="69"/>
                  </a:cubicBezTo>
                  <a:cubicBezTo>
                    <a:pt x="3" y="66"/>
                    <a:pt x="2" y="63"/>
                    <a:pt x="2" y="60"/>
                  </a:cubicBezTo>
                  <a:cubicBezTo>
                    <a:pt x="2" y="58"/>
                    <a:pt x="4" y="55"/>
                    <a:pt x="4" y="53"/>
                  </a:cubicBezTo>
                  <a:cubicBezTo>
                    <a:pt x="4" y="50"/>
                    <a:pt x="0" y="49"/>
                    <a:pt x="1" y="47"/>
                  </a:cubicBezTo>
                  <a:cubicBezTo>
                    <a:pt x="2" y="45"/>
                    <a:pt x="6" y="48"/>
                    <a:pt x="8" y="47"/>
                  </a:cubicBezTo>
                  <a:cubicBezTo>
                    <a:pt x="10" y="45"/>
                    <a:pt x="12" y="43"/>
                    <a:pt x="13" y="41"/>
                  </a:cubicBezTo>
                  <a:cubicBezTo>
                    <a:pt x="14" y="39"/>
                    <a:pt x="11" y="38"/>
                    <a:pt x="11" y="37"/>
                  </a:cubicBezTo>
                  <a:cubicBezTo>
                    <a:pt x="12" y="36"/>
                    <a:pt x="14" y="38"/>
                    <a:pt x="14" y="37"/>
                  </a:cubicBezTo>
                  <a:cubicBezTo>
                    <a:pt x="15" y="34"/>
                    <a:pt x="11" y="32"/>
                    <a:pt x="12" y="30"/>
                  </a:cubicBezTo>
                  <a:cubicBezTo>
                    <a:pt x="12" y="28"/>
                    <a:pt x="15" y="29"/>
                    <a:pt x="16" y="28"/>
                  </a:cubicBezTo>
                  <a:cubicBezTo>
                    <a:pt x="18" y="27"/>
                    <a:pt x="18" y="25"/>
                    <a:pt x="20" y="25"/>
                  </a:cubicBezTo>
                  <a:cubicBezTo>
                    <a:pt x="22" y="25"/>
                    <a:pt x="23" y="29"/>
                    <a:pt x="26" y="29"/>
                  </a:cubicBezTo>
                  <a:cubicBezTo>
                    <a:pt x="27" y="29"/>
                    <a:pt x="29" y="28"/>
                    <a:pt x="30" y="27"/>
                  </a:cubicBezTo>
                  <a:cubicBezTo>
                    <a:pt x="31" y="25"/>
                    <a:pt x="29" y="23"/>
                    <a:pt x="30" y="22"/>
                  </a:cubicBezTo>
                  <a:cubicBezTo>
                    <a:pt x="32" y="21"/>
                    <a:pt x="34" y="24"/>
                    <a:pt x="35" y="23"/>
                  </a:cubicBezTo>
                  <a:cubicBezTo>
                    <a:pt x="37" y="22"/>
                    <a:pt x="34" y="19"/>
                    <a:pt x="35" y="18"/>
                  </a:cubicBezTo>
                  <a:cubicBezTo>
                    <a:pt x="36" y="16"/>
                    <a:pt x="39" y="14"/>
                    <a:pt x="41" y="14"/>
                  </a:cubicBezTo>
                  <a:cubicBezTo>
                    <a:pt x="42" y="13"/>
                    <a:pt x="43" y="16"/>
                    <a:pt x="44" y="15"/>
                  </a:cubicBezTo>
                  <a:cubicBezTo>
                    <a:pt x="46" y="14"/>
                    <a:pt x="45" y="11"/>
                    <a:pt x="46" y="10"/>
                  </a:cubicBezTo>
                  <a:cubicBezTo>
                    <a:pt x="51" y="7"/>
                    <a:pt x="56" y="3"/>
                    <a:pt x="62" y="1"/>
                  </a:cubicBezTo>
                  <a:cubicBezTo>
                    <a:pt x="65" y="0"/>
                    <a:pt x="68" y="3"/>
                    <a:pt x="71" y="3"/>
                  </a:cubicBezTo>
                  <a:cubicBezTo>
                    <a:pt x="70" y="6"/>
                    <a:pt x="70" y="9"/>
                    <a:pt x="70" y="12"/>
                  </a:cubicBezTo>
                  <a:cubicBezTo>
                    <a:pt x="70" y="15"/>
                    <a:pt x="71" y="17"/>
                    <a:pt x="72" y="19"/>
                  </a:cubicBezTo>
                  <a:cubicBezTo>
                    <a:pt x="74" y="21"/>
                    <a:pt x="76" y="22"/>
                    <a:pt x="78" y="24"/>
                  </a:cubicBezTo>
                  <a:cubicBezTo>
                    <a:pt x="79" y="25"/>
                    <a:pt x="81" y="24"/>
                    <a:pt x="81" y="25"/>
                  </a:cubicBezTo>
                  <a:cubicBezTo>
                    <a:pt x="82" y="28"/>
                    <a:pt x="77" y="30"/>
                    <a:pt x="78" y="32"/>
                  </a:cubicBezTo>
                  <a:cubicBezTo>
                    <a:pt x="81" y="36"/>
                    <a:pt x="86" y="36"/>
                    <a:pt x="90" y="37"/>
                  </a:cubicBezTo>
                  <a:cubicBezTo>
                    <a:pt x="91" y="38"/>
                    <a:pt x="93" y="35"/>
                    <a:pt x="94" y="36"/>
                  </a:cubicBezTo>
                  <a:cubicBezTo>
                    <a:pt x="96" y="36"/>
                    <a:pt x="97" y="38"/>
                    <a:pt x="98" y="39"/>
                  </a:cubicBezTo>
                  <a:cubicBezTo>
                    <a:pt x="98" y="40"/>
                    <a:pt x="96" y="41"/>
                    <a:pt x="96" y="42"/>
                  </a:cubicBezTo>
                  <a:cubicBezTo>
                    <a:pt x="96" y="44"/>
                    <a:pt x="96" y="46"/>
                    <a:pt x="97" y="48"/>
                  </a:cubicBezTo>
                  <a:cubicBezTo>
                    <a:pt x="97" y="49"/>
                    <a:pt x="98" y="48"/>
                    <a:pt x="99" y="49"/>
                  </a:cubicBezTo>
                  <a:cubicBezTo>
                    <a:pt x="99" y="50"/>
                    <a:pt x="99" y="52"/>
                    <a:pt x="98" y="53"/>
                  </a:cubicBezTo>
                  <a:cubicBezTo>
                    <a:pt x="97" y="55"/>
                    <a:pt x="95" y="55"/>
                    <a:pt x="93" y="55"/>
                  </a:cubicBezTo>
                  <a:cubicBezTo>
                    <a:pt x="91" y="55"/>
                    <a:pt x="89" y="54"/>
                    <a:pt x="87" y="55"/>
                  </a:cubicBezTo>
                  <a:cubicBezTo>
                    <a:pt x="85" y="55"/>
                    <a:pt x="84" y="55"/>
                    <a:pt x="83" y="56"/>
                  </a:cubicBezTo>
                  <a:cubicBezTo>
                    <a:pt x="82" y="58"/>
                    <a:pt x="84" y="60"/>
                    <a:pt x="83" y="61"/>
                  </a:cubicBezTo>
                  <a:cubicBezTo>
                    <a:pt x="82" y="62"/>
                    <a:pt x="81" y="60"/>
                    <a:pt x="80" y="60"/>
                  </a:cubicBezTo>
                  <a:cubicBezTo>
                    <a:pt x="79" y="61"/>
                    <a:pt x="79" y="62"/>
                    <a:pt x="79" y="64"/>
                  </a:cubicBezTo>
                  <a:cubicBezTo>
                    <a:pt x="77" y="63"/>
                    <a:pt x="76" y="63"/>
                    <a:pt x="74" y="63"/>
                  </a:cubicBezTo>
                  <a:cubicBezTo>
                    <a:pt x="72" y="62"/>
                    <a:pt x="71" y="62"/>
                    <a:pt x="69" y="61"/>
                  </a:cubicBezTo>
                  <a:cubicBezTo>
                    <a:pt x="68" y="60"/>
                    <a:pt x="67" y="59"/>
                    <a:pt x="65" y="59"/>
                  </a:cubicBezTo>
                  <a:cubicBezTo>
                    <a:pt x="63" y="59"/>
                    <a:pt x="62" y="61"/>
                    <a:pt x="61" y="61"/>
                  </a:cubicBezTo>
                  <a:cubicBezTo>
                    <a:pt x="55" y="62"/>
                    <a:pt x="49" y="61"/>
                    <a:pt x="44" y="61"/>
                  </a:cubicBezTo>
                  <a:cubicBezTo>
                    <a:pt x="41" y="61"/>
                    <a:pt x="37" y="60"/>
                    <a:pt x="34" y="61"/>
                  </a:cubicBezTo>
                  <a:cubicBezTo>
                    <a:pt x="33" y="61"/>
                    <a:pt x="32" y="63"/>
                    <a:pt x="32" y="65"/>
                  </a:cubicBezTo>
                  <a:cubicBezTo>
                    <a:pt x="32" y="66"/>
                    <a:pt x="34" y="67"/>
                    <a:pt x="34" y="68"/>
                  </a:cubicBezTo>
                  <a:cubicBezTo>
                    <a:pt x="34" y="69"/>
                    <a:pt x="33" y="70"/>
                    <a:pt x="33" y="70"/>
                  </a:cubicBezTo>
                  <a:cubicBezTo>
                    <a:pt x="33" y="71"/>
                    <a:pt x="35" y="71"/>
                    <a:pt x="35" y="72"/>
                  </a:cubicBezTo>
                  <a:cubicBezTo>
                    <a:pt x="35" y="73"/>
                    <a:pt x="33" y="73"/>
                    <a:pt x="33" y="73"/>
                  </a:cubicBezTo>
                  <a:cubicBezTo>
                    <a:pt x="33" y="76"/>
                    <a:pt x="34" y="78"/>
                    <a:pt x="34" y="8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" name="Freeform 58"/>
            <p:cNvSpPr>
              <a:spLocks noChangeAspect="1"/>
            </p:cNvSpPr>
            <p:nvPr/>
          </p:nvSpPr>
          <p:spPr bwMode="auto">
            <a:xfrm>
              <a:off x="4462463" y="3890963"/>
              <a:ext cx="111125" cy="176212"/>
            </a:xfrm>
            <a:custGeom>
              <a:avLst/>
              <a:gdLst>
                <a:gd name="T0" fmla="*/ 9580 w 58"/>
                <a:gd name="T1" fmla="*/ 168551 h 92"/>
                <a:gd name="T2" fmla="*/ 32571 w 58"/>
                <a:gd name="T3" fmla="*/ 176212 h 92"/>
                <a:gd name="T4" fmla="*/ 40235 w 58"/>
                <a:gd name="T5" fmla="*/ 168551 h 92"/>
                <a:gd name="T6" fmla="*/ 55563 w 58"/>
                <a:gd name="T7" fmla="*/ 168551 h 92"/>
                <a:gd name="T8" fmla="*/ 65142 w 58"/>
                <a:gd name="T9" fmla="*/ 162805 h 92"/>
                <a:gd name="T10" fmla="*/ 72806 w 58"/>
                <a:gd name="T11" fmla="*/ 155143 h 92"/>
                <a:gd name="T12" fmla="*/ 90050 w 58"/>
                <a:gd name="T13" fmla="*/ 151312 h 92"/>
                <a:gd name="T14" fmla="*/ 99629 w 58"/>
                <a:gd name="T15" fmla="*/ 145566 h 92"/>
                <a:gd name="T16" fmla="*/ 111125 w 58"/>
                <a:gd name="T17" fmla="*/ 141736 h 92"/>
                <a:gd name="T18" fmla="*/ 93881 w 58"/>
                <a:gd name="T19" fmla="*/ 132159 h 92"/>
                <a:gd name="T20" fmla="*/ 88134 w 58"/>
                <a:gd name="T21" fmla="*/ 124498 h 92"/>
                <a:gd name="T22" fmla="*/ 91966 w 58"/>
                <a:gd name="T23" fmla="*/ 111090 h 92"/>
                <a:gd name="T24" fmla="*/ 90050 w 58"/>
                <a:gd name="T25" fmla="*/ 103429 h 92"/>
                <a:gd name="T26" fmla="*/ 91966 w 58"/>
                <a:gd name="T27" fmla="*/ 88106 h 92"/>
                <a:gd name="T28" fmla="*/ 93881 w 58"/>
                <a:gd name="T29" fmla="*/ 80445 h 92"/>
                <a:gd name="T30" fmla="*/ 90050 w 58"/>
                <a:gd name="T31" fmla="*/ 70868 h 92"/>
                <a:gd name="T32" fmla="*/ 90050 w 58"/>
                <a:gd name="T33" fmla="*/ 49799 h 92"/>
                <a:gd name="T34" fmla="*/ 84302 w 58"/>
                <a:gd name="T35" fmla="*/ 44053 h 92"/>
                <a:gd name="T36" fmla="*/ 86218 w 58"/>
                <a:gd name="T37" fmla="*/ 26815 h 92"/>
                <a:gd name="T38" fmla="*/ 80470 w 58"/>
                <a:gd name="T39" fmla="*/ 22984 h 92"/>
                <a:gd name="T40" fmla="*/ 80470 w 58"/>
                <a:gd name="T41" fmla="*/ 17238 h 92"/>
                <a:gd name="T42" fmla="*/ 74722 w 58"/>
                <a:gd name="T43" fmla="*/ 11492 h 92"/>
                <a:gd name="T44" fmla="*/ 76638 w 58"/>
                <a:gd name="T45" fmla="*/ 3831 h 92"/>
                <a:gd name="T46" fmla="*/ 68974 w 58"/>
                <a:gd name="T47" fmla="*/ 0 h 92"/>
                <a:gd name="T48" fmla="*/ 61310 w 58"/>
                <a:gd name="T49" fmla="*/ 3831 h 92"/>
                <a:gd name="T50" fmla="*/ 28739 w 58"/>
                <a:gd name="T51" fmla="*/ 3831 h 92"/>
                <a:gd name="T52" fmla="*/ 9580 w 58"/>
                <a:gd name="T53" fmla="*/ 3831 h 92"/>
                <a:gd name="T54" fmla="*/ 5748 w 58"/>
                <a:gd name="T55" fmla="*/ 11492 h 92"/>
                <a:gd name="T56" fmla="*/ 9580 w 58"/>
                <a:gd name="T57" fmla="*/ 17238 h 92"/>
                <a:gd name="T58" fmla="*/ 7664 w 58"/>
                <a:gd name="T59" fmla="*/ 21069 h 92"/>
                <a:gd name="T60" fmla="*/ 11496 w 58"/>
                <a:gd name="T61" fmla="*/ 24900 h 92"/>
                <a:gd name="T62" fmla="*/ 7664 w 58"/>
                <a:gd name="T63" fmla="*/ 26815 h 92"/>
                <a:gd name="T64" fmla="*/ 9580 w 58"/>
                <a:gd name="T65" fmla="*/ 42138 h 92"/>
                <a:gd name="T66" fmla="*/ 11496 w 58"/>
                <a:gd name="T67" fmla="*/ 53630 h 92"/>
                <a:gd name="T68" fmla="*/ 13412 w 58"/>
                <a:gd name="T69" fmla="*/ 61291 h 92"/>
                <a:gd name="T70" fmla="*/ 15328 w 58"/>
                <a:gd name="T71" fmla="*/ 70868 h 92"/>
                <a:gd name="T72" fmla="*/ 15328 w 58"/>
                <a:gd name="T73" fmla="*/ 80445 h 92"/>
                <a:gd name="T74" fmla="*/ 11496 w 58"/>
                <a:gd name="T75" fmla="*/ 90021 h 92"/>
                <a:gd name="T76" fmla="*/ 9580 w 58"/>
                <a:gd name="T77" fmla="*/ 107259 h 92"/>
                <a:gd name="T78" fmla="*/ 1916 w 58"/>
                <a:gd name="T79" fmla="*/ 118752 h 92"/>
                <a:gd name="T80" fmla="*/ 5748 w 58"/>
                <a:gd name="T81" fmla="*/ 134074 h 92"/>
                <a:gd name="T82" fmla="*/ 3832 w 58"/>
                <a:gd name="T83" fmla="*/ 147482 h 92"/>
                <a:gd name="T84" fmla="*/ 11496 w 58"/>
                <a:gd name="T85" fmla="*/ 153228 h 92"/>
                <a:gd name="T86" fmla="*/ 11496 w 58"/>
                <a:gd name="T87" fmla="*/ 164720 h 92"/>
                <a:gd name="T88" fmla="*/ 9580 w 58"/>
                <a:gd name="T89" fmla="*/ 168551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8"/>
                <a:gd name="T136" fmla="*/ 0 h 92"/>
                <a:gd name="T137" fmla="*/ 58 w 58"/>
                <a:gd name="T138" fmla="*/ 92 h 9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8" h="92">
                  <a:moveTo>
                    <a:pt x="5" y="88"/>
                  </a:moveTo>
                  <a:cubicBezTo>
                    <a:pt x="9" y="89"/>
                    <a:pt x="13" y="92"/>
                    <a:pt x="17" y="92"/>
                  </a:cubicBezTo>
                  <a:cubicBezTo>
                    <a:pt x="19" y="92"/>
                    <a:pt x="19" y="88"/>
                    <a:pt x="21" y="88"/>
                  </a:cubicBezTo>
                  <a:cubicBezTo>
                    <a:pt x="24" y="87"/>
                    <a:pt x="27" y="88"/>
                    <a:pt x="29" y="88"/>
                  </a:cubicBezTo>
                  <a:cubicBezTo>
                    <a:pt x="31" y="87"/>
                    <a:pt x="32" y="86"/>
                    <a:pt x="34" y="85"/>
                  </a:cubicBezTo>
                  <a:cubicBezTo>
                    <a:pt x="35" y="84"/>
                    <a:pt x="36" y="82"/>
                    <a:pt x="38" y="81"/>
                  </a:cubicBezTo>
                  <a:cubicBezTo>
                    <a:pt x="41" y="80"/>
                    <a:pt x="44" y="80"/>
                    <a:pt x="47" y="79"/>
                  </a:cubicBezTo>
                  <a:cubicBezTo>
                    <a:pt x="49" y="79"/>
                    <a:pt x="51" y="77"/>
                    <a:pt x="52" y="76"/>
                  </a:cubicBezTo>
                  <a:cubicBezTo>
                    <a:pt x="54" y="75"/>
                    <a:pt x="56" y="75"/>
                    <a:pt x="58" y="74"/>
                  </a:cubicBezTo>
                  <a:cubicBezTo>
                    <a:pt x="55" y="73"/>
                    <a:pt x="51" y="71"/>
                    <a:pt x="49" y="69"/>
                  </a:cubicBezTo>
                  <a:cubicBezTo>
                    <a:pt x="47" y="68"/>
                    <a:pt x="46" y="66"/>
                    <a:pt x="46" y="65"/>
                  </a:cubicBezTo>
                  <a:cubicBezTo>
                    <a:pt x="46" y="62"/>
                    <a:pt x="48" y="60"/>
                    <a:pt x="48" y="58"/>
                  </a:cubicBezTo>
                  <a:cubicBezTo>
                    <a:pt x="48" y="57"/>
                    <a:pt x="47" y="55"/>
                    <a:pt x="47" y="54"/>
                  </a:cubicBezTo>
                  <a:cubicBezTo>
                    <a:pt x="47" y="51"/>
                    <a:pt x="47" y="48"/>
                    <a:pt x="48" y="46"/>
                  </a:cubicBezTo>
                  <a:cubicBezTo>
                    <a:pt x="48" y="45"/>
                    <a:pt x="49" y="44"/>
                    <a:pt x="49" y="42"/>
                  </a:cubicBezTo>
                  <a:cubicBezTo>
                    <a:pt x="49" y="40"/>
                    <a:pt x="47" y="39"/>
                    <a:pt x="47" y="37"/>
                  </a:cubicBezTo>
                  <a:cubicBezTo>
                    <a:pt x="46" y="33"/>
                    <a:pt x="48" y="30"/>
                    <a:pt x="47" y="26"/>
                  </a:cubicBezTo>
                  <a:cubicBezTo>
                    <a:pt x="47" y="25"/>
                    <a:pt x="45" y="25"/>
                    <a:pt x="44" y="23"/>
                  </a:cubicBezTo>
                  <a:cubicBezTo>
                    <a:pt x="44" y="20"/>
                    <a:pt x="45" y="17"/>
                    <a:pt x="45" y="14"/>
                  </a:cubicBezTo>
                  <a:cubicBezTo>
                    <a:pt x="44" y="13"/>
                    <a:pt x="42" y="13"/>
                    <a:pt x="42" y="12"/>
                  </a:cubicBezTo>
                  <a:cubicBezTo>
                    <a:pt x="41" y="11"/>
                    <a:pt x="42" y="10"/>
                    <a:pt x="42" y="9"/>
                  </a:cubicBezTo>
                  <a:cubicBezTo>
                    <a:pt x="41" y="8"/>
                    <a:pt x="40" y="7"/>
                    <a:pt x="39" y="6"/>
                  </a:cubicBezTo>
                  <a:cubicBezTo>
                    <a:pt x="39" y="5"/>
                    <a:pt x="40" y="3"/>
                    <a:pt x="40" y="2"/>
                  </a:cubicBezTo>
                  <a:cubicBezTo>
                    <a:pt x="39" y="1"/>
                    <a:pt x="38" y="0"/>
                    <a:pt x="36" y="0"/>
                  </a:cubicBezTo>
                  <a:cubicBezTo>
                    <a:pt x="34" y="0"/>
                    <a:pt x="33" y="2"/>
                    <a:pt x="32" y="2"/>
                  </a:cubicBezTo>
                  <a:cubicBezTo>
                    <a:pt x="26" y="3"/>
                    <a:pt x="20" y="2"/>
                    <a:pt x="15" y="2"/>
                  </a:cubicBezTo>
                  <a:cubicBezTo>
                    <a:pt x="12" y="2"/>
                    <a:pt x="8" y="1"/>
                    <a:pt x="5" y="2"/>
                  </a:cubicBezTo>
                  <a:cubicBezTo>
                    <a:pt x="4" y="2"/>
                    <a:pt x="3" y="4"/>
                    <a:pt x="3" y="6"/>
                  </a:cubicBezTo>
                  <a:cubicBezTo>
                    <a:pt x="3" y="7"/>
                    <a:pt x="5" y="8"/>
                    <a:pt x="5" y="9"/>
                  </a:cubicBezTo>
                  <a:cubicBezTo>
                    <a:pt x="5" y="10"/>
                    <a:pt x="4" y="11"/>
                    <a:pt x="4" y="11"/>
                  </a:cubicBezTo>
                  <a:cubicBezTo>
                    <a:pt x="4" y="12"/>
                    <a:pt x="6" y="12"/>
                    <a:pt x="6" y="13"/>
                  </a:cubicBezTo>
                  <a:cubicBezTo>
                    <a:pt x="6" y="14"/>
                    <a:pt x="4" y="14"/>
                    <a:pt x="4" y="14"/>
                  </a:cubicBezTo>
                  <a:cubicBezTo>
                    <a:pt x="4" y="17"/>
                    <a:pt x="5" y="19"/>
                    <a:pt x="5" y="22"/>
                  </a:cubicBezTo>
                  <a:cubicBezTo>
                    <a:pt x="5" y="24"/>
                    <a:pt x="5" y="26"/>
                    <a:pt x="6" y="28"/>
                  </a:cubicBezTo>
                  <a:cubicBezTo>
                    <a:pt x="6" y="29"/>
                    <a:pt x="6" y="30"/>
                    <a:pt x="7" y="32"/>
                  </a:cubicBezTo>
                  <a:cubicBezTo>
                    <a:pt x="7" y="34"/>
                    <a:pt x="8" y="35"/>
                    <a:pt x="8" y="37"/>
                  </a:cubicBezTo>
                  <a:cubicBezTo>
                    <a:pt x="9" y="39"/>
                    <a:pt x="9" y="41"/>
                    <a:pt x="8" y="42"/>
                  </a:cubicBezTo>
                  <a:cubicBezTo>
                    <a:pt x="8" y="44"/>
                    <a:pt x="6" y="45"/>
                    <a:pt x="6" y="47"/>
                  </a:cubicBezTo>
                  <a:cubicBezTo>
                    <a:pt x="5" y="50"/>
                    <a:pt x="6" y="53"/>
                    <a:pt x="5" y="56"/>
                  </a:cubicBezTo>
                  <a:cubicBezTo>
                    <a:pt x="4" y="58"/>
                    <a:pt x="1" y="60"/>
                    <a:pt x="1" y="62"/>
                  </a:cubicBezTo>
                  <a:cubicBezTo>
                    <a:pt x="0" y="65"/>
                    <a:pt x="3" y="67"/>
                    <a:pt x="3" y="70"/>
                  </a:cubicBezTo>
                  <a:cubicBezTo>
                    <a:pt x="3" y="72"/>
                    <a:pt x="2" y="75"/>
                    <a:pt x="2" y="77"/>
                  </a:cubicBezTo>
                  <a:cubicBezTo>
                    <a:pt x="3" y="78"/>
                    <a:pt x="5" y="78"/>
                    <a:pt x="6" y="80"/>
                  </a:cubicBezTo>
                  <a:cubicBezTo>
                    <a:pt x="7" y="82"/>
                    <a:pt x="6" y="84"/>
                    <a:pt x="6" y="86"/>
                  </a:cubicBezTo>
                  <a:cubicBezTo>
                    <a:pt x="6" y="86"/>
                    <a:pt x="5" y="87"/>
                    <a:pt x="5" y="8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" name="Freeform 59"/>
            <p:cNvSpPr>
              <a:spLocks noChangeAspect="1"/>
            </p:cNvSpPr>
            <p:nvPr/>
          </p:nvSpPr>
          <p:spPr bwMode="auto">
            <a:xfrm>
              <a:off x="4537075" y="3895725"/>
              <a:ext cx="46038" cy="136525"/>
            </a:xfrm>
            <a:custGeom>
              <a:avLst/>
              <a:gdLst>
                <a:gd name="T0" fmla="*/ 36447 w 24"/>
                <a:gd name="T1" fmla="*/ 136525 h 72"/>
                <a:gd name="T2" fmla="*/ 19183 w 24"/>
                <a:gd name="T3" fmla="*/ 127044 h 72"/>
                <a:gd name="T4" fmla="*/ 13428 w 24"/>
                <a:gd name="T5" fmla="*/ 119459 h 72"/>
                <a:gd name="T6" fmla="*/ 17264 w 24"/>
                <a:gd name="T7" fmla="*/ 106186 h 72"/>
                <a:gd name="T8" fmla="*/ 15346 w 24"/>
                <a:gd name="T9" fmla="*/ 98601 h 72"/>
                <a:gd name="T10" fmla="*/ 17264 w 24"/>
                <a:gd name="T11" fmla="*/ 83432 h 72"/>
                <a:gd name="T12" fmla="*/ 19183 w 24"/>
                <a:gd name="T13" fmla="*/ 75847 h 72"/>
                <a:gd name="T14" fmla="*/ 15346 w 24"/>
                <a:gd name="T15" fmla="*/ 66366 h 72"/>
                <a:gd name="T16" fmla="*/ 15346 w 24"/>
                <a:gd name="T17" fmla="*/ 45508 h 72"/>
                <a:gd name="T18" fmla="*/ 9591 w 24"/>
                <a:gd name="T19" fmla="*/ 39820 h 72"/>
                <a:gd name="T20" fmla="*/ 11510 w 24"/>
                <a:gd name="T21" fmla="*/ 22754 h 72"/>
                <a:gd name="T22" fmla="*/ 5755 w 24"/>
                <a:gd name="T23" fmla="*/ 18962 h 72"/>
                <a:gd name="T24" fmla="*/ 5755 w 24"/>
                <a:gd name="T25" fmla="*/ 13273 h 72"/>
                <a:gd name="T26" fmla="*/ 0 w 24"/>
                <a:gd name="T27" fmla="*/ 7585 h 72"/>
                <a:gd name="T28" fmla="*/ 1918 w 24"/>
                <a:gd name="T29" fmla="*/ 0 h 72"/>
                <a:gd name="T30" fmla="*/ 11510 w 24"/>
                <a:gd name="T31" fmla="*/ 3792 h 72"/>
                <a:gd name="T32" fmla="*/ 21101 w 24"/>
                <a:gd name="T33" fmla="*/ 5689 h 72"/>
                <a:gd name="T34" fmla="*/ 23019 w 24"/>
                <a:gd name="T35" fmla="*/ 17066 h 72"/>
                <a:gd name="T36" fmla="*/ 32610 w 24"/>
                <a:gd name="T37" fmla="*/ 28443 h 72"/>
                <a:gd name="T38" fmla="*/ 34529 w 24"/>
                <a:gd name="T39" fmla="*/ 45508 h 72"/>
                <a:gd name="T40" fmla="*/ 40283 w 24"/>
                <a:gd name="T41" fmla="*/ 53093 h 72"/>
                <a:gd name="T42" fmla="*/ 40283 w 24"/>
                <a:gd name="T43" fmla="*/ 117563 h 72"/>
                <a:gd name="T44" fmla="*/ 46038 w 24"/>
                <a:gd name="T45" fmla="*/ 130836 h 72"/>
                <a:gd name="T46" fmla="*/ 36447 w 24"/>
                <a:gd name="T47" fmla="*/ 136525 h 7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4"/>
                <a:gd name="T73" fmla="*/ 0 h 72"/>
                <a:gd name="T74" fmla="*/ 24 w 24"/>
                <a:gd name="T75" fmla="*/ 72 h 7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4" h="72">
                  <a:moveTo>
                    <a:pt x="19" y="72"/>
                  </a:moveTo>
                  <a:cubicBezTo>
                    <a:pt x="16" y="71"/>
                    <a:pt x="12" y="69"/>
                    <a:pt x="10" y="67"/>
                  </a:cubicBezTo>
                  <a:cubicBezTo>
                    <a:pt x="8" y="66"/>
                    <a:pt x="7" y="64"/>
                    <a:pt x="7" y="63"/>
                  </a:cubicBezTo>
                  <a:cubicBezTo>
                    <a:pt x="7" y="60"/>
                    <a:pt x="9" y="58"/>
                    <a:pt x="9" y="56"/>
                  </a:cubicBezTo>
                  <a:cubicBezTo>
                    <a:pt x="9" y="55"/>
                    <a:pt x="8" y="53"/>
                    <a:pt x="8" y="52"/>
                  </a:cubicBezTo>
                  <a:cubicBezTo>
                    <a:pt x="8" y="49"/>
                    <a:pt x="8" y="46"/>
                    <a:pt x="9" y="44"/>
                  </a:cubicBezTo>
                  <a:cubicBezTo>
                    <a:pt x="9" y="43"/>
                    <a:pt x="10" y="42"/>
                    <a:pt x="10" y="40"/>
                  </a:cubicBezTo>
                  <a:cubicBezTo>
                    <a:pt x="10" y="38"/>
                    <a:pt x="8" y="37"/>
                    <a:pt x="8" y="35"/>
                  </a:cubicBezTo>
                  <a:cubicBezTo>
                    <a:pt x="7" y="31"/>
                    <a:pt x="9" y="28"/>
                    <a:pt x="8" y="24"/>
                  </a:cubicBezTo>
                  <a:cubicBezTo>
                    <a:pt x="8" y="23"/>
                    <a:pt x="6" y="23"/>
                    <a:pt x="5" y="21"/>
                  </a:cubicBezTo>
                  <a:cubicBezTo>
                    <a:pt x="5" y="18"/>
                    <a:pt x="6" y="15"/>
                    <a:pt x="6" y="12"/>
                  </a:cubicBezTo>
                  <a:cubicBezTo>
                    <a:pt x="5" y="11"/>
                    <a:pt x="3" y="11"/>
                    <a:pt x="3" y="10"/>
                  </a:cubicBezTo>
                  <a:cubicBezTo>
                    <a:pt x="2" y="9"/>
                    <a:pt x="3" y="8"/>
                    <a:pt x="3" y="7"/>
                  </a:cubicBezTo>
                  <a:cubicBezTo>
                    <a:pt x="2" y="6"/>
                    <a:pt x="1" y="5"/>
                    <a:pt x="0" y="4"/>
                  </a:cubicBezTo>
                  <a:cubicBezTo>
                    <a:pt x="0" y="3"/>
                    <a:pt x="1" y="1"/>
                    <a:pt x="1" y="0"/>
                  </a:cubicBezTo>
                  <a:cubicBezTo>
                    <a:pt x="3" y="1"/>
                    <a:pt x="4" y="1"/>
                    <a:pt x="6" y="2"/>
                  </a:cubicBezTo>
                  <a:cubicBezTo>
                    <a:pt x="8" y="2"/>
                    <a:pt x="9" y="2"/>
                    <a:pt x="11" y="3"/>
                  </a:cubicBezTo>
                  <a:cubicBezTo>
                    <a:pt x="11" y="5"/>
                    <a:pt x="11" y="7"/>
                    <a:pt x="12" y="9"/>
                  </a:cubicBezTo>
                  <a:cubicBezTo>
                    <a:pt x="13" y="12"/>
                    <a:pt x="16" y="13"/>
                    <a:pt x="17" y="15"/>
                  </a:cubicBezTo>
                  <a:cubicBezTo>
                    <a:pt x="18" y="18"/>
                    <a:pt x="17" y="21"/>
                    <a:pt x="18" y="24"/>
                  </a:cubicBezTo>
                  <a:cubicBezTo>
                    <a:pt x="18" y="26"/>
                    <a:pt x="21" y="27"/>
                    <a:pt x="21" y="28"/>
                  </a:cubicBezTo>
                  <a:cubicBezTo>
                    <a:pt x="22" y="39"/>
                    <a:pt x="20" y="51"/>
                    <a:pt x="21" y="62"/>
                  </a:cubicBezTo>
                  <a:cubicBezTo>
                    <a:pt x="21" y="64"/>
                    <a:pt x="23" y="67"/>
                    <a:pt x="24" y="69"/>
                  </a:cubicBezTo>
                  <a:cubicBezTo>
                    <a:pt x="22" y="70"/>
                    <a:pt x="20" y="71"/>
                    <a:pt x="19" y="7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" name="Freeform 60"/>
            <p:cNvSpPr>
              <a:spLocks noChangeAspect="1"/>
            </p:cNvSpPr>
            <p:nvPr/>
          </p:nvSpPr>
          <p:spPr bwMode="auto">
            <a:xfrm>
              <a:off x="4557713" y="3852863"/>
              <a:ext cx="74612" cy="174625"/>
            </a:xfrm>
            <a:custGeom>
              <a:avLst/>
              <a:gdLst>
                <a:gd name="T0" fmla="*/ 24871 w 39"/>
                <a:gd name="T1" fmla="*/ 174625 h 91"/>
                <a:gd name="T2" fmla="*/ 36349 w 39"/>
                <a:gd name="T3" fmla="*/ 172706 h 91"/>
                <a:gd name="T4" fmla="*/ 49741 w 39"/>
                <a:gd name="T5" fmla="*/ 172706 h 91"/>
                <a:gd name="T6" fmla="*/ 45915 w 39"/>
                <a:gd name="T7" fmla="*/ 140084 h 91"/>
                <a:gd name="T8" fmla="*/ 47828 w 39"/>
                <a:gd name="T9" fmla="*/ 120894 h 91"/>
                <a:gd name="T10" fmla="*/ 49741 w 39"/>
                <a:gd name="T11" fmla="*/ 95948 h 91"/>
                <a:gd name="T12" fmla="*/ 57394 w 39"/>
                <a:gd name="T13" fmla="*/ 94029 h 91"/>
                <a:gd name="T14" fmla="*/ 63133 w 39"/>
                <a:gd name="T15" fmla="*/ 78677 h 91"/>
                <a:gd name="T16" fmla="*/ 70786 w 39"/>
                <a:gd name="T17" fmla="*/ 69082 h 91"/>
                <a:gd name="T18" fmla="*/ 66959 w 39"/>
                <a:gd name="T19" fmla="*/ 59488 h 91"/>
                <a:gd name="T20" fmla="*/ 74612 w 39"/>
                <a:gd name="T21" fmla="*/ 55650 h 91"/>
                <a:gd name="T22" fmla="*/ 68873 w 39"/>
                <a:gd name="T23" fmla="*/ 46055 h 91"/>
                <a:gd name="T24" fmla="*/ 65046 w 39"/>
                <a:gd name="T25" fmla="*/ 32622 h 91"/>
                <a:gd name="T26" fmla="*/ 70786 w 39"/>
                <a:gd name="T27" fmla="*/ 19190 h 91"/>
                <a:gd name="T28" fmla="*/ 63133 w 39"/>
                <a:gd name="T29" fmla="*/ 17271 h 91"/>
                <a:gd name="T30" fmla="*/ 49741 w 39"/>
                <a:gd name="T31" fmla="*/ 1919 h 91"/>
                <a:gd name="T32" fmla="*/ 42089 w 39"/>
                <a:gd name="T33" fmla="*/ 5757 h 91"/>
                <a:gd name="T34" fmla="*/ 40176 w 39"/>
                <a:gd name="T35" fmla="*/ 15352 h 91"/>
                <a:gd name="T36" fmla="*/ 38263 w 39"/>
                <a:gd name="T37" fmla="*/ 19190 h 91"/>
                <a:gd name="T38" fmla="*/ 36349 w 39"/>
                <a:gd name="T39" fmla="*/ 26865 h 91"/>
                <a:gd name="T40" fmla="*/ 26784 w 39"/>
                <a:gd name="T41" fmla="*/ 30703 h 91"/>
                <a:gd name="T42" fmla="*/ 15305 w 39"/>
                <a:gd name="T43" fmla="*/ 30703 h 91"/>
                <a:gd name="T44" fmla="*/ 7653 w 39"/>
                <a:gd name="T45" fmla="*/ 32622 h 91"/>
                <a:gd name="T46" fmla="*/ 7653 w 39"/>
                <a:gd name="T47" fmla="*/ 42217 h 91"/>
                <a:gd name="T48" fmla="*/ 1913 w 39"/>
                <a:gd name="T49" fmla="*/ 40298 h 91"/>
                <a:gd name="T50" fmla="*/ 0 w 39"/>
                <a:gd name="T51" fmla="*/ 47974 h 91"/>
                <a:gd name="T52" fmla="*/ 1913 w 39"/>
                <a:gd name="T53" fmla="*/ 59488 h 91"/>
                <a:gd name="T54" fmla="*/ 11479 w 39"/>
                <a:gd name="T55" fmla="*/ 71001 h 91"/>
                <a:gd name="T56" fmla="*/ 13392 w 39"/>
                <a:gd name="T57" fmla="*/ 88272 h 91"/>
                <a:gd name="T58" fmla="*/ 19131 w 39"/>
                <a:gd name="T59" fmla="*/ 95948 h 91"/>
                <a:gd name="T60" fmla="*/ 19131 w 39"/>
                <a:gd name="T61" fmla="*/ 161192 h 91"/>
                <a:gd name="T62" fmla="*/ 24871 w 39"/>
                <a:gd name="T63" fmla="*/ 174625 h 9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9"/>
                <a:gd name="T97" fmla="*/ 0 h 91"/>
                <a:gd name="T98" fmla="*/ 39 w 39"/>
                <a:gd name="T99" fmla="*/ 91 h 9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9" h="91">
                  <a:moveTo>
                    <a:pt x="13" y="91"/>
                  </a:moveTo>
                  <a:cubicBezTo>
                    <a:pt x="15" y="91"/>
                    <a:pt x="17" y="90"/>
                    <a:pt x="19" y="90"/>
                  </a:cubicBezTo>
                  <a:cubicBezTo>
                    <a:pt x="21" y="89"/>
                    <a:pt x="23" y="90"/>
                    <a:pt x="26" y="90"/>
                  </a:cubicBezTo>
                  <a:cubicBezTo>
                    <a:pt x="25" y="84"/>
                    <a:pt x="25" y="79"/>
                    <a:pt x="24" y="73"/>
                  </a:cubicBezTo>
                  <a:cubicBezTo>
                    <a:pt x="24" y="70"/>
                    <a:pt x="25" y="66"/>
                    <a:pt x="25" y="63"/>
                  </a:cubicBezTo>
                  <a:cubicBezTo>
                    <a:pt x="25" y="59"/>
                    <a:pt x="24" y="54"/>
                    <a:pt x="26" y="50"/>
                  </a:cubicBezTo>
                  <a:cubicBezTo>
                    <a:pt x="26" y="49"/>
                    <a:pt x="30" y="50"/>
                    <a:pt x="30" y="49"/>
                  </a:cubicBezTo>
                  <a:cubicBezTo>
                    <a:pt x="32" y="46"/>
                    <a:pt x="31" y="43"/>
                    <a:pt x="33" y="41"/>
                  </a:cubicBezTo>
                  <a:cubicBezTo>
                    <a:pt x="34" y="39"/>
                    <a:pt x="37" y="38"/>
                    <a:pt x="37" y="36"/>
                  </a:cubicBezTo>
                  <a:cubicBezTo>
                    <a:pt x="38" y="34"/>
                    <a:pt x="34" y="33"/>
                    <a:pt x="35" y="31"/>
                  </a:cubicBezTo>
                  <a:cubicBezTo>
                    <a:pt x="35" y="29"/>
                    <a:pt x="39" y="31"/>
                    <a:pt x="39" y="29"/>
                  </a:cubicBezTo>
                  <a:cubicBezTo>
                    <a:pt x="39" y="27"/>
                    <a:pt x="36" y="26"/>
                    <a:pt x="36" y="24"/>
                  </a:cubicBezTo>
                  <a:cubicBezTo>
                    <a:pt x="35" y="22"/>
                    <a:pt x="34" y="20"/>
                    <a:pt x="34" y="17"/>
                  </a:cubicBezTo>
                  <a:cubicBezTo>
                    <a:pt x="34" y="15"/>
                    <a:pt x="36" y="13"/>
                    <a:pt x="37" y="10"/>
                  </a:cubicBezTo>
                  <a:cubicBezTo>
                    <a:pt x="35" y="10"/>
                    <a:pt x="34" y="10"/>
                    <a:pt x="33" y="9"/>
                  </a:cubicBezTo>
                  <a:cubicBezTo>
                    <a:pt x="30" y="7"/>
                    <a:pt x="29" y="2"/>
                    <a:pt x="26" y="1"/>
                  </a:cubicBezTo>
                  <a:cubicBezTo>
                    <a:pt x="25" y="0"/>
                    <a:pt x="23" y="1"/>
                    <a:pt x="22" y="3"/>
                  </a:cubicBezTo>
                  <a:cubicBezTo>
                    <a:pt x="21" y="4"/>
                    <a:pt x="22" y="7"/>
                    <a:pt x="21" y="8"/>
                  </a:cubicBezTo>
                  <a:cubicBezTo>
                    <a:pt x="21" y="9"/>
                    <a:pt x="20" y="9"/>
                    <a:pt x="20" y="10"/>
                  </a:cubicBezTo>
                  <a:cubicBezTo>
                    <a:pt x="20" y="11"/>
                    <a:pt x="20" y="13"/>
                    <a:pt x="19" y="14"/>
                  </a:cubicBezTo>
                  <a:cubicBezTo>
                    <a:pt x="18" y="16"/>
                    <a:pt x="16" y="16"/>
                    <a:pt x="14" y="16"/>
                  </a:cubicBezTo>
                  <a:cubicBezTo>
                    <a:pt x="12" y="16"/>
                    <a:pt x="10" y="15"/>
                    <a:pt x="8" y="16"/>
                  </a:cubicBezTo>
                  <a:cubicBezTo>
                    <a:pt x="6" y="16"/>
                    <a:pt x="5" y="16"/>
                    <a:pt x="4" y="17"/>
                  </a:cubicBezTo>
                  <a:cubicBezTo>
                    <a:pt x="3" y="19"/>
                    <a:pt x="5" y="21"/>
                    <a:pt x="4" y="22"/>
                  </a:cubicBezTo>
                  <a:cubicBezTo>
                    <a:pt x="3" y="23"/>
                    <a:pt x="2" y="21"/>
                    <a:pt x="1" y="21"/>
                  </a:cubicBezTo>
                  <a:cubicBezTo>
                    <a:pt x="0" y="22"/>
                    <a:pt x="0" y="23"/>
                    <a:pt x="0" y="25"/>
                  </a:cubicBezTo>
                  <a:cubicBezTo>
                    <a:pt x="0" y="27"/>
                    <a:pt x="0" y="29"/>
                    <a:pt x="1" y="31"/>
                  </a:cubicBezTo>
                  <a:cubicBezTo>
                    <a:pt x="2" y="34"/>
                    <a:pt x="5" y="35"/>
                    <a:pt x="6" y="37"/>
                  </a:cubicBezTo>
                  <a:cubicBezTo>
                    <a:pt x="7" y="40"/>
                    <a:pt x="6" y="43"/>
                    <a:pt x="7" y="46"/>
                  </a:cubicBezTo>
                  <a:cubicBezTo>
                    <a:pt x="7" y="48"/>
                    <a:pt x="10" y="49"/>
                    <a:pt x="10" y="50"/>
                  </a:cubicBezTo>
                  <a:cubicBezTo>
                    <a:pt x="11" y="61"/>
                    <a:pt x="9" y="73"/>
                    <a:pt x="10" y="84"/>
                  </a:cubicBezTo>
                  <a:cubicBezTo>
                    <a:pt x="10" y="86"/>
                    <a:pt x="12" y="89"/>
                    <a:pt x="13" y="9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" name="Freeform 61"/>
            <p:cNvSpPr>
              <a:spLocks noChangeAspect="1"/>
            </p:cNvSpPr>
            <p:nvPr/>
          </p:nvSpPr>
          <p:spPr bwMode="auto">
            <a:xfrm>
              <a:off x="4603750" y="3819525"/>
              <a:ext cx="292100" cy="260350"/>
            </a:xfrm>
            <a:custGeom>
              <a:avLst/>
              <a:gdLst>
                <a:gd name="T0" fmla="*/ 148914 w 153"/>
                <a:gd name="T1" fmla="*/ 235645 h 137"/>
                <a:gd name="T2" fmla="*/ 154641 w 153"/>
                <a:gd name="T3" fmla="*/ 205239 h 137"/>
                <a:gd name="T4" fmla="*/ 179460 w 153"/>
                <a:gd name="T5" fmla="*/ 184335 h 137"/>
                <a:gd name="T6" fmla="*/ 190915 w 153"/>
                <a:gd name="T7" fmla="*/ 188136 h 137"/>
                <a:gd name="T8" fmla="*/ 204279 w 153"/>
                <a:gd name="T9" fmla="*/ 197638 h 137"/>
                <a:gd name="T10" fmla="*/ 223371 w 153"/>
                <a:gd name="T11" fmla="*/ 180535 h 137"/>
                <a:gd name="T12" fmla="*/ 231007 w 153"/>
                <a:gd name="T13" fmla="*/ 152029 h 137"/>
                <a:gd name="T14" fmla="*/ 248190 w 153"/>
                <a:gd name="T15" fmla="*/ 119723 h 137"/>
                <a:gd name="T16" fmla="*/ 255826 w 153"/>
                <a:gd name="T17" fmla="*/ 102620 h 137"/>
                <a:gd name="T18" fmla="*/ 271099 w 153"/>
                <a:gd name="T19" fmla="*/ 70314 h 137"/>
                <a:gd name="T20" fmla="*/ 286373 w 153"/>
                <a:gd name="T21" fmla="*/ 43708 h 137"/>
                <a:gd name="T22" fmla="*/ 278736 w 153"/>
                <a:gd name="T23" fmla="*/ 26605 h 137"/>
                <a:gd name="T24" fmla="*/ 263463 w 153"/>
                <a:gd name="T25" fmla="*/ 3801 h 137"/>
                <a:gd name="T26" fmla="*/ 240553 w 153"/>
                <a:gd name="T27" fmla="*/ 13303 h 137"/>
                <a:gd name="T28" fmla="*/ 204279 w 153"/>
                <a:gd name="T29" fmla="*/ 13303 h 137"/>
                <a:gd name="T30" fmla="*/ 166096 w 153"/>
                <a:gd name="T31" fmla="*/ 26605 h 137"/>
                <a:gd name="T32" fmla="*/ 139368 w 153"/>
                <a:gd name="T33" fmla="*/ 17103 h 137"/>
                <a:gd name="T34" fmla="*/ 106912 w 153"/>
                <a:gd name="T35" fmla="*/ 17103 h 137"/>
                <a:gd name="T36" fmla="*/ 61093 w 153"/>
                <a:gd name="T37" fmla="*/ 0 h 137"/>
                <a:gd name="T38" fmla="*/ 30546 w 153"/>
                <a:gd name="T39" fmla="*/ 22804 h 137"/>
                <a:gd name="T40" fmla="*/ 24819 w 153"/>
                <a:gd name="T41" fmla="*/ 53210 h 137"/>
                <a:gd name="T42" fmla="*/ 22910 w 153"/>
                <a:gd name="T43" fmla="*/ 79815 h 137"/>
                <a:gd name="T44" fmla="*/ 21001 w 153"/>
                <a:gd name="T45" fmla="*/ 93118 h 137"/>
                <a:gd name="T46" fmla="*/ 17182 w 153"/>
                <a:gd name="T47" fmla="*/ 112122 h 137"/>
                <a:gd name="T48" fmla="*/ 3818 w 153"/>
                <a:gd name="T49" fmla="*/ 129225 h 137"/>
                <a:gd name="T50" fmla="*/ 0 w 153"/>
                <a:gd name="T51" fmla="*/ 172933 h 137"/>
                <a:gd name="T52" fmla="*/ 22910 w 153"/>
                <a:gd name="T53" fmla="*/ 201439 h 137"/>
                <a:gd name="T54" fmla="*/ 57275 w 153"/>
                <a:gd name="T55" fmla="*/ 214741 h 137"/>
                <a:gd name="T56" fmla="*/ 68729 w 153"/>
                <a:gd name="T57" fmla="*/ 231844 h 137"/>
                <a:gd name="T58" fmla="*/ 70639 w 153"/>
                <a:gd name="T59" fmla="*/ 254649 h 137"/>
                <a:gd name="T60" fmla="*/ 106912 w 153"/>
                <a:gd name="T61" fmla="*/ 258450 h 137"/>
                <a:gd name="T62" fmla="*/ 131731 w 153"/>
                <a:gd name="T63" fmla="*/ 243247 h 13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53"/>
                <a:gd name="T97" fmla="*/ 0 h 137"/>
                <a:gd name="T98" fmla="*/ 153 w 153"/>
                <a:gd name="T99" fmla="*/ 137 h 13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53" h="137">
                  <a:moveTo>
                    <a:pt x="73" y="130"/>
                  </a:moveTo>
                  <a:cubicBezTo>
                    <a:pt x="75" y="128"/>
                    <a:pt x="77" y="126"/>
                    <a:pt x="78" y="124"/>
                  </a:cubicBezTo>
                  <a:cubicBezTo>
                    <a:pt x="78" y="121"/>
                    <a:pt x="76" y="117"/>
                    <a:pt x="77" y="114"/>
                  </a:cubicBezTo>
                  <a:cubicBezTo>
                    <a:pt x="78" y="112"/>
                    <a:pt x="80" y="110"/>
                    <a:pt x="81" y="108"/>
                  </a:cubicBezTo>
                  <a:cubicBezTo>
                    <a:pt x="83" y="106"/>
                    <a:pt x="86" y="105"/>
                    <a:pt x="88" y="104"/>
                  </a:cubicBezTo>
                  <a:cubicBezTo>
                    <a:pt x="90" y="102"/>
                    <a:pt x="91" y="98"/>
                    <a:pt x="94" y="97"/>
                  </a:cubicBezTo>
                  <a:cubicBezTo>
                    <a:pt x="95" y="97"/>
                    <a:pt x="96" y="99"/>
                    <a:pt x="98" y="100"/>
                  </a:cubicBezTo>
                  <a:cubicBezTo>
                    <a:pt x="99" y="100"/>
                    <a:pt x="100" y="100"/>
                    <a:pt x="100" y="99"/>
                  </a:cubicBezTo>
                  <a:cubicBezTo>
                    <a:pt x="101" y="99"/>
                    <a:pt x="101" y="96"/>
                    <a:pt x="101" y="97"/>
                  </a:cubicBezTo>
                  <a:cubicBezTo>
                    <a:pt x="104" y="98"/>
                    <a:pt x="105" y="102"/>
                    <a:pt x="107" y="104"/>
                  </a:cubicBezTo>
                  <a:cubicBezTo>
                    <a:pt x="108" y="105"/>
                    <a:pt x="111" y="106"/>
                    <a:pt x="112" y="105"/>
                  </a:cubicBezTo>
                  <a:cubicBezTo>
                    <a:pt x="115" y="103"/>
                    <a:pt x="116" y="98"/>
                    <a:pt x="117" y="95"/>
                  </a:cubicBezTo>
                  <a:cubicBezTo>
                    <a:pt x="119" y="92"/>
                    <a:pt x="120" y="89"/>
                    <a:pt x="121" y="86"/>
                  </a:cubicBezTo>
                  <a:cubicBezTo>
                    <a:pt x="121" y="84"/>
                    <a:pt x="120" y="82"/>
                    <a:pt x="121" y="80"/>
                  </a:cubicBezTo>
                  <a:cubicBezTo>
                    <a:pt x="123" y="77"/>
                    <a:pt x="126" y="76"/>
                    <a:pt x="128" y="73"/>
                  </a:cubicBezTo>
                  <a:cubicBezTo>
                    <a:pt x="129" y="70"/>
                    <a:pt x="128" y="66"/>
                    <a:pt x="130" y="63"/>
                  </a:cubicBezTo>
                  <a:cubicBezTo>
                    <a:pt x="131" y="61"/>
                    <a:pt x="133" y="60"/>
                    <a:pt x="134" y="58"/>
                  </a:cubicBezTo>
                  <a:cubicBezTo>
                    <a:pt x="135" y="57"/>
                    <a:pt x="134" y="55"/>
                    <a:pt x="134" y="54"/>
                  </a:cubicBezTo>
                  <a:cubicBezTo>
                    <a:pt x="134" y="52"/>
                    <a:pt x="136" y="50"/>
                    <a:pt x="137" y="48"/>
                  </a:cubicBezTo>
                  <a:cubicBezTo>
                    <a:pt x="138" y="44"/>
                    <a:pt x="139" y="40"/>
                    <a:pt x="142" y="37"/>
                  </a:cubicBezTo>
                  <a:cubicBezTo>
                    <a:pt x="144" y="35"/>
                    <a:pt x="150" y="36"/>
                    <a:pt x="152" y="33"/>
                  </a:cubicBezTo>
                  <a:cubicBezTo>
                    <a:pt x="153" y="30"/>
                    <a:pt x="151" y="26"/>
                    <a:pt x="150" y="23"/>
                  </a:cubicBezTo>
                  <a:cubicBezTo>
                    <a:pt x="149" y="21"/>
                    <a:pt x="145" y="22"/>
                    <a:pt x="144" y="20"/>
                  </a:cubicBezTo>
                  <a:cubicBezTo>
                    <a:pt x="144" y="18"/>
                    <a:pt x="145" y="15"/>
                    <a:pt x="146" y="14"/>
                  </a:cubicBezTo>
                  <a:cubicBezTo>
                    <a:pt x="145" y="13"/>
                    <a:pt x="144" y="11"/>
                    <a:pt x="143" y="10"/>
                  </a:cubicBezTo>
                  <a:cubicBezTo>
                    <a:pt x="141" y="8"/>
                    <a:pt x="140" y="4"/>
                    <a:pt x="138" y="2"/>
                  </a:cubicBezTo>
                  <a:cubicBezTo>
                    <a:pt x="136" y="2"/>
                    <a:pt x="133" y="2"/>
                    <a:pt x="131" y="3"/>
                  </a:cubicBezTo>
                  <a:cubicBezTo>
                    <a:pt x="129" y="4"/>
                    <a:pt x="127" y="6"/>
                    <a:pt x="126" y="7"/>
                  </a:cubicBezTo>
                  <a:cubicBezTo>
                    <a:pt x="124" y="8"/>
                    <a:pt x="122" y="9"/>
                    <a:pt x="120" y="9"/>
                  </a:cubicBezTo>
                  <a:cubicBezTo>
                    <a:pt x="115" y="9"/>
                    <a:pt x="111" y="7"/>
                    <a:pt x="107" y="7"/>
                  </a:cubicBezTo>
                  <a:cubicBezTo>
                    <a:pt x="103" y="6"/>
                    <a:pt x="98" y="6"/>
                    <a:pt x="95" y="8"/>
                  </a:cubicBezTo>
                  <a:cubicBezTo>
                    <a:pt x="92" y="9"/>
                    <a:pt x="90" y="13"/>
                    <a:pt x="87" y="14"/>
                  </a:cubicBezTo>
                  <a:cubicBezTo>
                    <a:pt x="85" y="15"/>
                    <a:pt x="83" y="15"/>
                    <a:pt x="81" y="15"/>
                  </a:cubicBezTo>
                  <a:cubicBezTo>
                    <a:pt x="78" y="13"/>
                    <a:pt x="76" y="10"/>
                    <a:pt x="73" y="9"/>
                  </a:cubicBezTo>
                  <a:cubicBezTo>
                    <a:pt x="70" y="7"/>
                    <a:pt x="66" y="7"/>
                    <a:pt x="63" y="7"/>
                  </a:cubicBezTo>
                  <a:cubicBezTo>
                    <a:pt x="60" y="7"/>
                    <a:pt x="58" y="10"/>
                    <a:pt x="56" y="9"/>
                  </a:cubicBezTo>
                  <a:cubicBezTo>
                    <a:pt x="53" y="9"/>
                    <a:pt x="51" y="6"/>
                    <a:pt x="48" y="5"/>
                  </a:cubicBezTo>
                  <a:cubicBezTo>
                    <a:pt x="43" y="3"/>
                    <a:pt x="38" y="1"/>
                    <a:pt x="32" y="0"/>
                  </a:cubicBezTo>
                  <a:cubicBezTo>
                    <a:pt x="28" y="0"/>
                    <a:pt x="23" y="0"/>
                    <a:pt x="19" y="2"/>
                  </a:cubicBezTo>
                  <a:cubicBezTo>
                    <a:pt x="17" y="4"/>
                    <a:pt x="18" y="9"/>
                    <a:pt x="16" y="12"/>
                  </a:cubicBezTo>
                  <a:cubicBezTo>
                    <a:pt x="15" y="15"/>
                    <a:pt x="12" y="16"/>
                    <a:pt x="12" y="18"/>
                  </a:cubicBezTo>
                  <a:cubicBezTo>
                    <a:pt x="11" y="21"/>
                    <a:pt x="12" y="25"/>
                    <a:pt x="13" y="28"/>
                  </a:cubicBezTo>
                  <a:cubicBezTo>
                    <a:pt x="12" y="31"/>
                    <a:pt x="10" y="33"/>
                    <a:pt x="10" y="35"/>
                  </a:cubicBezTo>
                  <a:cubicBezTo>
                    <a:pt x="10" y="38"/>
                    <a:pt x="11" y="40"/>
                    <a:pt x="12" y="42"/>
                  </a:cubicBezTo>
                  <a:cubicBezTo>
                    <a:pt x="12" y="44"/>
                    <a:pt x="15" y="45"/>
                    <a:pt x="15" y="47"/>
                  </a:cubicBezTo>
                  <a:cubicBezTo>
                    <a:pt x="15" y="49"/>
                    <a:pt x="11" y="47"/>
                    <a:pt x="11" y="49"/>
                  </a:cubicBezTo>
                  <a:cubicBezTo>
                    <a:pt x="10" y="51"/>
                    <a:pt x="14" y="52"/>
                    <a:pt x="13" y="54"/>
                  </a:cubicBezTo>
                  <a:cubicBezTo>
                    <a:pt x="13" y="56"/>
                    <a:pt x="10" y="57"/>
                    <a:pt x="9" y="59"/>
                  </a:cubicBezTo>
                  <a:cubicBezTo>
                    <a:pt x="7" y="61"/>
                    <a:pt x="8" y="64"/>
                    <a:pt x="6" y="67"/>
                  </a:cubicBezTo>
                  <a:cubicBezTo>
                    <a:pt x="6" y="68"/>
                    <a:pt x="2" y="67"/>
                    <a:pt x="2" y="68"/>
                  </a:cubicBezTo>
                  <a:cubicBezTo>
                    <a:pt x="0" y="72"/>
                    <a:pt x="1" y="77"/>
                    <a:pt x="1" y="81"/>
                  </a:cubicBezTo>
                  <a:cubicBezTo>
                    <a:pt x="1" y="84"/>
                    <a:pt x="0" y="88"/>
                    <a:pt x="0" y="91"/>
                  </a:cubicBezTo>
                  <a:cubicBezTo>
                    <a:pt x="1" y="97"/>
                    <a:pt x="1" y="102"/>
                    <a:pt x="2" y="108"/>
                  </a:cubicBezTo>
                  <a:cubicBezTo>
                    <a:pt x="5" y="107"/>
                    <a:pt x="8" y="106"/>
                    <a:pt x="12" y="106"/>
                  </a:cubicBezTo>
                  <a:cubicBezTo>
                    <a:pt x="15" y="106"/>
                    <a:pt x="18" y="107"/>
                    <a:pt x="21" y="108"/>
                  </a:cubicBezTo>
                  <a:cubicBezTo>
                    <a:pt x="25" y="109"/>
                    <a:pt x="28" y="111"/>
                    <a:pt x="30" y="113"/>
                  </a:cubicBezTo>
                  <a:cubicBezTo>
                    <a:pt x="32" y="115"/>
                    <a:pt x="32" y="119"/>
                    <a:pt x="34" y="122"/>
                  </a:cubicBezTo>
                  <a:cubicBezTo>
                    <a:pt x="34" y="122"/>
                    <a:pt x="36" y="121"/>
                    <a:pt x="36" y="122"/>
                  </a:cubicBezTo>
                  <a:cubicBezTo>
                    <a:pt x="36" y="123"/>
                    <a:pt x="34" y="124"/>
                    <a:pt x="34" y="125"/>
                  </a:cubicBezTo>
                  <a:cubicBezTo>
                    <a:pt x="34" y="128"/>
                    <a:pt x="35" y="132"/>
                    <a:pt x="37" y="134"/>
                  </a:cubicBezTo>
                  <a:cubicBezTo>
                    <a:pt x="39" y="136"/>
                    <a:pt x="42" y="136"/>
                    <a:pt x="44" y="136"/>
                  </a:cubicBezTo>
                  <a:cubicBezTo>
                    <a:pt x="48" y="137"/>
                    <a:pt x="52" y="137"/>
                    <a:pt x="56" y="136"/>
                  </a:cubicBezTo>
                  <a:cubicBezTo>
                    <a:pt x="61" y="136"/>
                    <a:pt x="66" y="136"/>
                    <a:pt x="71" y="133"/>
                  </a:cubicBezTo>
                  <a:cubicBezTo>
                    <a:pt x="72" y="132"/>
                    <a:pt x="68" y="129"/>
                    <a:pt x="69" y="128"/>
                  </a:cubicBezTo>
                  <a:cubicBezTo>
                    <a:pt x="70" y="127"/>
                    <a:pt x="72" y="129"/>
                    <a:pt x="73" y="13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" name="Freeform 62"/>
            <p:cNvSpPr>
              <a:spLocks noChangeAspect="1"/>
            </p:cNvSpPr>
            <p:nvPr/>
          </p:nvSpPr>
          <p:spPr bwMode="auto">
            <a:xfrm>
              <a:off x="4540250" y="3544888"/>
              <a:ext cx="382588" cy="327025"/>
            </a:xfrm>
            <a:custGeom>
              <a:avLst/>
              <a:gdLst>
                <a:gd name="T0" fmla="*/ 327113 w 200"/>
                <a:gd name="T1" fmla="*/ 277591 h 172"/>
                <a:gd name="T2" fmla="*/ 327113 w 200"/>
                <a:gd name="T3" fmla="*/ 249071 h 172"/>
                <a:gd name="T4" fmla="*/ 371110 w 200"/>
                <a:gd name="T5" fmla="*/ 193933 h 172"/>
                <a:gd name="T6" fmla="*/ 369197 w 200"/>
                <a:gd name="T7" fmla="*/ 155907 h 172"/>
                <a:gd name="T8" fmla="*/ 369197 w 200"/>
                <a:gd name="T9" fmla="*/ 114078 h 172"/>
                <a:gd name="T10" fmla="*/ 382588 w 200"/>
                <a:gd name="T11" fmla="*/ 87460 h 172"/>
                <a:gd name="T12" fmla="*/ 369197 w 200"/>
                <a:gd name="T13" fmla="*/ 77954 h 172"/>
                <a:gd name="T14" fmla="*/ 371110 w 200"/>
                <a:gd name="T15" fmla="*/ 66546 h 172"/>
                <a:gd name="T16" fmla="*/ 363459 w 200"/>
                <a:gd name="T17" fmla="*/ 57039 h 172"/>
                <a:gd name="T18" fmla="*/ 365372 w 200"/>
                <a:gd name="T19" fmla="*/ 39927 h 172"/>
                <a:gd name="T20" fmla="*/ 357720 w 200"/>
                <a:gd name="T21" fmla="*/ 17112 h 172"/>
                <a:gd name="T22" fmla="*/ 330939 w 200"/>
                <a:gd name="T23" fmla="*/ 28520 h 172"/>
                <a:gd name="T24" fmla="*/ 319461 w 200"/>
                <a:gd name="T25" fmla="*/ 11408 h 172"/>
                <a:gd name="T26" fmla="*/ 296506 w 200"/>
                <a:gd name="T27" fmla="*/ 9507 h 172"/>
                <a:gd name="T28" fmla="*/ 283115 w 200"/>
                <a:gd name="T29" fmla="*/ 0 h 172"/>
                <a:gd name="T30" fmla="*/ 131993 w 200"/>
                <a:gd name="T31" fmla="*/ 112177 h 172"/>
                <a:gd name="T32" fmla="*/ 101386 w 200"/>
                <a:gd name="T33" fmla="*/ 123585 h 172"/>
                <a:gd name="T34" fmla="*/ 101386 w 200"/>
                <a:gd name="T35" fmla="*/ 209144 h 172"/>
                <a:gd name="T36" fmla="*/ 93734 w 200"/>
                <a:gd name="T37" fmla="*/ 211045 h 172"/>
                <a:gd name="T38" fmla="*/ 89908 w 200"/>
                <a:gd name="T39" fmla="*/ 218650 h 172"/>
                <a:gd name="T40" fmla="*/ 82256 w 200"/>
                <a:gd name="T41" fmla="*/ 220552 h 172"/>
                <a:gd name="T42" fmla="*/ 78431 w 200"/>
                <a:gd name="T43" fmla="*/ 228157 h 172"/>
                <a:gd name="T44" fmla="*/ 26781 w 200"/>
                <a:gd name="T45" fmla="*/ 233861 h 172"/>
                <a:gd name="T46" fmla="*/ 19129 w 200"/>
                <a:gd name="T47" fmla="*/ 241466 h 172"/>
                <a:gd name="T48" fmla="*/ 1913 w 200"/>
                <a:gd name="T49" fmla="*/ 239565 h 172"/>
                <a:gd name="T50" fmla="*/ 0 w 200"/>
                <a:gd name="T51" fmla="*/ 256677 h 172"/>
                <a:gd name="T52" fmla="*/ 3826 w 200"/>
                <a:gd name="T53" fmla="*/ 269986 h 172"/>
                <a:gd name="T54" fmla="*/ 15304 w 200"/>
                <a:gd name="T55" fmla="*/ 279492 h 172"/>
                <a:gd name="T56" fmla="*/ 21042 w 200"/>
                <a:gd name="T57" fmla="*/ 281394 h 172"/>
                <a:gd name="T58" fmla="*/ 15304 w 200"/>
                <a:gd name="T59" fmla="*/ 294703 h 172"/>
                <a:gd name="T60" fmla="*/ 38259 w 200"/>
                <a:gd name="T61" fmla="*/ 304209 h 172"/>
                <a:gd name="T62" fmla="*/ 45911 w 200"/>
                <a:gd name="T63" fmla="*/ 302308 h 172"/>
                <a:gd name="T64" fmla="*/ 53562 w 200"/>
                <a:gd name="T65" fmla="*/ 308012 h 172"/>
                <a:gd name="T66" fmla="*/ 49736 w 200"/>
                <a:gd name="T67" fmla="*/ 313716 h 172"/>
                <a:gd name="T68" fmla="*/ 51649 w 200"/>
                <a:gd name="T69" fmla="*/ 325124 h 172"/>
                <a:gd name="T70" fmla="*/ 55475 w 200"/>
                <a:gd name="T71" fmla="*/ 327025 h 172"/>
                <a:gd name="T72" fmla="*/ 57388 w 200"/>
                <a:gd name="T73" fmla="*/ 323222 h 172"/>
                <a:gd name="T74" fmla="*/ 59301 w 200"/>
                <a:gd name="T75" fmla="*/ 313716 h 172"/>
                <a:gd name="T76" fmla="*/ 66953 w 200"/>
                <a:gd name="T77" fmla="*/ 309913 h 172"/>
                <a:gd name="T78" fmla="*/ 80343 w 200"/>
                <a:gd name="T79" fmla="*/ 325124 h 172"/>
                <a:gd name="T80" fmla="*/ 87995 w 200"/>
                <a:gd name="T81" fmla="*/ 327025 h 172"/>
                <a:gd name="T82" fmla="*/ 86082 w 200"/>
                <a:gd name="T83" fmla="*/ 308012 h 172"/>
                <a:gd name="T84" fmla="*/ 93734 w 200"/>
                <a:gd name="T85" fmla="*/ 296604 h 172"/>
                <a:gd name="T86" fmla="*/ 99473 w 200"/>
                <a:gd name="T87" fmla="*/ 277591 h 172"/>
                <a:gd name="T88" fmla="*/ 124341 w 200"/>
                <a:gd name="T89" fmla="*/ 273788 h 172"/>
                <a:gd name="T90" fmla="*/ 154948 w 200"/>
                <a:gd name="T91" fmla="*/ 283295 h 172"/>
                <a:gd name="T92" fmla="*/ 170252 w 200"/>
                <a:gd name="T93" fmla="*/ 290900 h 172"/>
                <a:gd name="T94" fmla="*/ 183642 w 200"/>
                <a:gd name="T95" fmla="*/ 287098 h 172"/>
                <a:gd name="T96" fmla="*/ 202772 w 200"/>
                <a:gd name="T97" fmla="*/ 290900 h 172"/>
                <a:gd name="T98" fmla="*/ 218075 w 200"/>
                <a:gd name="T99" fmla="*/ 302308 h 172"/>
                <a:gd name="T100" fmla="*/ 229553 w 200"/>
                <a:gd name="T101" fmla="*/ 300407 h 172"/>
                <a:gd name="T102" fmla="*/ 244856 w 200"/>
                <a:gd name="T103" fmla="*/ 288999 h 172"/>
                <a:gd name="T104" fmla="*/ 267812 w 200"/>
                <a:gd name="T105" fmla="*/ 287098 h 172"/>
                <a:gd name="T106" fmla="*/ 292680 w 200"/>
                <a:gd name="T107" fmla="*/ 290900 h 172"/>
                <a:gd name="T108" fmla="*/ 304157 w 200"/>
                <a:gd name="T109" fmla="*/ 287098 h 172"/>
                <a:gd name="T110" fmla="*/ 313722 w 200"/>
                <a:gd name="T111" fmla="*/ 279492 h 172"/>
                <a:gd name="T112" fmla="*/ 327113 w 200"/>
                <a:gd name="T113" fmla="*/ 277591 h 1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172"/>
                <a:gd name="T173" fmla="*/ 200 w 200"/>
                <a:gd name="T174" fmla="*/ 172 h 1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172">
                  <a:moveTo>
                    <a:pt x="171" y="146"/>
                  </a:moveTo>
                  <a:lnTo>
                    <a:pt x="171" y="131"/>
                  </a:lnTo>
                  <a:lnTo>
                    <a:pt x="194" y="102"/>
                  </a:lnTo>
                  <a:lnTo>
                    <a:pt x="193" y="82"/>
                  </a:lnTo>
                  <a:lnTo>
                    <a:pt x="193" y="60"/>
                  </a:lnTo>
                  <a:lnTo>
                    <a:pt x="200" y="46"/>
                  </a:lnTo>
                  <a:lnTo>
                    <a:pt x="193" y="41"/>
                  </a:lnTo>
                  <a:lnTo>
                    <a:pt x="194" y="35"/>
                  </a:lnTo>
                  <a:lnTo>
                    <a:pt x="190" y="30"/>
                  </a:lnTo>
                  <a:lnTo>
                    <a:pt x="191" y="21"/>
                  </a:lnTo>
                  <a:lnTo>
                    <a:pt x="187" y="9"/>
                  </a:lnTo>
                  <a:cubicBezTo>
                    <a:pt x="182" y="11"/>
                    <a:pt x="178" y="14"/>
                    <a:pt x="173" y="15"/>
                  </a:cubicBezTo>
                  <a:cubicBezTo>
                    <a:pt x="172" y="13"/>
                    <a:pt x="171" y="8"/>
                    <a:pt x="167" y="6"/>
                  </a:cubicBezTo>
                  <a:cubicBezTo>
                    <a:pt x="164" y="4"/>
                    <a:pt x="159" y="7"/>
                    <a:pt x="155" y="5"/>
                  </a:cubicBezTo>
                  <a:cubicBezTo>
                    <a:pt x="152" y="5"/>
                    <a:pt x="150" y="2"/>
                    <a:pt x="148" y="0"/>
                  </a:cubicBezTo>
                  <a:lnTo>
                    <a:pt x="69" y="59"/>
                  </a:lnTo>
                  <a:lnTo>
                    <a:pt x="53" y="65"/>
                  </a:lnTo>
                  <a:lnTo>
                    <a:pt x="53" y="110"/>
                  </a:lnTo>
                  <a:cubicBezTo>
                    <a:pt x="52" y="110"/>
                    <a:pt x="50" y="110"/>
                    <a:pt x="49" y="111"/>
                  </a:cubicBezTo>
                  <a:cubicBezTo>
                    <a:pt x="48" y="112"/>
                    <a:pt x="48" y="114"/>
                    <a:pt x="47" y="115"/>
                  </a:cubicBezTo>
                  <a:cubicBezTo>
                    <a:pt x="46" y="116"/>
                    <a:pt x="44" y="115"/>
                    <a:pt x="43" y="116"/>
                  </a:cubicBezTo>
                  <a:lnTo>
                    <a:pt x="41" y="120"/>
                  </a:lnTo>
                  <a:lnTo>
                    <a:pt x="14" y="123"/>
                  </a:lnTo>
                  <a:cubicBezTo>
                    <a:pt x="13" y="124"/>
                    <a:pt x="12" y="127"/>
                    <a:pt x="10" y="127"/>
                  </a:cubicBezTo>
                  <a:lnTo>
                    <a:pt x="1" y="126"/>
                  </a:lnTo>
                  <a:cubicBezTo>
                    <a:pt x="0" y="129"/>
                    <a:pt x="0" y="132"/>
                    <a:pt x="0" y="135"/>
                  </a:cubicBezTo>
                  <a:cubicBezTo>
                    <a:pt x="0" y="138"/>
                    <a:pt x="1" y="140"/>
                    <a:pt x="2" y="142"/>
                  </a:cubicBezTo>
                  <a:cubicBezTo>
                    <a:pt x="4" y="144"/>
                    <a:pt x="6" y="145"/>
                    <a:pt x="8" y="147"/>
                  </a:cubicBezTo>
                  <a:cubicBezTo>
                    <a:pt x="9" y="148"/>
                    <a:pt x="11" y="147"/>
                    <a:pt x="11" y="148"/>
                  </a:cubicBezTo>
                  <a:cubicBezTo>
                    <a:pt x="12" y="151"/>
                    <a:pt x="7" y="153"/>
                    <a:pt x="8" y="155"/>
                  </a:cubicBezTo>
                  <a:cubicBezTo>
                    <a:pt x="11" y="159"/>
                    <a:pt x="16" y="159"/>
                    <a:pt x="20" y="160"/>
                  </a:cubicBezTo>
                  <a:cubicBezTo>
                    <a:pt x="21" y="161"/>
                    <a:pt x="23" y="158"/>
                    <a:pt x="24" y="159"/>
                  </a:cubicBezTo>
                  <a:cubicBezTo>
                    <a:pt x="26" y="159"/>
                    <a:pt x="27" y="161"/>
                    <a:pt x="28" y="162"/>
                  </a:cubicBezTo>
                  <a:cubicBezTo>
                    <a:pt x="28" y="163"/>
                    <a:pt x="26" y="164"/>
                    <a:pt x="26" y="165"/>
                  </a:cubicBezTo>
                  <a:cubicBezTo>
                    <a:pt x="26" y="167"/>
                    <a:pt x="26" y="169"/>
                    <a:pt x="27" y="171"/>
                  </a:cubicBezTo>
                  <a:cubicBezTo>
                    <a:pt x="27" y="172"/>
                    <a:pt x="28" y="171"/>
                    <a:pt x="29" y="172"/>
                  </a:cubicBezTo>
                  <a:cubicBezTo>
                    <a:pt x="29" y="171"/>
                    <a:pt x="30" y="171"/>
                    <a:pt x="30" y="170"/>
                  </a:cubicBezTo>
                  <a:cubicBezTo>
                    <a:pt x="31" y="169"/>
                    <a:pt x="30" y="166"/>
                    <a:pt x="31" y="165"/>
                  </a:cubicBezTo>
                  <a:cubicBezTo>
                    <a:pt x="32" y="163"/>
                    <a:pt x="34" y="162"/>
                    <a:pt x="35" y="163"/>
                  </a:cubicBezTo>
                  <a:cubicBezTo>
                    <a:pt x="38" y="164"/>
                    <a:pt x="39" y="169"/>
                    <a:pt x="42" y="171"/>
                  </a:cubicBezTo>
                  <a:cubicBezTo>
                    <a:pt x="43" y="172"/>
                    <a:pt x="44" y="172"/>
                    <a:pt x="46" y="172"/>
                  </a:cubicBezTo>
                  <a:cubicBezTo>
                    <a:pt x="45" y="169"/>
                    <a:pt x="44" y="165"/>
                    <a:pt x="45" y="162"/>
                  </a:cubicBezTo>
                  <a:cubicBezTo>
                    <a:pt x="45" y="160"/>
                    <a:pt x="48" y="159"/>
                    <a:pt x="49" y="156"/>
                  </a:cubicBezTo>
                  <a:cubicBezTo>
                    <a:pt x="51" y="153"/>
                    <a:pt x="50" y="148"/>
                    <a:pt x="52" y="146"/>
                  </a:cubicBezTo>
                  <a:cubicBezTo>
                    <a:pt x="56" y="144"/>
                    <a:pt x="61" y="144"/>
                    <a:pt x="65" y="144"/>
                  </a:cubicBezTo>
                  <a:cubicBezTo>
                    <a:pt x="71" y="145"/>
                    <a:pt x="76" y="147"/>
                    <a:pt x="81" y="149"/>
                  </a:cubicBezTo>
                  <a:cubicBezTo>
                    <a:pt x="84" y="150"/>
                    <a:pt x="86" y="153"/>
                    <a:pt x="89" y="153"/>
                  </a:cubicBezTo>
                  <a:cubicBezTo>
                    <a:pt x="91" y="154"/>
                    <a:pt x="93" y="151"/>
                    <a:pt x="96" y="151"/>
                  </a:cubicBezTo>
                  <a:cubicBezTo>
                    <a:pt x="99" y="151"/>
                    <a:pt x="103" y="151"/>
                    <a:pt x="106" y="153"/>
                  </a:cubicBezTo>
                  <a:cubicBezTo>
                    <a:pt x="109" y="154"/>
                    <a:pt x="111" y="157"/>
                    <a:pt x="114" y="159"/>
                  </a:cubicBezTo>
                  <a:cubicBezTo>
                    <a:pt x="116" y="159"/>
                    <a:pt x="118" y="159"/>
                    <a:pt x="120" y="158"/>
                  </a:cubicBezTo>
                  <a:cubicBezTo>
                    <a:pt x="123" y="157"/>
                    <a:pt x="125" y="153"/>
                    <a:pt x="128" y="152"/>
                  </a:cubicBezTo>
                  <a:cubicBezTo>
                    <a:pt x="131" y="150"/>
                    <a:pt x="136" y="150"/>
                    <a:pt x="140" y="151"/>
                  </a:cubicBezTo>
                  <a:cubicBezTo>
                    <a:pt x="144" y="151"/>
                    <a:pt x="148" y="153"/>
                    <a:pt x="153" y="153"/>
                  </a:cubicBezTo>
                  <a:cubicBezTo>
                    <a:pt x="155" y="153"/>
                    <a:pt x="157" y="152"/>
                    <a:pt x="159" y="151"/>
                  </a:cubicBezTo>
                  <a:cubicBezTo>
                    <a:pt x="160" y="150"/>
                    <a:pt x="162" y="148"/>
                    <a:pt x="164" y="147"/>
                  </a:cubicBezTo>
                  <a:cubicBezTo>
                    <a:pt x="166" y="146"/>
                    <a:pt x="169" y="146"/>
                    <a:pt x="171" y="14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" name="Freeform 63"/>
            <p:cNvSpPr>
              <a:spLocks noChangeAspect="1"/>
            </p:cNvSpPr>
            <p:nvPr/>
          </p:nvSpPr>
          <p:spPr bwMode="auto">
            <a:xfrm>
              <a:off x="4330700" y="3144838"/>
              <a:ext cx="492125" cy="530225"/>
            </a:xfrm>
            <a:custGeom>
              <a:avLst/>
              <a:gdLst>
                <a:gd name="T0" fmla="*/ 341436 w 258"/>
                <a:gd name="T1" fmla="*/ 513059 h 278"/>
                <a:gd name="T2" fmla="*/ 288027 w 258"/>
                <a:gd name="T3" fmla="*/ 530225 h 278"/>
                <a:gd name="T4" fmla="*/ 284212 w 258"/>
                <a:gd name="T5" fmla="*/ 507338 h 278"/>
                <a:gd name="T6" fmla="*/ 255600 w 258"/>
                <a:gd name="T7" fmla="*/ 495894 h 278"/>
                <a:gd name="T8" fmla="*/ 236525 w 258"/>
                <a:gd name="T9" fmla="*/ 482543 h 278"/>
                <a:gd name="T10" fmla="*/ 91558 w 258"/>
                <a:gd name="T11" fmla="*/ 356662 h 278"/>
                <a:gd name="T12" fmla="*/ 0 w 258"/>
                <a:gd name="T13" fmla="*/ 280371 h 278"/>
                <a:gd name="T14" fmla="*/ 19075 w 258"/>
                <a:gd name="T15" fmla="*/ 236503 h 278"/>
                <a:gd name="T16" fmla="*/ 47687 w 258"/>
                <a:gd name="T17" fmla="*/ 223152 h 278"/>
                <a:gd name="T18" fmla="*/ 68669 w 258"/>
                <a:gd name="T19" fmla="*/ 217430 h 278"/>
                <a:gd name="T20" fmla="*/ 95373 w 258"/>
                <a:gd name="T21" fmla="*/ 196450 h 278"/>
                <a:gd name="T22" fmla="*/ 123985 w 258"/>
                <a:gd name="T23" fmla="*/ 183099 h 278"/>
                <a:gd name="T24" fmla="*/ 122078 w 258"/>
                <a:gd name="T25" fmla="*/ 164026 h 278"/>
                <a:gd name="T26" fmla="*/ 162134 w 258"/>
                <a:gd name="T27" fmla="*/ 154490 h 278"/>
                <a:gd name="T28" fmla="*/ 179301 w 258"/>
                <a:gd name="T29" fmla="*/ 139232 h 278"/>
                <a:gd name="T30" fmla="*/ 171671 w 258"/>
                <a:gd name="T31" fmla="*/ 123973 h 278"/>
                <a:gd name="T32" fmla="*/ 167857 w 258"/>
                <a:gd name="T33" fmla="*/ 95364 h 278"/>
                <a:gd name="T34" fmla="*/ 156412 w 258"/>
                <a:gd name="T35" fmla="*/ 59126 h 278"/>
                <a:gd name="T36" fmla="*/ 177394 w 258"/>
                <a:gd name="T37" fmla="*/ 43868 h 278"/>
                <a:gd name="T38" fmla="*/ 204098 w 258"/>
                <a:gd name="T39" fmla="*/ 34331 h 278"/>
                <a:gd name="T40" fmla="*/ 238433 w 258"/>
                <a:gd name="T41" fmla="*/ 13351 h 278"/>
                <a:gd name="T42" fmla="*/ 288027 w 258"/>
                <a:gd name="T43" fmla="*/ 5722 h 278"/>
                <a:gd name="T44" fmla="*/ 326176 w 258"/>
                <a:gd name="T45" fmla="*/ 7629 h 278"/>
                <a:gd name="T46" fmla="*/ 343343 w 258"/>
                <a:gd name="T47" fmla="*/ 5722 h 278"/>
                <a:gd name="T48" fmla="*/ 366233 w 258"/>
                <a:gd name="T49" fmla="*/ 0 h 278"/>
                <a:gd name="T50" fmla="*/ 381492 w 258"/>
                <a:gd name="T51" fmla="*/ 0 h 278"/>
                <a:gd name="T52" fmla="*/ 408197 w 258"/>
                <a:gd name="T53" fmla="*/ 3815 h 278"/>
                <a:gd name="T54" fmla="*/ 402474 w 258"/>
                <a:gd name="T55" fmla="*/ 15258 h 278"/>
                <a:gd name="T56" fmla="*/ 404382 w 258"/>
                <a:gd name="T57" fmla="*/ 26702 h 278"/>
                <a:gd name="T58" fmla="*/ 404382 w 258"/>
                <a:gd name="T59" fmla="*/ 55311 h 278"/>
                <a:gd name="T60" fmla="*/ 392937 w 258"/>
                <a:gd name="T61" fmla="*/ 80106 h 278"/>
                <a:gd name="T62" fmla="*/ 383400 w 258"/>
                <a:gd name="T63" fmla="*/ 101086 h 278"/>
                <a:gd name="T64" fmla="*/ 402474 w 258"/>
                <a:gd name="T65" fmla="*/ 125881 h 278"/>
                <a:gd name="T66" fmla="*/ 412012 w 258"/>
                <a:gd name="T67" fmla="*/ 144954 h 278"/>
                <a:gd name="T68" fmla="*/ 431086 w 258"/>
                <a:gd name="T69" fmla="*/ 204079 h 278"/>
                <a:gd name="T70" fmla="*/ 440623 w 258"/>
                <a:gd name="T71" fmla="*/ 247947 h 278"/>
                <a:gd name="T72" fmla="*/ 444438 w 258"/>
                <a:gd name="T73" fmla="*/ 312795 h 278"/>
                <a:gd name="T74" fmla="*/ 448253 w 258"/>
                <a:gd name="T75" fmla="*/ 356662 h 278"/>
                <a:gd name="T76" fmla="*/ 465420 w 258"/>
                <a:gd name="T77" fmla="*/ 375735 h 278"/>
                <a:gd name="T78" fmla="*/ 478773 w 258"/>
                <a:gd name="T79" fmla="*/ 390993 h 27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58"/>
                <a:gd name="T121" fmla="*/ 0 h 278"/>
                <a:gd name="T122" fmla="*/ 258 w 258"/>
                <a:gd name="T123" fmla="*/ 278 h 27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58" h="278">
                  <a:moveTo>
                    <a:pt x="258" y="210"/>
                  </a:moveTo>
                  <a:lnTo>
                    <a:pt x="179" y="269"/>
                  </a:lnTo>
                  <a:lnTo>
                    <a:pt x="163" y="275"/>
                  </a:lnTo>
                  <a:cubicBezTo>
                    <a:pt x="159" y="276"/>
                    <a:pt x="156" y="278"/>
                    <a:pt x="151" y="278"/>
                  </a:cubicBezTo>
                  <a:cubicBezTo>
                    <a:pt x="150" y="278"/>
                    <a:pt x="148" y="278"/>
                    <a:pt x="148" y="277"/>
                  </a:cubicBezTo>
                  <a:cubicBezTo>
                    <a:pt x="147" y="273"/>
                    <a:pt x="150" y="269"/>
                    <a:pt x="149" y="266"/>
                  </a:cubicBezTo>
                  <a:cubicBezTo>
                    <a:pt x="147" y="263"/>
                    <a:pt x="143" y="262"/>
                    <a:pt x="140" y="261"/>
                  </a:cubicBezTo>
                  <a:cubicBezTo>
                    <a:pt x="138" y="260"/>
                    <a:pt x="136" y="261"/>
                    <a:pt x="134" y="260"/>
                  </a:cubicBezTo>
                  <a:cubicBezTo>
                    <a:pt x="132" y="259"/>
                    <a:pt x="131" y="257"/>
                    <a:pt x="130" y="255"/>
                  </a:cubicBezTo>
                  <a:cubicBezTo>
                    <a:pt x="128" y="254"/>
                    <a:pt x="125" y="255"/>
                    <a:pt x="124" y="253"/>
                  </a:cubicBezTo>
                  <a:cubicBezTo>
                    <a:pt x="123" y="251"/>
                    <a:pt x="124" y="249"/>
                    <a:pt x="124" y="246"/>
                  </a:cubicBezTo>
                  <a:lnTo>
                    <a:pt x="48" y="187"/>
                  </a:lnTo>
                  <a:lnTo>
                    <a:pt x="0" y="152"/>
                  </a:lnTo>
                  <a:lnTo>
                    <a:pt x="0" y="147"/>
                  </a:lnTo>
                  <a:lnTo>
                    <a:pt x="0" y="132"/>
                  </a:lnTo>
                  <a:cubicBezTo>
                    <a:pt x="0" y="129"/>
                    <a:pt x="7" y="127"/>
                    <a:pt x="10" y="124"/>
                  </a:cubicBezTo>
                  <a:cubicBezTo>
                    <a:pt x="12" y="122"/>
                    <a:pt x="15" y="120"/>
                    <a:pt x="18" y="119"/>
                  </a:cubicBezTo>
                  <a:cubicBezTo>
                    <a:pt x="20" y="118"/>
                    <a:pt x="23" y="119"/>
                    <a:pt x="25" y="117"/>
                  </a:cubicBezTo>
                  <a:cubicBezTo>
                    <a:pt x="26" y="117"/>
                    <a:pt x="26" y="114"/>
                    <a:pt x="28" y="114"/>
                  </a:cubicBezTo>
                  <a:cubicBezTo>
                    <a:pt x="30" y="113"/>
                    <a:pt x="33" y="114"/>
                    <a:pt x="36" y="114"/>
                  </a:cubicBezTo>
                  <a:cubicBezTo>
                    <a:pt x="39" y="113"/>
                    <a:pt x="42" y="113"/>
                    <a:pt x="44" y="112"/>
                  </a:cubicBezTo>
                  <a:cubicBezTo>
                    <a:pt x="47" y="109"/>
                    <a:pt x="47" y="105"/>
                    <a:pt x="50" y="103"/>
                  </a:cubicBezTo>
                  <a:cubicBezTo>
                    <a:pt x="53" y="100"/>
                    <a:pt x="58" y="101"/>
                    <a:pt x="62" y="100"/>
                  </a:cubicBezTo>
                  <a:cubicBezTo>
                    <a:pt x="64" y="99"/>
                    <a:pt x="65" y="97"/>
                    <a:pt x="65" y="96"/>
                  </a:cubicBezTo>
                  <a:cubicBezTo>
                    <a:pt x="64" y="94"/>
                    <a:pt x="60" y="94"/>
                    <a:pt x="60" y="92"/>
                  </a:cubicBezTo>
                  <a:cubicBezTo>
                    <a:pt x="60" y="90"/>
                    <a:pt x="62" y="87"/>
                    <a:pt x="64" y="86"/>
                  </a:cubicBezTo>
                  <a:cubicBezTo>
                    <a:pt x="67" y="84"/>
                    <a:pt x="70" y="84"/>
                    <a:pt x="73" y="84"/>
                  </a:cubicBezTo>
                  <a:cubicBezTo>
                    <a:pt x="77" y="83"/>
                    <a:pt x="81" y="81"/>
                    <a:pt x="85" y="81"/>
                  </a:cubicBezTo>
                  <a:cubicBezTo>
                    <a:pt x="87" y="80"/>
                    <a:pt x="89" y="81"/>
                    <a:pt x="91" y="80"/>
                  </a:cubicBezTo>
                  <a:cubicBezTo>
                    <a:pt x="92" y="78"/>
                    <a:pt x="94" y="76"/>
                    <a:pt x="94" y="73"/>
                  </a:cubicBezTo>
                  <a:cubicBezTo>
                    <a:pt x="94" y="71"/>
                    <a:pt x="91" y="71"/>
                    <a:pt x="90" y="69"/>
                  </a:cubicBezTo>
                  <a:cubicBezTo>
                    <a:pt x="90" y="68"/>
                    <a:pt x="91" y="66"/>
                    <a:pt x="90" y="65"/>
                  </a:cubicBezTo>
                  <a:cubicBezTo>
                    <a:pt x="90" y="63"/>
                    <a:pt x="88" y="63"/>
                    <a:pt x="87" y="61"/>
                  </a:cubicBezTo>
                  <a:cubicBezTo>
                    <a:pt x="87" y="58"/>
                    <a:pt x="88" y="54"/>
                    <a:pt x="88" y="50"/>
                  </a:cubicBezTo>
                  <a:cubicBezTo>
                    <a:pt x="88" y="46"/>
                    <a:pt x="88" y="41"/>
                    <a:pt x="87" y="37"/>
                  </a:cubicBezTo>
                  <a:cubicBezTo>
                    <a:pt x="86" y="35"/>
                    <a:pt x="84" y="33"/>
                    <a:pt x="82" y="31"/>
                  </a:cubicBezTo>
                  <a:cubicBezTo>
                    <a:pt x="85" y="31"/>
                    <a:pt x="87" y="31"/>
                    <a:pt x="89" y="29"/>
                  </a:cubicBezTo>
                  <a:cubicBezTo>
                    <a:pt x="91" y="28"/>
                    <a:pt x="91" y="24"/>
                    <a:pt x="93" y="23"/>
                  </a:cubicBezTo>
                  <a:cubicBezTo>
                    <a:pt x="95" y="21"/>
                    <a:pt x="97" y="20"/>
                    <a:pt x="100" y="19"/>
                  </a:cubicBezTo>
                  <a:cubicBezTo>
                    <a:pt x="102" y="19"/>
                    <a:pt x="105" y="19"/>
                    <a:pt x="107" y="18"/>
                  </a:cubicBezTo>
                  <a:cubicBezTo>
                    <a:pt x="110" y="16"/>
                    <a:pt x="111" y="13"/>
                    <a:pt x="114" y="11"/>
                  </a:cubicBezTo>
                  <a:cubicBezTo>
                    <a:pt x="118" y="9"/>
                    <a:pt x="121" y="8"/>
                    <a:pt x="125" y="7"/>
                  </a:cubicBezTo>
                  <a:cubicBezTo>
                    <a:pt x="128" y="6"/>
                    <a:pt x="132" y="6"/>
                    <a:pt x="135" y="5"/>
                  </a:cubicBezTo>
                  <a:cubicBezTo>
                    <a:pt x="140" y="5"/>
                    <a:pt x="145" y="4"/>
                    <a:pt x="151" y="3"/>
                  </a:cubicBezTo>
                  <a:cubicBezTo>
                    <a:pt x="156" y="3"/>
                    <a:pt x="161" y="2"/>
                    <a:pt x="166" y="2"/>
                  </a:cubicBezTo>
                  <a:cubicBezTo>
                    <a:pt x="168" y="2"/>
                    <a:pt x="169" y="3"/>
                    <a:pt x="171" y="4"/>
                  </a:cubicBezTo>
                  <a:cubicBezTo>
                    <a:pt x="173" y="4"/>
                    <a:pt x="174" y="6"/>
                    <a:pt x="175" y="6"/>
                  </a:cubicBezTo>
                  <a:cubicBezTo>
                    <a:pt x="177" y="6"/>
                    <a:pt x="178" y="4"/>
                    <a:pt x="180" y="3"/>
                  </a:cubicBezTo>
                  <a:cubicBezTo>
                    <a:pt x="182" y="2"/>
                    <a:pt x="185" y="2"/>
                    <a:pt x="187" y="1"/>
                  </a:cubicBezTo>
                  <a:cubicBezTo>
                    <a:pt x="189" y="1"/>
                    <a:pt x="190" y="0"/>
                    <a:pt x="192" y="0"/>
                  </a:cubicBezTo>
                  <a:cubicBezTo>
                    <a:pt x="193" y="1"/>
                    <a:pt x="194" y="2"/>
                    <a:pt x="195" y="2"/>
                  </a:cubicBezTo>
                  <a:cubicBezTo>
                    <a:pt x="197" y="2"/>
                    <a:pt x="198" y="0"/>
                    <a:pt x="200" y="0"/>
                  </a:cubicBezTo>
                  <a:cubicBezTo>
                    <a:pt x="202" y="0"/>
                    <a:pt x="205" y="3"/>
                    <a:pt x="207" y="2"/>
                  </a:cubicBezTo>
                  <a:lnTo>
                    <a:pt x="214" y="2"/>
                  </a:lnTo>
                  <a:cubicBezTo>
                    <a:pt x="214" y="2"/>
                    <a:pt x="214" y="4"/>
                    <a:pt x="214" y="5"/>
                  </a:cubicBezTo>
                  <a:cubicBezTo>
                    <a:pt x="213" y="6"/>
                    <a:pt x="212" y="7"/>
                    <a:pt x="211" y="8"/>
                  </a:cubicBezTo>
                  <a:cubicBezTo>
                    <a:pt x="211" y="9"/>
                    <a:pt x="209" y="9"/>
                    <a:pt x="209" y="10"/>
                  </a:cubicBezTo>
                  <a:cubicBezTo>
                    <a:pt x="209" y="11"/>
                    <a:pt x="211" y="12"/>
                    <a:pt x="212" y="14"/>
                  </a:cubicBezTo>
                  <a:cubicBezTo>
                    <a:pt x="212" y="16"/>
                    <a:pt x="211" y="17"/>
                    <a:pt x="211" y="18"/>
                  </a:cubicBezTo>
                  <a:cubicBezTo>
                    <a:pt x="211" y="22"/>
                    <a:pt x="212" y="25"/>
                    <a:pt x="212" y="29"/>
                  </a:cubicBezTo>
                  <a:cubicBezTo>
                    <a:pt x="212" y="32"/>
                    <a:pt x="212" y="36"/>
                    <a:pt x="210" y="38"/>
                  </a:cubicBezTo>
                  <a:cubicBezTo>
                    <a:pt x="210" y="40"/>
                    <a:pt x="207" y="41"/>
                    <a:pt x="206" y="42"/>
                  </a:cubicBezTo>
                  <a:cubicBezTo>
                    <a:pt x="204" y="44"/>
                    <a:pt x="202" y="46"/>
                    <a:pt x="201" y="48"/>
                  </a:cubicBezTo>
                  <a:cubicBezTo>
                    <a:pt x="200" y="50"/>
                    <a:pt x="200" y="52"/>
                    <a:pt x="201" y="53"/>
                  </a:cubicBezTo>
                  <a:cubicBezTo>
                    <a:pt x="201" y="56"/>
                    <a:pt x="202" y="59"/>
                    <a:pt x="204" y="61"/>
                  </a:cubicBezTo>
                  <a:cubicBezTo>
                    <a:pt x="206" y="63"/>
                    <a:pt x="209" y="64"/>
                    <a:pt x="211" y="66"/>
                  </a:cubicBezTo>
                  <a:cubicBezTo>
                    <a:pt x="212" y="68"/>
                    <a:pt x="210" y="70"/>
                    <a:pt x="211" y="72"/>
                  </a:cubicBezTo>
                  <a:cubicBezTo>
                    <a:pt x="212" y="74"/>
                    <a:pt x="214" y="75"/>
                    <a:pt x="216" y="76"/>
                  </a:cubicBezTo>
                  <a:cubicBezTo>
                    <a:pt x="217" y="77"/>
                    <a:pt x="220" y="77"/>
                    <a:pt x="221" y="78"/>
                  </a:cubicBezTo>
                  <a:lnTo>
                    <a:pt x="226" y="107"/>
                  </a:lnTo>
                  <a:cubicBezTo>
                    <a:pt x="225" y="107"/>
                    <a:pt x="223" y="107"/>
                    <a:pt x="223" y="109"/>
                  </a:cubicBezTo>
                  <a:cubicBezTo>
                    <a:pt x="225" y="116"/>
                    <a:pt x="230" y="123"/>
                    <a:pt x="231" y="130"/>
                  </a:cubicBezTo>
                  <a:cubicBezTo>
                    <a:pt x="232" y="136"/>
                    <a:pt x="229" y="143"/>
                    <a:pt x="230" y="149"/>
                  </a:cubicBezTo>
                  <a:cubicBezTo>
                    <a:pt x="230" y="154"/>
                    <a:pt x="234" y="159"/>
                    <a:pt x="233" y="164"/>
                  </a:cubicBezTo>
                  <a:cubicBezTo>
                    <a:pt x="232" y="167"/>
                    <a:pt x="225" y="166"/>
                    <a:pt x="226" y="169"/>
                  </a:cubicBezTo>
                  <a:cubicBezTo>
                    <a:pt x="226" y="176"/>
                    <a:pt x="233" y="181"/>
                    <a:pt x="235" y="187"/>
                  </a:cubicBezTo>
                  <a:cubicBezTo>
                    <a:pt x="236" y="190"/>
                    <a:pt x="234" y="195"/>
                    <a:pt x="236" y="198"/>
                  </a:cubicBezTo>
                  <a:cubicBezTo>
                    <a:pt x="238" y="200"/>
                    <a:pt x="242" y="197"/>
                    <a:pt x="244" y="197"/>
                  </a:cubicBezTo>
                  <a:cubicBezTo>
                    <a:pt x="248" y="198"/>
                    <a:pt x="252" y="199"/>
                    <a:pt x="254" y="202"/>
                  </a:cubicBezTo>
                  <a:cubicBezTo>
                    <a:pt x="255" y="203"/>
                    <a:pt x="251" y="204"/>
                    <a:pt x="251" y="205"/>
                  </a:cubicBezTo>
                  <a:cubicBezTo>
                    <a:pt x="252" y="208"/>
                    <a:pt x="256" y="209"/>
                    <a:pt x="258" y="21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" name="Freeform 64"/>
            <p:cNvSpPr>
              <a:spLocks noChangeAspect="1"/>
            </p:cNvSpPr>
            <p:nvPr/>
          </p:nvSpPr>
          <p:spPr bwMode="auto">
            <a:xfrm>
              <a:off x="4713288" y="3136900"/>
              <a:ext cx="100012" cy="211138"/>
            </a:xfrm>
            <a:custGeom>
              <a:avLst/>
              <a:gdLst>
                <a:gd name="T0" fmla="*/ 49062 w 53"/>
                <a:gd name="T1" fmla="*/ 211138 h 111"/>
                <a:gd name="T2" fmla="*/ 62272 w 53"/>
                <a:gd name="T3" fmla="*/ 203529 h 111"/>
                <a:gd name="T4" fmla="*/ 66046 w 53"/>
                <a:gd name="T5" fmla="*/ 192117 h 111"/>
                <a:gd name="T6" fmla="*/ 62272 w 53"/>
                <a:gd name="T7" fmla="*/ 171193 h 111"/>
                <a:gd name="T8" fmla="*/ 71707 w 53"/>
                <a:gd name="T9" fmla="*/ 165487 h 111"/>
                <a:gd name="T10" fmla="*/ 83029 w 53"/>
                <a:gd name="T11" fmla="*/ 154074 h 111"/>
                <a:gd name="T12" fmla="*/ 98125 w 53"/>
                <a:gd name="T13" fmla="*/ 144563 h 111"/>
                <a:gd name="T14" fmla="*/ 94351 w 53"/>
                <a:gd name="T15" fmla="*/ 138857 h 111"/>
                <a:gd name="T16" fmla="*/ 96238 w 53"/>
                <a:gd name="T17" fmla="*/ 123639 h 111"/>
                <a:gd name="T18" fmla="*/ 71707 w 53"/>
                <a:gd name="T19" fmla="*/ 110324 h 111"/>
                <a:gd name="T20" fmla="*/ 64159 w 53"/>
                <a:gd name="T21" fmla="*/ 104618 h 111"/>
                <a:gd name="T22" fmla="*/ 60385 w 53"/>
                <a:gd name="T23" fmla="*/ 91303 h 111"/>
                <a:gd name="T24" fmla="*/ 73594 w 53"/>
                <a:gd name="T25" fmla="*/ 85596 h 111"/>
                <a:gd name="T26" fmla="*/ 83029 w 53"/>
                <a:gd name="T27" fmla="*/ 66575 h 111"/>
                <a:gd name="T28" fmla="*/ 83029 w 53"/>
                <a:gd name="T29" fmla="*/ 47554 h 111"/>
                <a:gd name="T30" fmla="*/ 71707 w 53"/>
                <a:gd name="T31" fmla="*/ 39945 h 111"/>
                <a:gd name="T32" fmla="*/ 69820 w 53"/>
                <a:gd name="T33" fmla="*/ 32336 h 111"/>
                <a:gd name="T34" fmla="*/ 79255 w 53"/>
                <a:gd name="T35" fmla="*/ 26630 h 111"/>
                <a:gd name="T36" fmla="*/ 84916 w 53"/>
                <a:gd name="T37" fmla="*/ 15217 h 111"/>
                <a:gd name="T38" fmla="*/ 83029 w 53"/>
                <a:gd name="T39" fmla="*/ 7609 h 111"/>
                <a:gd name="T40" fmla="*/ 73594 w 53"/>
                <a:gd name="T41" fmla="*/ 17119 h 111"/>
                <a:gd name="T42" fmla="*/ 64159 w 53"/>
                <a:gd name="T43" fmla="*/ 15217 h 111"/>
                <a:gd name="T44" fmla="*/ 67933 w 53"/>
                <a:gd name="T45" fmla="*/ 5706 h 111"/>
                <a:gd name="T46" fmla="*/ 56611 w 53"/>
                <a:gd name="T47" fmla="*/ 1902 h 111"/>
                <a:gd name="T48" fmla="*/ 41514 w 53"/>
                <a:gd name="T49" fmla="*/ 1902 h 111"/>
                <a:gd name="T50" fmla="*/ 26418 w 53"/>
                <a:gd name="T51" fmla="*/ 11413 h 111"/>
                <a:gd name="T52" fmla="*/ 26418 w 53"/>
                <a:gd name="T53" fmla="*/ 17119 h 111"/>
                <a:gd name="T54" fmla="*/ 20757 w 53"/>
                <a:gd name="T55" fmla="*/ 22826 h 111"/>
                <a:gd name="T56" fmla="*/ 16983 w 53"/>
                <a:gd name="T57" fmla="*/ 26630 h 111"/>
                <a:gd name="T58" fmla="*/ 22644 w 53"/>
                <a:gd name="T59" fmla="*/ 34239 h 111"/>
                <a:gd name="T60" fmla="*/ 20757 w 53"/>
                <a:gd name="T61" fmla="*/ 41847 h 111"/>
                <a:gd name="T62" fmla="*/ 22644 w 53"/>
                <a:gd name="T63" fmla="*/ 62771 h 111"/>
                <a:gd name="T64" fmla="*/ 18870 w 53"/>
                <a:gd name="T65" fmla="*/ 79890 h 111"/>
                <a:gd name="T66" fmla="*/ 11322 w 53"/>
                <a:gd name="T67" fmla="*/ 87499 h 111"/>
                <a:gd name="T68" fmla="*/ 1887 w 53"/>
                <a:gd name="T69" fmla="*/ 98911 h 111"/>
                <a:gd name="T70" fmla="*/ 1887 w 53"/>
                <a:gd name="T71" fmla="*/ 108422 h 111"/>
                <a:gd name="T72" fmla="*/ 7548 w 53"/>
                <a:gd name="T73" fmla="*/ 123639 h 111"/>
                <a:gd name="T74" fmla="*/ 20757 w 53"/>
                <a:gd name="T75" fmla="*/ 133150 h 111"/>
                <a:gd name="T76" fmla="*/ 20757 w 53"/>
                <a:gd name="T77" fmla="*/ 144563 h 111"/>
                <a:gd name="T78" fmla="*/ 30192 w 53"/>
                <a:gd name="T79" fmla="*/ 152172 h 111"/>
                <a:gd name="T80" fmla="*/ 39627 w 53"/>
                <a:gd name="T81" fmla="*/ 155976 h 111"/>
                <a:gd name="T82" fmla="*/ 49062 w 53"/>
                <a:gd name="T83" fmla="*/ 211138 h 11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3"/>
                <a:gd name="T127" fmla="*/ 0 h 111"/>
                <a:gd name="T128" fmla="*/ 53 w 53"/>
                <a:gd name="T129" fmla="*/ 111 h 11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3" h="111">
                  <a:moveTo>
                    <a:pt x="26" y="111"/>
                  </a:moveTo>
                  <a:cubicBezTo>
                    <a:pt x="28" y="110"/>
                    <a:pt x="31" y="109"/>
                    <a:pt x="33" y="107"/>
                  </a:cubicBezTo>
                  <a:cubicBezTo>
                    <a:pt x="34" y="105"/>
                    <a:pt x="35" y="103"/>
                    <a:pt x="35" y="101"/>
                  </a:cubicBezTo>
                  <a:cubicBezTo>
                    <a:pt x="35" y="97"/>
                    <a:pt x="33" y="94"/>
                    <a:pt x="33" y="90"/>
                  </a:cubicBezTo>
                  <a:cubicBezTo>
                    <a:pt x="34" y="88"/>
                    <a:pt x="37" y="89"/>
                    <a:pt x="38" y="87"/>
                  </a:cubicBezTo>
                  <a:cubicBezTo>
                    <a:pt x="40" y="86"/>
                    <a:pt x="42" y="83"/>
                    <a:pt x="44" y="81"/>
                  </a:cubicBezTo>
                  <a:cubicBezTo>
                    <a:pt x="46" y="79"/>
                    <a:pt x="50" y="78"/>
                    <a:pt x="52" y="76"/>
                  </a:cubicBezTo>
                  <a:cubicBezTo>
                    <a:pt x="53" y="75"/>
                    <a:pt x="50" y="74"/>
                    <a:pt x="50" y="73"/>
                  </a:cubicBezTo>
                  <a:cubicBezTo>
                    <a:pt x="49" y="70"/>
                    <a:pt x="50" y="67"/>
                    <a:pt x="51" y="65"/>
                  </a:cubicBezTo>
                  <a:cubicBezTo>
                    <a:pt x="47" y="63"/>
                    <a:pt x="42" y="61"/>
                    <a:pt x="38" y="58"/>
                  </a:cubicBezTo>
                  <a:cubicBezTo>
                    <a:pt x="37" y="58"/>
                    <a:pt x="35" y="57"/>
                    <a:pt x="34" y="55"/>
                  </a:cubicBezTo>
                  <a:cubicBezTo>
                    <a:pt x="33" y="53"/>
                    <a:pt x="31" y="51"/>
                    <a:pt x="32" y="48"/>
                  </a:cubicBezTo>
                  <a:cubicBezTo>
                    <a:pt x="33" y="46"/>
                    <a:pt x="37" y="47"/>
                    <a:pt x="39" y="45"/>
                  </a:cubicBezTo>
                  <a:cubicBezTo>
                    <a:pt x="41" y="42"/>
                    <a:pt x="43" y="39"/>
                    <a:pt x="44" y="35"/>
                  </a:cubicBezTo>
                  <a:cubicBezTo>
                    <a:pt x="45" y="32"/>
                    <a:pt x="46" y="28"/>
                    <a:pt x="44" y="25"/>
                  </a:cubicBezTo>
                  <a:cubicBezTo>
                    <a:pt x="43" y="22"/>
                    <a:pt x="39" y="23"/>
                    <a:pt x="38" y="21"/>
                  </a:cubicBezTo>
                  <a:cubicBezTo>
                    <a:pt x="36" y="20"/>
                    <a:pt x="36" y="18"/>
                    <a:pt x="37" y="17"/>
                  </a:cubicBezTo>
                  <a:cubicBezTo>
                    <a:pt x="38" y="15"/>
                    <a:pt x="41" y="15"/>
                    <a:pt x="42" y="14"/>
                  </a:cubicBezTo>
                  <a:cubicBezTo>
                    <a:pt x="43" y="12"/>
                    <a:pt x="45" y="10"/>
                    <a:pt x="45" y="8"/>
                  </a:cubicBezTo>
                  <a:cubicBezTo>
                    <a:pt x="45" y="7"/>
                    <a:pt x="46" y="3"/>
                    <a:pt x="44" y="4"/>
                  </a:cubicBezTo>
                  <a:cubicBezTo>
                    <a:pt x="42" y="4"/>
                    <a:pt x="41" y="8"/>
                    <a:pt x="39" y="9"/>
                  </a:cubicBezTo>
                  <a:cubicBezTo>
                    <a:pt x="38" y="10"/>
                    <a:pt x="35" y="10"/>
                    <a:pt x="34" y="8"/>
                  </a:cubicBezTo>
                  <a:cubicBezTo>
                    <a:pt x="33" y="7"/>
                    <a:pt x="37" y="5"/>
                    <a:pt x="36" y="3"/>
                  </a:cubicBezTo>
                  <a:cubicBezTo>
                    <a:pt x="35" y="1"/>
                    <a:pt x="32" y="2"/>
                    <a:pt x="30" y="1"/>
                  </a:cubicBezTo>
                  <a:cubicBezTo>
                    <a:pt x="27" y="1"/>
                    <a:pt x="25" y="0"/>
                    <a:pt x="22" y="1"/>
                  </a:cubicBezTo>
                  <a:cubicBezTo>
                    <a:pt x="19" y="2"/>
                    <a:pt x="17" y="4"/>
                    <a:pt x="14" y="6"/>
                  </a:cubicBezTo>
                  <a:cubicBezTo>
                    <a:pt x="14" y="6"/>
                    <a:pt x="14" y="8"/>
                    <a:pt x="14" y="9"/>
                  </a:cubicBezTo>
                  <a:cubicBezTo>
                    <a:pt x="13" y="10"/>
                    <a:pt x="12" y="11"/>
                    <a:pt x="11" y="12"/>
                  </a:cubicBezTo>
                  <a:cubicBezTo>
                    <a:pt x="11" y="13"/>
                    <a:pt x="9" y="13"/>
                    <a:pt x="9" y="14"/>
                  </a:cubicBezTo>
                  <a:cubicBezTo>
                    <a:pt x="9" y="15"/>
                    <a:pt x="11" y="16"/>
                    <a:pt x="12" y="18"/>
                  </a:cubicBezTo>
                  <a:cubicBezTo>
                    <a:pt x="12" y="20"/>
                    <a:pt x="11" y="21"/>
                    <a:pt x="11" y="22"/>
                  </a:cubicBezTo>
                  <a:cubicBezTo>
                    <a:pt x="11" y="26"/>
                    <a:pt x="12" y="29"/>
                    <a:pt x="12" y="33"/>
                  </a:cubicBezTo>
                  <a:cubicBezTo>
                    <a:pt x="12" y="36"/>
                    <a:pt x="12" y="40"/>
                    <a:pt x="10" y="42"/>
                  </a:cubicBezTo>
                  <a:cubicBezTo>
                    <a:pt x="10" y="44"/>
                    <a:pt x="7" y="45"/>
                    <a:pt x="6" y="46"/>
                  </a:cubicBezTo>
                  <a:cubicBezTo>
                    <a:pt x="4" y="48"/>
                    <a:pt x="2" y="50"/>
                    <a:pt x="1" y="52"/>
                  </a:cubicBezTo>
                  <a:cubicBezTo>
                    <a:pt x="0" y="54"/>
                    <a:pt x="0" y="56"/>
                    <a:pt x="1" y="57"/>
                  </a:cubicBezTo>
                  <a:cubicBezTo>
                    <a:pt x="1" y="60"/>
                    <a:pt x="2" y="63"/>
                    <a:pt x="4" y="65"/>
                  </a:cubicBezTo>
                  <a:cubicBezTo>
                    <a:pt x="6" y="67"/>
                    <a:pt x="9" y="68"/>
                    <a:pt x="11" y="70"/>
                  </a:cubicBezTo>
                  <a:cubicBezTo>
                    <a:pt x="12" y="72"/>
                    <a:pt x="10" y="74"/>
                    <a:pt x="11" y="76"/>
                  </a:cubicBezTo>
                  <a:cubicBezTo>
                    <a:pt x="12" y="78"/>
                    <a:pt x="14" y="79"/>
                    <a:pt x="16" y="80"/>
                  </a:cubicBezTo>
                  <a:cubicBezTo>
                    <a:pt x="17" y="81"/>
                    <a:pt x="20" y="81"/>
                    <a:pt x="21" y="82"/>
                  </a:cubicBezTo>
                  <a:lnTo>
                    <a:pt x="26" y="111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" name="Freeform 65"/>
            <p:cNvSpPr>
              <a:spLocks noChangeAspect="1"/>
            </p:cNvSpPr>
            <p:nvPr/>
          </p:nvSpPr>
          <p:spPr bwMode="auto">
            <a:xfrm>
              <a:off x="4756150" y="4135438"/>
              <a:ext cx="139700" cy="171450"/>
            </a:xfrm>
            <a:custGeom>
              <a:avLst/>
              <a:gdLst>
                <a:gd name="T0" fmla="*/ 109081 w 73"/>
                <a:gd name="T1" fmla="*/ 3810 h 90"/>
                <a:gd name="T2" fmla="*/ 95685 w 73"/>
                <a:gd name="T3" fmla="*/ 0 h 90"/>
                <a:gd name="T4" fmla="*/ 57411 w 73"/>
                <a:gd name="T5" fmla="*/ 0 h 90"/>
                <a:gd name="T6" fmla="*/ 55497 w 73"/>
                <a:gd name="T7" fmla="*/ 5715 h 90"/>
                <a:gd name="T8" fmla="*/ 57411 w 73"/>
                <a:gd name="T9" fmla="*/ 30480 h 90"/>
                <a:gd name="T10" fmla="*/ 51670 w 73"/>
                <a:gd name="T11" fmla="*/ 34290 h 90"/>
                <a:gd name="T12" fmla="*/ 17223 w 73"/>
                <a:gd name="T13" fmla="*/ 32385 h 90"/>
                <a:gd name="T14" fmla="*/ 15310 w 73"/>
                <a:gd name="T15" fmla="*/ 47625 h 90"/>
                <a:gd name="T16" fmla="*/ 11482 w 73"/>
                <a:gd name="T17" fmla="*/ 64770 h 90"/>
                <a:gd name="T18" fmla="*/ 5741 w 73"/>
                <a:gd name="T19" fmla="*/ 85725 h 90"/>
                <a:gd name="T20" fmla="*/ 0 w 73"/>
                <a:gd name="T21" fmla="*/ 81915 h 90"/>
                <a:gd name="T22" fmla="*/ 5741 w 73"/>
                <a:gd name="T23" fmla="*/ 99060 h 90"/>
                <a:gd name="T24" fmla="*/ 17223 w 73"/>
                <a:gd name="T25" fmla="*/ 108585 h 90"/>
                <a:gd name="T26" fmla="*/ 9568 w 73"/>
                <a:gd name="T27" fmla="*/ 110490 h 90"/>
                <a:gd name="T28" fmla="*/ 17223 w 73"/>
                <a:gd name="T29" fmla="*/ 118110 h 90"/>
                <a:gd name="T30" fmla="*/ 15310 w 73"/>
                <a:gd name="T31" fmla="*/ 125730 h 90"/>
                <a:gd name="T32" fmla="*/ 28705 w 73"/>
                <a:gd name="T33" fmla="*/ 133350 h 90"/>
                <a:gd name="T34" fmla="*/ 22964 w 73"/>
                <a:gd name="T35" fmla="*/ 135255 h 90"/>
                <a:gd name="T36" fmla="*/ 32533 w 73"/>
                <a:gd name="T37" fmla="*/ 146685 h 90"/>
                <a:gd name="T38" fmla="*/ 44015 w 73"/>
                <a:gd name="T39" fmla="*/ 163830 h 90"/>
                <a:gd name="T40" fmla="*/ 53584 w 73"/>
                <a:gd name="T41" fmla="*/ 171450 h 90"/>
                <a:gd name="T42" fmla="*/ 57411 w 73"/>
                <a:gd name="T43" fmla="*/ 161925 h 90"/>
                <a:gd name="T44" fmla="*/ 68893 w 73"/>
                <a:gd name="T45" fmla="*/ 163830 h 90"/>
                <a:gd name="T46" fmla="*/ 70807 w 73"/>
                <a:gd name="T47" fmla="*/ 150495 h 90"/>
                <a:gd name="T48" fmla="*/ 61238 w 73"/>
                <a:gd name="T49" fmla="*/ 140970 h 90"/>
                <a:gd name="T50" fmla="*/ 63152 w 73"/>
                <a:gd name="T51" fmla="*/ 127635 h 90"/>
                <a:gd name="T52" fmla="*/ 80375 w 73"/>
                <a:gd name="T53" fmla="*/ 129540 h 90"/>
                <a:gd name="T54" fmla="*/ 84203 w 73"/>
                <a:gd name="T55" fmla="*/ 116205 h 90"/>
                <a:gd name="T56" fmla="*/ 95685 w 73"/>
                <a:gd name="T57" fmla="*/ 125730 h 90"/>
                <a:gd name="T58" fmla="*/ 110995 w 73"/>
                <a:gd name="T59" fmla="*/ 123825 h 90"/>
                <a:gd name="T60" fmla="*/ 114822 w 73"/>
                <a:gd name="T61" fmla="*/ 129540 h 90"/>
                <a:gd name="T62" fmla="*/ 122477 w 73"/>
                <a:gd name="T63" fmla="*/ 129540 h 90"/>
                <a:gd name="T64" fmla="*/ 124390 w 73"/>
                <a:gd name="T65" fmla="*/ 112395 h 90"/>
                <a:gd name="T66" fmla="*/ 124390 w 73"/>
                <a:gd name="T67" fmla="*/ 93345 h 90"/>
                <a:gd name="T68" fmla="*/ 128218 w 73"/>
                <a:gd name="T69" fmla="*/ 80010 h 90"/>
                <a:gd name="T70" fmla="*/ 116736 w 73"/>
                <a:gd name="T71" fmla="*/ 76200 h 90"/>
                <a:gd name="T72" fmla="*/ 120563 w 73"/>
                <a:gd name="T73" fmla="*/ 55245 h 90"/>
                <a:gd name="T74" fmla="*/ 133959 w 73"/>
                <a:gd name="T75" fmla="*/ 47625 h 90"/>
                <a:gd name="T76" fmla="*/ 133959 w 73"/>
                <a:gd name="T77" fmla="*/ 28575 h 90"/>
                <a:gd name="T78" fmla="*/ 107167 w 73"/>
                <a:gd name="T79" fmla="*/ 26670 h 90"/>
                <a:gd name="T80" fmla="*/ 103340 w 73"/>
                <a:gd name="T81" fmla="*/ 17145 h 90"/>
                <a:gd name="T82" fmla="*/ 109081 w 73"/>
                <a:gd name="T83" fmla="*/ 3810 h 9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3"/>
                <a:gd name="T127" fmla="*/ 0 h 90"/>
                <a:gd name="T128" fmla="*/ 73 w 73"/>
                <a:gd name="T129" fmla="*/ 90 h 9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3" h="90">
                  <a:moveTo>
                    <a:pt x="57" y="2"/>
                  </a:moveTo>
                  <a:cubicBezTo>
                    <a:pt x="54" y="1"/>
                    <a:pt x="52" y="1"/>
                    <a:pt x="50" y="0"/>
                  </a:cubicBezTo>
                  <a:cubicBezTo>
                    <a:pt x="43" y="0"/>
                    <a:pt x="36" y="0"/>
                    <a:pt x="30" y="0"/>
                  </a:cubicBezTo>
                  <a:cubicBezTo>
                    <a:pt x="29" y="1"/>
                    <a:pt x="29" y="2"/>
                    <a:pt x="29" y="3"/>
                  </a:cubicBezTo>
                  <a:cubicBezTo>
                    <a:pt x="29" y="7"/>
                    <a:pt x="31" y="12"/>
                    <a:pt x="30" y="16"/>
                  </a:cubicBezTo>
                  <a:cubicBezTo>
                    <a:pt x="29" y="17"/>
                    <a:pt x="28" y="18"/>
                    <a:pt x="27" y="18"/>
                  </a:cubicBezTo>
                  <a:cubicBezTo>
                    <a:pt x="21" y="18"/>
                    <a:pt x="15" y="17"/>
                    <a:pt x="9" y="17"/>
                  </a:cubicBezTo>
                  <a:cubicBezTo>
                    <a:pt x="9" y="20"/>
                    <a:pt x="9" y="22"/>
                    <a:pt x="8" y="25"/>
                  </a:cubicBezTo>
                  <a:cubicBezTo>
                    <a:pt x="8" y="28"/>
                    <a:pt x="7" y="31"/>
                    <a:pt x="6" y="34"/>
                  </a:cubicBezTo>
                  <a:cubicBezTo>
                    <a:pt x="5" y="38"/>
                    <a:pt x="5" y="42"/>
                    <a:pt x="3" y="45"/>
                  </a:cubicBezTo>
                  <a:cubicBezTo>
                    <a:pt x="2" y="46"/>
                    <a:pt x="0" y="42"/>
                    <a:pt x="0" y="43"/>
                  </a:cubicBezTo>
                  <a:cubicBezTo>
                    <a:pt x="0" y="47"/>
                    <a:pt x="1" y="50"/>
                    <a:pt x="3" y="52"/>
                  </a:cubicBezTo>
                  <a:cubicBezTo>
                    <a:pt x="4" y="54"/>
                    <a:pt x="8" y="55"/>
                    <a:pt x="9" y="57"/>
                  </a:cubicBezTo>
                  <a:cubicBezTo>
                    <a:pt x="9" y="58"/>
                    <a:pt x="5" y="57"/>
                    <a:pt x="5" y="58"/>
                  </a:cubicBezTo>
                  <a:cubicBezTo>
                    <a:pt x="5" y="60"/>
                    <a:pt x="8" y="61"/>
                    <a:pt x="9" y="62"/>
                  </a:cubicBezTo>
                  <a:cubicBezTo>
                    <a:pt x="9" y="64"/>
                    <a:pt x="7" y="65"/>
                    <a:pt x="8" y="66"/>
                  </a:cubicBezTo>
                  <a:cubicBezTo>
                    <a:pt x="10" y="68"/>
                    <a:pt x="13" y="68"/>
                    <a:pt x="15" y="70"/>
                  </a:cubicBezTo>
                  <a:cubicBezTo>
                    <a:pt x="15" y="71"/>
                    <a:pt x="11" y="70"/>
                    <a:pt x="12" y="71"/>
                  </a:cubicBezTo>
                  <a:cubicBezTo>
                    <a:pt x="12" y="74"/>
                    <a:pt x="15" y="75"/>
                    <a:pt x="17" y="77"/>
                  </a:cubicBezTo>
                  <a:cubicBezTo>
                    <a:pt x="19" y="80"/>
                    <a:pt x="21" y="83"/>
                    <a:pt x="23" y="86"/>
                  </a:cubicBezTo>
                  <a:cubicBezTo>
                    <a:pt x="25" y="88"/>
                    <a:pt x="26" y="88"/>
                    <a:pt x="28" y="90"/>
                  </a:cubicBezTo>
                  <a:cubicBezTo>
                    <a:pt x="29" y="88"/>
                    <a:pt x="29" y="86"/>
                    <a:pt x="30" y="85"/>
                  </a:cubicBezTo>
                  <a:cubicBezTo>
                    <a:pt x="32" y="84"/>
                    <a:pt x="35" y="87"/>
                    <a:pt x="36" y="86"/>
                  </a:cubicBezTo>
                  <a:cubicBezTo>
                    <a:pt x="37" y="84"/>
                    <a:pt x="37" y="81"/>
                    <a:pt x="37" y="79"/>
                  </a:cubicBezTo>
                  <a:cubicBezTo>
                    <a:pt x="36" y="77"/>
                    <a:pt x="32" y="76"/>
                    <a:pt x="32" y="74"/>
                  </a:cubicBezTo>
                  <a:cubicBezTo>
                    <a:pt x="31" y="71"/>
                    <a:pt x="31" y="68"/>
                    <a:pt x="33" y="67"/>
                  </a:cubicBezTo>
                  <a:cubicBezTo>
                    <a:pt x="36" y="65"/>
                    <a:pt x="40" y="70"/>
                    <a:pt x="42" y="68"/>
                  </a:cubicBezTo>
                  <a:cubicBezTo>
                    <a:pt x="44" y="67"/>
                    <a:pt x="42" y="62"/>
                    <a:pt x="44" y="61"/>
                  </a:cubicBezTo>
                  <a:cubicBezTo>
                    <a:pt x="47" y="60"/>
                    <a:pt x="48" y="65"/>
                    <a:pt x="50" y="66"/>
                  </a:cubicBezTo>
                  <a:cubicBezTo>
                    <a:pt x="53" y="67"/>
                    <a:pt x="56" y="65"/>
                    <a:pt x="58" y="65"/>
                  </a:cubicBezTo>
                  <a:cubicBezTo>
                    <a:pt x="59" y="66"/>
                    <a:pt x="59" y="68"/>
                    <a:pt x="60" y="68"/>
                  </a:cubicBezTo>
                  <a:cubicBezTo>
                    <a:pt x="61" y="69"/>
                    <a:pt x="63" y="70"/>
                    <a:pt x="64" y="68"/>
                  </a:cubicBezTo>
                  <a:cubicBezTo>
                    <a:pt x="66" y="66"/>
                    <a:pt x="65" y="62"/>
                    <a:pt x="65" y="59"/>
                  </a:cubicBezTo>
                  <a:cubicBezTo>
                    <a:pt x="65" y="56"/>
                    <a:pt x="65" y="52"/>
                    <a:pt x="65" y="49"/>
                  </a:cubicBezTo>
                  <a:cubicBezTo>
                    <a:pt x="65" y="47"/>
                    <a:pt x="68" y="44"/>
                    <a:pt x="67" y="42"/>
                  </a:cubicBezTo>
                  <a:cubicBezTo>
                    <a:pt x="66" y="40"/>
                    <a:pt x="62" y="42"/>
                    <a:pt x="61" y="40"/>
                  </a:cubicBezTo>
                  <a:cubicBezTo>
                    <a:pt x="60" y="36"/>
                    <a:pt x="61" y="32"/>
                    <a:pt x="63" y="29"/>
                  </a:cubicBezTo>
                  <a:cubicBezTo>
                    <a:pt x="64" y="27"/>
                    <a:pt x="68" y="27"/>
                    <a:pt x="70" y="25"/>
                  </a:cubicBezTo>
                  <a:cubicBezTo>
                    <a:pt x="71" y="22"/>
                    <a:pt x="73" y="17"/>
                    <a:pt x="70" y="15"/>
                  </a:cubicBezTo>
                  <a:cubicBezTo>
                    <a:pt x="67" y="12"/>
                    <a:pt x="60" y="16"/>
                    <a:pt x="56" y="14"/>
                  </a:cubicBezTo>
                  <a:cubicBezTo>
                    <a:pt x="54" y="14"/>
                    <a:pt x="54" y="11"/>
                    <a:pt x="54" y="9"/>
                  </a:cubicBezTo>
                  <a:cubicBezTo>
                    <a:pt x="54" y="7"/>
                    <a:pt x="56" y="4"/>
                    <a:pt x="57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" name="Freeform 66"/>
            <p:cNvSpPr>
              <a:spLocks noChangeAspect="1"/>
            </p:cNvSpPr>
            <p:nvPr/>
          </p:nvSpPr>
          <p:spPr bwMode="auto">
            <a:xfrm>
              <a:off x="4772025" y="4138613"/>
              <a:ext cx="42863" cy="31750"/>
            </a:xfrm>
            <a:custGeom>
              <a:avLst/>
              <a:gdLst>
                <a:gd name="T0" fmla="*/ 1864 w 23"/>
                <a:gd name="T1" fmla="*/ 29766 h 16"/>
                <a:gd name="T2" fmla="*/ 1864 w 23"/>
                <a:gd name="T3" fmla="*/ 11906 h 16"/>
                <a:gd name="T4" fmla="*/ 3727 w 23"/>
                <a:gd name="T5" fmla="*/ 0 h 16"/>
                <a:gd name="T6" fmla="*/ 39136 w 23"/>
                <a:gd name="T7" fmla="*/ 1984 h 16"/>
                <a:gd name="T8" fmla="*/ 40999 w 23"/>
                <a:gd name="T9" fmla="*/ 27781 h 16"/>
                <a:gd name="T10" fmla="*/ 35409 w 23"/>
                <a:gd name="T11" fmla="*/ 31750 h 16"/>
                <a:gd name="T12" fmla="*/ 1864 w 23"/>
                <a:gd name="T13" fmla="*/ 29766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16"/>
                <a:gd name="T23" fmla="*/ 23 w 23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16">
                  <a:moveTo>
                    <a:pt x="1" y="15"/>
                  </a:moveTo>
                  <a:cubicBezTo>
                    <a:pt x="1" y="12"/>
                    <a:pt x="0" y="9"/>
                    <a:pt x="1" y="6"/>
                  </a:cubicBezTo>
                  <a:cubicBezTo>
                    <a:pt x="1" y="4"/>
                    <a:pt x="2" y="2"/>
                    <a:pt x="2" y="0"/>
                  </a:cubicBezTo>
                  <a:lnTo>
                    <a:pt x="21" y="1"/>
                  </a:lnTo>
                  <a:cubicBezTo>
                    <a:pt x="21" y="5"/>
                    <a:pt x="23" y="10"/>
                    <a:pt x="22" y="14"/>
                  </a:cubicBezTo>
                  <a:cubicBezTo>
                    <a:pt x="21" y="15"/>
                    <a:pt x="20" y="16"/>
                    <a:pt x="19" y="16"/>
                  </a:cubicBezTo>
                  <a:cubicBezTo>
                    <a:pt x="13" y="16"/>
                    <a:pt x="7" y="15"/>
                    <a:pt x="1" y="1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" name="Freeform 67"/>
            <p:cNvSpPr>
              <a:spLocks noChangeAspect="1"/>
            </p:cNvSpPr>
            <p:nvPr/>
          </p:nvSpPr>
          <p:spPr bwMode="auto">
            <a:xfrm>
              <a:off x="4743450" y="3843338"/>
              <a:ext cx="188913" cy="309562"/>
            </a:xfrm>
            <a:custGeom>
              <a:avLst/>
              <a:gdLst>
                <a:gd name="T0" fmla="*/ 36256 w 99"/>
                <a:gd name="T1" fmla="*/ 277077 h 162"/>
                <a:gd name="T2" fmla="*/ 30531 w 99"/>
                <a:gd name="T3" fmla="*/ 250325 h 162"/>
                <a:gd name="T4" fmla="*/ 24807 w 99"/>
                <a:gd name="T5" fmla="*/ 248414 h 162"/>
                <a:gd name="T6" fmla="*/ 11449 w 99"/>
                <a:gd name="T7" fmla="*/ 229305 h 162"/>
                <a:gd name="T8" fmla="*/ 0 w 99"/>
                <a:gd name="T9" fmla="*/ 223573 h 162"/>
                <a:gd name="T10" fmla="*/ 7633 w 99"/>
                <a:gd name="T11" fmla="*/ 192999 h 162"/>
                <a:gd name="T12" fmla="*/ 28623 w 99"/>
                <a:gd name="T13" fmla="*/ 173890 h 162"/>
                <a:gd name="T14" fmla="*/ 47705 w 99"/>
                <a:gd name="T15" fmla="*/ 166246 h 162"/>
                <a:gd name="T16" fmla="*/ 53430 w 99"/>
                <a:gd name="T17" fmla="*/ 160514 h 162"/>
                <a:gd name="T18" fmla="*/ 74420 w 99"/>
                <a:gd name="T19" fmla="*/ 175801 h 162"/>
                <a:gd name="T20" fmla="*/ 91594 w 99"/>
                <a:gd name="T21" fmla="*/ 139494 h 162"/>
                <a:gd name="T22" fmla="*/ 104952 w 99"/>
                <a:gd name="T23" fmla="*/ 114653 h 162"/>
                <a:gd name="T24" fmla="*/ 116401 w 99"/>
                <a:gd name="T25" fmla="*/ 85989 h 162"/>
                <a:gd name="T26" fmla="*/ 122126 w 99"/>
                <a:gd name="T27" fmla="*/ 66881 h 162"/>
                <a:gd name="T28" fmla="*/ 150749 w 99"/>
                <a:gd name="T29" fmla="*/ 38218 h 162"/>
                <a:gd name="T30" fmla="*/ 135483 w 99"/>
                <a:gd name="T31" fmla="*/ 13376 h 162"/>
                <a:gd name="T32" fmla="*/ 146932 w 99"/>
                <a:gd name="T33" fmla="*/ 0 h 162"/>
                <a:gd name="T34" fmla="*/ 160290 w 99"/>
                <a:gd name="T35" fmla="*/ 47772 h 162"/>
                <a:gd name="T36" fmla="*/ 177464 w 99"/>
                <a:gd name="T37" fmla="*/ 82168 h 162"/>
                <a:gd name="T38" fmla="*/ 154565 w 99"/>
                <a:gd name="T39" fmla="*/ 80257 h 162"/>
                <a:gd name="T40" fmla="*/ 135483 w 99"/>
                <a:gd name="T41" fmla="*/ 89811 h 162"/>
                <a:gd name="T42" fmla="*/ 160290 w 99"/>
                <a:gd name="T43" fmla="*/ 118474 h 162"/>
                <a:gd name="T44" fmla="*/ 173647 w 99"/>
                <a:gd name="T45" fmla="*/ 143316 h 162"/>
                <a:gd name="T46" fmla="*/ 164106 w 99"/>
                <a:gd name="T47" fmla="*/ 162425 h 162"/>
                <a:gd name="T48" fmla="*/ 146932 w 99"/>
                <a:gd name="T49" fmla="*/ 189177 h 162"/>
                <a:gd name="T50" fmla="*/ 152657 w 99"/>
                <a:gd name="T51" fmla="*/ 229305 h 162"/>
                <a:gd name="T52" fmla="*/ 166014 w 99"/>
                <a:gd name="T53" fmla="*/ 242681 h 162"/>
                <a:gd name="T54" fmla="*/ 173647 w 99"/>
                <a:gd name="T55" fmla="*/ 269434 h 162"/>
                <a:gd name="T56" fmla="*/ 188913 w 99"/>
                <a:gd name="T57" fmla="*/ 288542 h 162"/>
                <a:gd name="T58" fmla="*/ 187005 w 99"/>
                <a:gd name="T59" fmla="*/ 309562 h 162"/>
                <a:gd name="T60" fmla="*/ 122126 w 99"/>
                <a:gd name="T61" fmla="*/ 296186 h 162"/>
                <a:gd name="T62" fmla="*/ 70604 w 99"/>
                <a:gd name="T63" fmla="*/ 292364 h 162"/>
                <a:gd name="T64" fmla="*/ 32440 w 99"/>
                <a:gd name="T65" fmla="*/ 296186 h 1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9"/>
                <a:gd name="T100" fmla="*/ 0 h 162"/>
                <a:gd name="T101" fmla="*/ 99 w 99"/>
                <a:gd name="T102" fmla="*/ 162 h 1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9" h="162">
                  <a:moveTo>
                    <a:pt x="17" y="155"/>
                  </a:moveTo>
                  <a:cubicBezTo>
                    <a:pt x="18" y="152"/>
                    <a:pt x="18" y="149"/>
                    <a:pt x="19" y="145"/>
                  </a:cubicBezTo>
                  <a:cubicBezTo>
                    <a:pt x="19" y="143"/>
                    <a:pt x="18" y="141"/>
                    <a:pt x="18" y="139"/>
                  </a:cubicBezTo>
                  <a:cubicBezTo>
                    <a:pt x="18" y="137"/>
                    <a:pt x="16" y="134"/>
                    <a:pt x="16" y="131"/>
                  </a:cubicBezTo>
                  <a:cubicBezTo>
                    <a:pt x="16" y="130"/>
                    <a:pt x="17" y="128"/>
                    <a:pt x="16" y="128"/>
                  </a:cubicBezTo>
                  <a:cubicBezTo>
                    <a:pt x="15" y="127"/>
                    <a:pt x="14" y="130"/>
                    <a:pt x="13" y="130"/>
                  </a:cubicBezTo>
                  <a:cubicBezTo>
                    <a:pt x="11" y="129"/>
                    <a:pt x="8" y="128"/>
                    <a:pt x="7" y="127"/>
                  </a:cubicBezTo>
                  <a:cubicBezTo>
                    <a:pt x="6" y="125"/>
                    <a:pt x="8" y="121"/>
                    <a:pt x="6" y="120"/>
                  </a:cubicBezTo>
                  <a:cubicBezTo>
                    <a:pt x="5" y="119"/>
                    <a:pt x="3" y="123"/>
                    <a:pt x="2" y="122"/>
                  </a:cubicBezTo>
                  <a:cubicBezTo>
                    <a:pt x="0" y="121"/>
                    <a:pt x="1" y="119"/>
                    <a:pt x="0" y="117"/>
                  </a:cubicBezTo>
                  <a:cubicBezTo>
                    <a:pt x="2" y="115"/>
                    <a:pt x="4" y="113"/>
                    <a:pt x="5" y="111"/>
                  </a:cubicBezTo>
                  <a:cubicBezTo>
                    <a:pt x="5" y="108"/>
                    <a:pt x="3" y="104"/>
                    <a:pt x="4" y="101"/>
                  </a:cubicBezTo>
                  <a:cubicBezTo>
                    <a:pt x="5" y="99"/>
                    <a:pt x="7" y="97"/>
                    <a:pt x="8" y="95"/>
                  </a:cubicBezTo>
                  <a:cubicBezTo>
                    <a:pt x="10" y="93"/>
                    <a:pt x="13" y="92"/>
                    <a:pt x="15" y="91"/>
                  </a:cubicBezTo>
                  <a:cubicBezTo>
                    <a:pt x="17" y="89"/>
                    <a:pt x="18" y="85"/>
                    <a:pt x="21" y="84"/>
                  </a:cubicBezTo>
                  <a:cubicBezTo>
                    <a:pt x="22" y="84"/>
                    <a:pt x="23" y="86"/>
                    <a:pt x="25" y="87"/>
                  </a:cubicBezTo>
                  <a:cubicBezTo>
                    <a:pt x="26" y="87"/>
                    <a:pt x="27" y="87"/>
                    <a:pt x="27" y="86"/>
                  </a:cubicBezTo>
                  <a:cubicBezTo>
                    <a:pt x="28" y="86"/>
                    <a:pt x="28" y="83"/>
                    <a:pt x="28" y="84"/>
                  </a:cubicBezTo>
                  <a:cubicBezTo>
                    <a:pt x="31" y="85"/>
                    <a:pt x="32" y="89"/>
                    <a:pt x="34" y="91"/>
                  </a:cubicBezTo>
                  <a:cubicBezTo>
                    <a:pt x="35" y="92"/>
                    <a:pt x="38" y="93"/>
                    <a:pt x="39" y="92"/>
                  </a:cubicBezTo>
                  <a:cubicBezTo>
                    <a:pt x="42" y="90"/>
                    <a:pt x="43" y="85"/>
                    <a:pt x="44" y="82"/>
                  </a:cubicBezTo>
                  <a:cubicBezTo>
                    <a:pt x="46" y="79"/>
                    <a:pt x="47" y="76"/>
                    <a:pt x="48" y="73"/>
                  </a:cubicBezTo>
                  <a:cubicBezTo>
                    <a:pt x="48" y="71"/>
                    <a:pt x="47" y="69"/>
                    <a:pt x="48" y="67"/>
                  </a:cubicBezTo>
                  <a:cubicBezTo>
                    <a:pt x="50" y="64"/>
                    <a:pt x="53" y="63"/>
                    <a:pt x="55" y="60"/>
                  </a:cubicBezTo>
                  <a:cubicBezTo>
                    <a:pt x="56" y="57"/>
                    <a:pt x="55" y="53"/>
                    <a:pt x="57" y="50"/>
                  </a:cubicBezTo>
                  <a:cubicBezTo>
                    <a:pt x="58" y="48"/>
                    <a:pt x="60" y="47"/>
                    <a:pt x="61" y="45"/>
                  </a:cubicBezTo>
                  <a:cubicBezTo>
                    <a:pt x="62" y="44"/>
                    <a:pt x="61" y="42"/>
                    <a:pt x="61" y="41"/>
                  </a:cubicBezTo>
                  <a:cubicBezTo>
                    <a:pt x="61" y="39"/>
                    <a:pt x="63" y="37"/>
                    <a:pt x="64" y="35"/>
                  </a:cubicBezTo>
                  <a:cubicBezTo>
                    <a:pt x="65" y="31"/>
                    <a:pt x="66" y="27"/>
                    <a:pt x="69" y="24"/>
                  </a:cubicBezTo>
                  <a:cubicBezTo>
                    <a:pt x="71" y="22"/>
                    <a:pt x="77" y="23"/>
                    <a:pt x="79" y="20"/>
                  </a:cubicBezTo>
                  <a:cubicBezTo>
                    <a:pt x="80" y="17"/>
                    <a:pt x="78" y="13"/>
                    <a:pt x="77" y="10"/>
                  </a:cubicBezTo>
                  <a:cubicBezTo>
                    <a:pt x="76" y="8"/>
                    <a:pt x="72" y="9"/>
                    <a:pt x="71" y="7"/>
                  </a:cubicBezTo>
                  <a:cubicBezTo>
                    <a:pt x="71" y="5"/>
                    <a:pt x="72" y="2"/>
                    <a:pt x="73" y="1"/>
                  </a:cubicBezTo>
                  <a:cubicBezTo>
                    <a:pt x="74" y="1"/>
                    <a:pt x="76" y="0"/>
                    <a:pt x="77" y="0"/>
                  </a:cubicBezTo>
                  <a:cubicBezTo>
                    <a:pt x="80" y="4"/>
                    <a:pt x="82" y="8"/>
                    <a:pt x="83" y="12"/>
                  </a:cubicBezTo>
                  <a:cubicBezTo>
                    <a:pt x="84" y="16"/>
                    <a:pt x="83" y="21"/>
                    <a:pt x="84" y="25"/>
                  </a:cubicBezTo>
                  <a:cubicBezTo>
                    <a:pt x="84" y="29"/>
                    <a:pt x="84" y="32"/>
                    <a:pt x="86" y="35"/>
                  </a:cubicBezTo>
                  <a:cubicBezTo>
                    <a:pt x="88" y="38"/>
                    <a:pt x="91" y="39"/>
                    <a:pt x="93" y="43"/>
                  </a:cubicBezTo>
                  <a:cubicBezTo>
                    <a:pt x="90" y="43"/>
                    <a:pt x="87" y="42"/>
                    <a:pt x="84" y="42"/>
                  </a:cubicBezTo>
                  <a:cubicBezTo>
                    <a:pt x="83" y="42"/>
                    <a:pt x="82" y="43"/>
                    <a:pt x="81" y="42"/>
                  </a:cubicBezTo>
                  <a:cubicBezTo>
                    <a:pt x="78" y="42"/>
                    <a:pt x="76" y="40"/>
                    <a:pt x="73" y="41"/>
                  </a:cubicBezTo>
                  <a:cubicBezTo>
                    <a:pt x="71" y="42"/>
                    <a:pt x="70" y="45"/>
                    <a:pt x="71" y="47"/>
                  </a:cubicBezTo>
                  <a:cubicBezTo>
                    <a:pt x="71" y="49"/>
                    <a:pt x="75" y="51"/>
                    <a:pt x="76" y="53"/>
                  </a:cubicBezTo>
                  <a:cubicBezTo>
                    <a:pt x="79" y="56"/>
                    <a:pt x="81" y="59"/>
                    <a:pt x="84" y="62"/>
                  </a:cubicBezTo>
                  <a:cubicBezTo>
                    <a:pt x="85" y="64"/>
                    <a:pt x="87" y="66"/>
                    <a:pt x="88" y="69"/>
                  </a:cubicBezTo>
                  <a:cubicBezTo>
                    <a:pt x="89" y="71"/>
                    <a:pt x="90" y="73"/>
                    <a:pt x="91" y="75"/>
                  </a:cubicBezTo>
                  <a:cubicBezTo>
                    <a:pt x="91" y="75"/>
                    <a:pt x="91" y="76"/>
                    <a:pt x="91" y="77"/>
                  </a:cubicBezTo>
                  <a:cubicBezTo>
                    <a:pt x="89" y="79"/>
                    <a:pt x="88" y="82"/>
                    <a:pt x="86" y="85"/>
                  </a:cubicBezTo>
                  <a:cubicBezTo>
                    <a:pt x="85" y="89"/>
                    <a:pt x="85" y="93"/>
                    <a:pt x="82" y="96"/>
                  </a:cubicBezTo>
                  <a:cubicBezTo>
                    <a:pt x="81" y="98"/>
                    <a:pt x="77" y="97"/>
                    <a:pt x="77" y="99"/>
                  </a:cubicBezTo>
                  <a:cubicBezTo>
                    <a:pt x="76" y="102"/>
                    <a:pt x="80" y="103"/>
                    <a:pt x="81" y="105"/>
                  </a:cubicBezTo>
                  <a:cubicBezTo>
                    <a:pt x="81" y="110"/>
                    <a:pt x="79" y="115"/>
                    <a:pt x="80" y="120"/>
                  </a:cubicBezTo>
                  <a:cubicBezTo>
                    <a:pt x="80" y="122"/>
                    <a:pt x="81" y="123"/>
                    <a:pt x="82" y="124"/>
                  </a:cubicBezTo>
                  <a:cubicBezTo>
                    <a:pt x="83" y="125"/>
                    <a:pt x="86" y="125"/>
                    <a:pt x="87" y="127"/>
                  </a:cubicBezTo>
                  <a:cubicBezTo>
                    <a:pt x="88" y="128"/>
                    <a:pt x="87" y="130"/>
                    <a:pt x="87" y="131"/>
                  </a:cubicBezTo>
                  <a:cubicBezTo>
                    <a:pt x="88" y="135"/>
                    <a:pt x="89" y="138"/>
                    <a:pt x="91" y="141"/>
                  </a:cubicBezTo>
                  <a:cubicBezTo>
                    <a:pt x="92" y="142"/>
                    <a:pt x="95" y="142"/>
                    <a:pt x="95" y="143"/>
                  </a:cubicBezTo>
                  <a:cubicBezTo>
                    <a:pt x="97" y="145"/>
                    <a:pt x="98" y="148"/>
                    <a:pt x="99" y="151"/>
                  </a:cubicBezTo>
                  <a:cubicBezTo>
                    <a:pt x="98" y="153"/>
                    <a:pt x="98" y="155"/>
                    <a:pt x="98" y="157"/>
                  </a:cubicBezTo>
                  <a:cubicBezTo>
                    <a:pt x="97" y="159"/>
                    <a:pt x="99" y="162"/>
                    <a:pt x="98" y="162"/>
                  </a:cubicBezTo>
                  <a:cubicBezTo>
                    <a:pt x="91" y="161"/>
                    <a:pt x="85" y="156"/>
                    <a:pt x="78" y="155"/>
                  </a:cubicBezTo>
                  <a:cubicBezTo>
                    <a:pt x="73" y="154"/>
                    <a:pt x="69" y="155"/>
                    <a:pt x="64" y="155"/>
                  </a:cubicBezTo>
                  <a:cubicBezTo>
                    <a:pt x="61" y="154"/>
                    <a:pt x="59" y="154"/>
                    <a:pt x="57" y="153"/>
                  </a:cubicBezTo>
                  <a:cubicBezTo>
                    <a:pt x="50" y="153"/>
                    <a:pt x="43" y="153"/>
                    <a:pt x="37" y="153"/>
                  </a:cubicBezTo>
                  <a:cubicBezTo>
                    <a:pt x="36" y="154"/>
                    <a:pt x="36" y="155"/>
                    <a:pt x="36" y="156"/>
                  </a:cubicBezTo>
                  <a:lnTo>
                    <a:pt x="17" y="15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" name="Freeform 68"/>
            <p:cNvSpPr>
              <a:spLocks noChangeAspect="1"/>
            </p:cNvSpPr>
            <p:nvPr/>
          </p:nvSpPr>
          <p:spPr bwMode="auto">
            <a:xfrm>
              <a:off x="4867275" y="3548063"/>
              <a:ext cx="247650" cy="442912"/>
            </a:xfrm>
            <a:custGeom>
              <a:avLst/>
              <a:gdLst>
                <a:gd name="T0" fmla="*/ 49530 w 130"/>
                <a:gd name="T1" fmla="*/ 442912 h 232"/>
                <a:gd name="T2" fmla="*/ 62865 w 130"/>
                <a:gd name="T3" fmla="*/ 441003 h 232"/>
                <a:gd name="T4" fmla="*/ 74295 w 130"/>
                <a:gd name="T5" fmla="*/ 435276 h 232"/>
                <a:gd name="T6" fmla="*/ 85725 w 130"/>
                <a:gd name="T7" fmla="*/ 441003 h 232"/>
                <a:gd name="T8" fmla="*/ 91440 w 130"/>
                <a:gd name="T9" fmla="*/ 433366 h 232"/>
                <a:gd name="T10" fmla="*/ 112395 w 130"/>
                <a:gd name="T11" fmla="*/ 429548 h 232"/>
                <a:gd name="T12" fmla="*/ 120015 w 130"/>
                <a:gd name="T13" fmla="*/ 429548 h 232"/>
                <a:gd name="T14" fmla="*/ 127635 w 130"/>
                <a:gd name="T15" fmla="*/ 421912 h 232"/>
                <a:gd name="T16" fmla="*/ 135255 w 130"/>
                <a:gd name="T17" fmla="*/ 412366 h 232"/>
                <a:gd name="T18" fmla="*/ 127635 w 130"/>
                <a:gd name="T19" fmla="*/ 408548 h 232"/>
                <a:gd name="T20" fmla="*/ 135255 w 130"/>
                <a:gd name="T21" fmla="*/ 402821 h 232"/>
                <a:gd name="T22" fmla="*/ 156210 w 130"/>
                <a:gd name="T23" fmla="*/ 402821 h 232"/>
                <a:gd name="T24" fmla="*/ 177165 w 130"/>
                <a:gd name="T25" fmla="*/ 393275 h 232"/>
                <a:gd name="T26" fmla="*/ 180975 w 130"/>
                <a:gd name="T27" fmla="*/ 378002 h 232"/>
                <a:gd name="T28" fmla="*/ 190500 w 130"/>
                <a:gd name="T29" fmla="*/ 378002 h 232"/>
                <a:gd name="T30" fmla="*/ 200025 w 130"/>
                <a:gd name="T31" fmla="*/ 366548 h 232"/>
                <a:gd name="T32" fmla="*/ 200025 w 130"/>
                <a:gd name="T33" fmla="*/ 353184 h 232"/>
                <a:gd name="T34" fmla="*/ 220980 w 130"/>
                <a:gd name="T35" fmla="*/ 349366 h 232"/>
                <a:gd name="T36" fmla="*/ 222885 w 130"/>
                <a:gd name="T37" fmla="*/ 341730 h 232"/>
                <a:gd name="T38" fmla="*/ 213360 w 130"/>
                <a:gd name="T39" fmla="*/ 330275 h 232"/>
                <a:gd name="T40" fmla="*/ 219075 w 130"/>
                <a:gd name="T41" fmla="*/ 322639 h 232"/>
                <a:gd name="T42" fmla="*/ 213360 w 130"/>
                <a:gd name="T43" fmla="*/ 320729 h 232"/>
                <a:gd name="T44" fmla="*/ 211455 w 130"/>
                <a:gd name="T45" fmla="*/ 301638 h 232"/>
                <a:gd name="T46" fmla="*/ 198120 w 130"/>
                <a:gd name="T47" fmla="*/ 305457 h 232"/>
                <a:gd name="T48" fmla="*/ 198120 w 130"/>
                <a:gd name="T49" fmla="*/ 295911 h 232"/>
                <a:gd name="T50" fmla="*/ 207645 w 130"/>
                <a:gd name="T51" fmla="*/ 284456 h 232"/>
                <a:gd name="T52" fmla="*/ 205740 w 130"/>
                <a:gd name="T53" fmla="*/ 267275 h 232"/>
                <a:gd name="T54" fmla="*/ 215265 w 130"/>
                <a:gd name="T55" fmla="*/ 261547 h 232"/>
                <a:gd name="T56" fmla="*/ 209550 w 130"/>
                <a:gd name="T57" fmla="*/ 250093 h 232"/>
                <a:gd name="T58" fmla="*/ 215265 w 130"/>
                <a:gd name="T59" fmla="*/ 244365 h 232"/>
                <a:gd name="T60" fmla="*/ 224790 w 130"/>
                <a:gd name="T61" fmla="*/ 231002 h 232"/>
                <a:gd name="T62" fmla="*/ 222885 w 130"/>
                <a:gd name="T63" fmla="*/ 221456 h 232"/>
                <a:gd name="T64" fmla="*/ 232410 w 130"/>
                <a:gd name="T65" fmla="*/ 215729 h 232"/>
                <a:gd name="T66" fmla="*/ 243840 w 130"/>
                <a:gd name="T67" fmla="*/ 215729 h 232"/>
                <a:gd name="T68" fmla="*/ 243840 w 130"/>
                <a:gd name="T69" fmla="*/ 114546 h 232"/>
                <a:gd name="T70" fmla="*/ 45720 w 130"/>
                <a:gd name="T71" fmla="*/ 0 h 232"/>
                <a:gd name="T72" fmla="*/ 30480 w 130"/>
                <a:gd name="T73" fmla="*/ 13364 h 232"/>
                <a:gd name="T74" fmla="*/ 38100 w 130"/>
                <a:gd name="T75" fmla="*/ 36273 h 232"/>
                <a:gd name="T76" fmla="*/ 36195 w 130"/>
                <a:gd name="T77" fmla="*/ 53455 h 232"/>
                <a:gd name="T78" fmla="*/ 43815 w 130"/>
                <a:gd name="T79" fmla="*/ 63000 h 232"/>
                <a:gd name="T80" fmla="*/ 41910 w 130"/>
                <a:gd name="T81" fmla="*/ 74455 h 232"/>
                <a:gd name="T82" fmla="*/ 55245 w 130"/>
                <a:gd name="T83" fmla="*/ 84001 h 232"/>
                <a:gd name="T84" fmla="*/ 41910 w 130"/>
                <a:gd name="T85" fmla="*/ 110728 h 232"/>
                <a:gd name="T86" fmla="*/ 41910 w 130"/>
                <a:gd name="T87" fmla="*/ 152728 h 232"/>
                <a:gd name="T88" fmla="*/ 43815 w 130"/>
                <a:gd name="T89" fmla="*/ 190910 h 232"/>
                <a:gd name="T90" fmla="*/ 0 w 130"/>
                <a:gd name="T91" fmla="*/ 246274 h 232"/>
                <a:gd name="T92" fmla="*/ 0 w 130"/>
                <a:gd name="T93" fmla="*/ 274911 h 232"/>
                <a:gd name="T94" fmla="*/ 9525 w 130"/>
                <a:gd name="T95" fmla="*/ 290184 h 232"/>
                <a:gd name="T96" fmla="*/ 15240 w 130"/>
                <a:gd name="T97" fmla="*/ 297820 h 232"/>
                <a:gd name="T98" fmla="*/ 22860 w 130"/>
                <a:gd name="T99" fmla="*/ 295911 h 232"/>
                <a:gd name="T100" fmla="*/ 34290 w 130"/>
                <a:gd name="T101" fmla="*/ 318820 h 232"/>
                <a:gd name="T102" fmla="*/ 36195 w 130"/>
                <a:gd name="T103" fmla="*/ 343639 h 232"/>
                <a:gd name="T104" fmla="*/ 40005 w 130"/>
                <a:gd name="T105" fmla="*/ 362730 h 232"/>
                <a:gd name="T106" fmla="*/ 53340 w 130"/>
                <a:gd name="T107" fmla="*/ 378002 h 232"/>
                <a:gd name="T108" fmla="*/ 36195 w 130"/>
                <a:gd name="T109" fmla="*/ 376093 h 232"/>
                <a:gd name="T110" fmla="*/ 30480 w 130"/>
                <a:gd name="T111" fmla="*/ 376093 h 232"/>
                <a:gd name="T112" fmla="*/ 15240 w 130"/>
                <a:gd name="T113" fmla="*/ 374184 h 232"/>
                <a:gd name="T114" fmla="*/ 11430 w 130"/>
                <a:gd name="T115" fmla="*/ 385639 h 232"/>
                <a:gd name="T116" fmla="*/ 20955 w 130"/>
                <a:gd name="T117" fmla="*/ 397094 h 232"/>
                <a:gd name="T118" fmla="*/ 36195 w 130"/>
                <a:gd name="T119" fmla="*/ 414275 h 232"/>
                <a:gd name="T120" fmla="*/ 43815 w 130"/>
                <a:gd name="T121" fmla="*/ 427639 h 232"/>
                <a:gd name="T122" fmla="*/ 49530 w 130"/>
                <a:gd name="T123" fmla="*/ 439094 h 232"/>
                <a:gd name="T124" fmla="*/ 49530 w 130"/>
                <a:gd name="T125" fmla="*/ 442912 h 2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0"/>
                <a:gd name="T190" fmla="*/ 0 h 232"/>
                <a:gd name="T191" fmla="*/ 130 w 130"/>
                <a:gd name="T192" fmla="*/ 232 h 2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0" h="232">
                  <a:moveTo>
                    <a:pt x="26" y="232"/>
                  </a:moveTo>
                  <a:cubicBezTo>
                    <a:pt x="28" y="231"/>
                    <a:pt x="31" y="231"/>
                    <a:pt x="33" y="231"/>
                  </a:cubicBezTo>
                  <a:cubicBezTo>
                    <a:pt x="35" y="230"/>
                    <a:pt x="37" y="228"/>
                    <a:pt x="39" y="228"/>
                  </a:cubicBezTo>
                  <a:cubicBezTo>
                    <a:pt x="41" y="228"/>
                    <a:pt x="43" y="231"/>
                    <a:pt x="45" y="231"/>
                  </a:cubicBezTo>
                  <a:cubicBezTo>
                    <a:pt x="47" y="231"/>
                    <a:pt x="47" y="228"/>
                    <a:pt x="48" y="227"/>
                  </a:cubicBezTo>
                  <a:cubicBezTo>
                    <a:pt x="52" y="226"/>
                    <a:pt x="55" y="225"/>
                    <a:pt x="59" y="225"/>
                  </a:cubicBezTo>
                  <a:cubicBezTo>
                    <a:pt x="60" y="225"/>
                    <a:pt x="61" y="225"/>
                    <a:pt x="63" y="225"/>
                  </a:cubicBezTo>
                  <a:cubicBezTo>
                    <a:pt x="64" y="224"/>
                    <a:pt x="65" y="223"/>
                    <a:pt x="67" y="221"/>
                  </a:cubicBezTo>
                  <a:cubicBezTo>
                    <a:pt x="68" y="220"/>
                    <a:pt x="71" y="218"/>
                    <a:pt x="71" y="216"/>
                  </a:cubicBezTo>
                  <a:cubicBezTo>
                    <a:pt x="71" y="214"/>
                    <a:pt x="67" y="215"/>
                    <a:pt x="67" y="214"/>
                  </a:cubicBezTo>
                  <a:cubicBezTo>
                    <a:pt x="67" y="212"/>
                    <a:pt x="70" y="212"/>
                    <a:pt x="71" y="211"/>
                  </a:cubicBezTo>
                  <a:cubicBezTo>
                    <a:pt x="75" y="211"/>
                    <a:pt x="78" y="212"/>
                    <a:pt x="82" y="211"/>
                  </a:cubicBezTo>
                  <a:cubicBezTo>
                    <a:pt x="86" y="210"/>
                    <a:pt x="90" y="209"/>
                    <a:pt x="93" y="206"/>
                  </a:cubicBezTo>
                  <a:cubicBezTo>
                    <a:pt x="95" y="204"/>
                    <a:pt x="93" y="200"/>
                    <a:pt x="95" y="198"/>
                  </a:cubicBezTo>
                  <a:cubicBezTo>
                    <a:pt x="96" y="197"/>
                    <a:pt x="99" y="199"/>
                    <a:pt x="100" y="198"/>
                  </a:cubicBezTo>
                  <a:cubicBezTo>
                    <a:pt x="102" y="197"/>
                    <a:pt x="104" y="195"/>
                    <a:pt x="105" y="192"/>
                  </a:cubicBezTo>
                  <a:cubicBezTo>
                    <a:pt x="106" y="190"/>
                    <a:pt x="103" y="186"/>
                    <a:pt x="105" y="185"/>
                  </a:cubicBezTo>
                  <a:cubicBezTo>
                    <a:pt x="108" y="182"/>
                    <a:pt x="113" y="184"/>
                    <a:pt x="116" y="183"/>
                  </a:cubicBezTo>
                  <a:cubicBezTo>
                    <a:pt x="117" y="182"/>
                    <a:pt x="118" y="180"/>
                    <a:pt x="117" y="179"/>
                  </a:cubicBezTo>
                  <a:cubicBezTo>
                    <a:pt x="116" y="177"/>
                    <a:pt x="113" y="176"/>
                    <a:pt x="112" y="173"/>
                  </a:cubicBezTo>
                  <a:cubicBezTo>
                    <a:pt x="112" y="171"/>
                    <a:pt x="115" y="170"/>
                    <a:pt x="115" y="169"/>
                  </a:cubicBezTo>
                  <a:cubicBezTo>
                    <a:pt x="115" y="168"/>
                    <a:pt x="113" y="169"/>
                    <a:pt x="112" y="168"/>
                  </a:cubicBezTo>
                  <a:cubicBezTo>
                    <a:pt x="111" y="165"/>
                    <a:pt x="113" y="161"/>
                    <a:pt x="111" y="158"/>
                  </a:cubicBezTo>
                  <a:cubicBezTo>
                    <a:pt x="109" y="157"/>
                    <a:pt x="106" y="161"/>
                    <a:pt x="104" y="160"/>
                  </a:cubicBezTo>
                  <a:cubicBezTo>
                    <a:pt x="103" y="159"/>
                    <a:pt x="103" y="156"/>
                    <a:pt x="104" y="155"/>
                  </a:cubicBezTo>
                  <a:cubicBezTo>
                    <a:pt x="105" y="153"/>
                    <a:pt x="109" y="152"/>
                    <a:pt x="109" y="149"/>
                  </a:cubicBezTo>
                  <a:cubicBezTo>
                    <a:pt x="110" y="146"/>
                    <a:pt x="107" y="143"/>
                    <a:pt x="108" y="140"/>
                  </a:cubicBezTo>
                  <a:cubicBezTo>
                    <a:pt x="108" y="138"/>
                    <a:pt x="113" y="139"/>
                    <a:pt x="113" y="137"/>
                  </a:cubicBezTo>
                  <a:cubicBezTo>
                    <a:pt x="114" y="135"/>
                    <a:pt x="110" y="133"/>
                    <a:pt x="110" y="131"/>
                  </a:cubicBezTo>
                  <a:cubicBezTo>
                    <a:pt x="109" y="130"/>
                    <a:pt x="112" y="129"/>
                    <a:pt x="113" y="128"/>
                  </a:cubicBezTo>
                  <a:cubicBezTo>
                    <a:pt x="115" y="126"/>
                    <a:pt x="117" y="124"/>
                    <a:pt x="118" y="121"/>
                  </a:cubicBezTo>
                  <a:cubicBezTo>
                    <a:pt x="119" y="119"/>
                    <a:pt x="116" y="117"/>
                    <a:pt x="117" y="116"/>
                  </a:cubicBezTo>
                  <a:cubicBezTo>
                    <a:pt x="118" y="114"/>
                    <a:pt x="120" y="113"/>
                    <a:pt x="122" y="113"/>
                  </a:cubicBezTo>
                  <a:cubicBezTo>
                    <a:pt x="124" y="112"/>
                    <a:pt x="128" y="115"/>
                    <a:pt x="128" y="113"/>
                  </a:cubicBezTo>
                  <a:cubicBezTo>
                    <a:pt x="130" y="96"/>
                    <a:pt x="128" y="78"/>
                    <a:pt x="128" y="60"/>
                  </a:cubicBezTo>
                  <a:lnTo>
                    <a:pt x="24" y="0"/>
                  </a:lnTo>
                  <a:lnTo>
                    <a:pt x="16" y="7"/>
                  </a:lnTo>
                  <a:lnTo>
                    <a:pt x="20" y="19"/>
                  </a:lnTo>
                  <a:lnTo>
                    <a:pt x="19" y="28"/>
                  </a:lnTo>
                  <a:lnTo>
                    <a:pt x="23" y="33"/>
                  </a:lnTo>
                  <a:lnTo>
                    <a:pt x="22" y="39"/>
                  </a:lnTo>
                  <a:lnTo>
                    <a:pt x="29" y="44"/>
                  </a:lnTo>
                  <a:lnTo>
                    <a:pt x="22" y="58"/>
                  </a:lnTo>
                  <a:lnTo>
                    <a:pt x="22" y="80"/>
                  </a:lnTo>
                  <a:lnTo>
                    <a:pt x="23" y="100"/>
                  </a:lnTo>
                  <a:lnTo>
                    <a:pt x="0" y="129"/>
                  </a:lnTo>
                  <a:lnTo>
                    <a:pt x="0" y="144"/>
                  </a:lnTo>
                  <a:cubicBezTo>
                    <a:pt x="2" y="146"/>
                    <a:pt x="3" y="150"/>
                    <a:pt x="5" y="152"/>
                  </a:cubicBezTo>
                  <a:cubicBezTo>
                    <a:pt x="6" y="153"/>
                    <a:pt x="7" y="155"/>
                    <a:pt x="8" y="156"/>
                  </a:cubicBezTo>
                  <a:cubicBezTo>
                    <a:pt x="9" y="156"/>
                    <a:pt x="11" y="155"/>
                    <a:pt x="12" y="155"/>
                  </a:cubicBezTo>
                  <a:cubicBezTo>
                    <a:pt x="15" y="159"/>
                    <a:pt x="17" y="163"/>
                    <a:pt x="18" y="167"/>
                  </a:cubicBezTo>
                  <a:cubicBezTo>
                    <a:pt x="19" y="171"/>
                    <a:pt x="18" y="176"/>
                    <a:pt x="19" y="180"/>
                  </a:cubicBezTo>
                  <a:cubicBezTo>
                    <a:pt x="19" y="184"/>
                    <a:pt x="19" y="187"/>
                    <a:pt x="21" y="190"/>
                  </a:cubicBezTo>
                  <a:cubicBezTo>
                    <a:pt x="23" y="193"/>
                    <a:pt x="26" y="194"/>
                    <a:pt x="28" y="198"/>
                  </a:cubicBezTo>
                  <a:cubicBezTo>
                    <a:pt x="25" y="198"/>
                    <a:pt x="22" y="197"/>
                    <a:pt x="19" y="197"/>
                  </a:cubicBezTo>
                  <a:cubicBezTo>
                    <a:pt x="18" y="197"/>
                    <a:pt x="17" y="198"/>
                    <a:pt x="16" y="197"/>
                  </a:cubicBezTo>
                  <a:cubicBezTo>
                    <a:pt x="13" y="197"/>
                    <a:pt x="11" y="195"/>
                    <a:pt x="8" y="196"/>
                  </a:cubicBezTo>
                  <a:cubicBezTo>
                    <a:pt x="6" y="197"/>
                    <a:pt x="5" y="200"/>
                    <a:pt x="6" y="202"/>
                  </a:cubicBezTo>
                  <a:cubicBezTo>
                    <a:pt x="6" y="204"/>
                    <a:pt x="10" y="206"/>
                    <a:pt x="11" y="208"/>
                  </a:cubicBezTo>
                  <a:cubicBezTo>
                    <a:pt x="14" y="211"/>
                    <a:pt x="16" y="214"/>
                    <a:pt x="19" y="217"/>
                  </a:cubicBezTo>
                  <a:cubicBezTo>
                    <a:pt x="20" y="219"/>
                    <a:pt x="22" y="221"/>
                    <a:pt x="23" y="224"/>
                  </a:cubicBezTo>
                  <a:cubicBezTo>
                    <a:pt x="24" y="226"/>
                    <a:pt x="25" y="228"/>
                    <a:pt x="26" y="230"/>
                  </a:cubicBezTo>
                  <a:cubicBezTo>
                    <a:pt x="26" y="230"/>
                    <a:pt x="26" y="231"/>
                    <a:pt x="26" y="23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" name="Freeform 69"/>
            <p:cNvSpPr>
              <a:spLocks noChangeAspect="1"/>
            </p:cNvSpPr>
            <p:nvPr/>
          </p:nvSpPr>
          <p:spPr bwMode="auto">
            <a:xfrm>
              <a:off x="4887913" y="3895725"/>
              <a:ext cx="314325" cy="236538"/>
            </a:xfrm>
            <a:custGeom>
              <a:avLst/>
              <a:gdLst>
                <a:gd name="T0" fmla="*/ 314325 w 165"/>
                <a:gd name="T1" fmla="*/ 154513 h 124"/>
                <a:gd name="T2" fmla="*/ 300990 w 165"/>
                <a:gd name="T3" fmla="*/ 137345 h 124"/>
                <a:gd name="T4" fmla="*/ 293370 w 165"/>
                <a:gd name="T5" fmla="*/ 123992 h 124"/>
                <a:gd name="T6" fmla="*/ 270510 w 165"/>
                <a:gd name="T7" fmla="*/ 108731 h 124"/>
                <a:gd name="T8" fmla="*/ 262890 w 165"/>
                <a:gd name="T9" fmla="*/ 87748 h 124"/>
                <a:gd name="T10" fmla="*/ 253365 w 165"/>
                <a:gd name="T11" fmla="*/ 78210 h 124"/>
                <a:gd name="T12" fmla="*/ 236220 w 165"/>
                <a:gd name="T13" fmla="*/ 64857 h 124"/>
                <a:gd name="T14" fmla="*/ 215265 w 165"/>
                <a:gd name="T15" fmla="*/ 55319 h 124"/>
                <a:gd name="T16" fmla="*/ 222885 w 165"/>
                <a:gd name="T17" fmla="*/ 34336 h 124"/>
                <a:gd name="T18" fmla="*/ 200025 w 165"/>
                <a:gd name="T19" fmla="*/ 1908 h 124"/>
                <a:gd name="T20" fmla="*/ 179070 w 165"/>
                <a:gd name="T21" fmla="*/ 19076 h 124"/>
                <a:gd name="T22" fmla="*/ 160020 w 165"/>
                <a:gd name="T23" fmla="*/ 30521 h 124"/>
                <a:gd name="T24" fmla="*/ 135255 w 165"/>
                <a:gd name="T25" fmla="*/ 55319 h 124"/>
                <a:gd name="T26" fmla="*/ 106680 w 165"/>
                <a:gd name="T27" fmla="*/ 61042 h 124"/>
                <a:gd name="T28" fmla="*/ 106680 w 165"/>
                <a:gd name="T29" fmla="*/ 74395 h 124"/>
                <a:gd name="T30" fmla="*/ 91440 w 165"/>
                <a:gd name="T31" fmla="*/ 82025 h 124"/>
                <a:gd name="T32" fmla="*/ 64770 w 165"/>
                <a:gd name="T33" fmla="*/ 93471 h 124"/>
                <a:gd name="T34" fmla="*/ 41910 w 165"/>
                <a:gd name="T35" fmla="*/ 93471 h 124"/>
                <a:gd name="T36" fmla="*/ 19050 w 165"/>
                <a:gd name="T37" fmla="*/ 110639 h 124"/>
                <a:gd name="T38" fmla="*/ 1905 w 165"/>
                <a:gd name="T39" fmla="*/ 137345 h 124"/>
                <a:gd name="T40" fmla="*/ 7620 w 165"/>
                <a:gd name="T41" fmla="*/ 177404 h 124"/>
                <a:gd name="T42" fmla="*/ 20955 w 165"/>
                <a:gd name="T43" fmla="*/ 190756 h 124"/>
                <a:gd name="T44" fmla="*/ 28575 w 165"/>
                <a:gd name="T45" fmla="*/ 217462 h 124"/>
                <a:gd name="T46" fmla="*/ 43815 w 165"/>
                <a:gd name="T47" fmla="*/ 236538 h 124"/>
                <a:gd name="T48" fmla="*/ 51435 w 165"/>
                <a:gd name="T49" fmla="*/ 215555 h 124"/>
                <a:gd name="T50" fmla="*/ 70485 w 165"/>
                <a:gd name="T51" fmla="*/ 206017 h 124"/>
                <a:gd name="T52" fmla="*/ 89535 w 165"/>
                <a:gd name="T53" fmla="*/ 206017 h 124"/>
                <a:gd name="T54" fmla="*/ 102870 w 165"/>
                <a:gd name="T55" fmla="*/ 185034 h 124"/>
                <a:gd name="T56" fmla="*/ 118110 w 165"/>
                <a:gd name="T57" fmla="*/ 164051 h 124"/>
                <a:gd name="T58" fmla="*/ 148590 w 165"/>
                <a:gd name="T59" fmla="*/ 179311 h 124"/>
                <a:gd name="T60" fmla="*/ 190500 w 165"/>
                <a:gd name="T61" fmla="*/ 188849 h 124"/>
                <a:gd name="T62" fmla="*/ 205740 w 165"/>
                <a:gd name="T63" fmla="*/ 169773 h 124"/>
                <a:gd name="T64" fmla="*/ 238125 w 165"/>
                <a:gd name="T65" fmla="*/ 169773 h 124"/>
                <a:gd name="T66" fmla="*/ 249555 w 165"/>
                <a:gd name="T67" fmla="*/ 167866 h 124"/>
                <a:gd name="T68" fmla="*/ 266700 w 165"/>
                <a:gd name="T69" fmla="*/ 158328 h 124"/>
                <a:gd name="T70" fmla="*/ 285750 w 165"/>
                <a:gd name="T71" fmla="*/ 162143 h 124"/>
                <a:gd name="T72" fmla="*/ 304800 w 165"/>
                <a:gd name="T73" fmla="*/ 162143 h 12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65"/>
                <a:gd name="T112" fmla="*/ 0 h 124"/>
                <a:gd name="T113" fmla="*/ 165 w 165"/>
                <a:gd name="T114" fmla="*/ 124 h 12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65" h="124">
                  <a:moveTo>
                    <a:pt x="164" y="88"/>
                  </a:moveTo>
                  <a:cubicBezTo>
                    <a:pt x="164" y="85"/>
                    <a:pt x="165" y="83"/>
                    <a:pt x="165" y="81"/>
                  </a:cubicBezTo>
                  <a:cubicBezTo>
                    <a:pt x="165" y="78"/>
                    <a:pt x="163" y="76"/>
                    <a:pt x="162" y="74"/>
                  </a:cubicBezTo>
                  <a:cubicBezTo>
                    <a:pt x="161" y="73"/>
                    <a:pt x="159" y="72"/>
                    <a:pt x="158" y="72"/>
                  </a:cubicBezTo>
                  <a:cubicBezTo>
                    <a:pt x="156" y="70"/>
                    <a:pt x="153" y="70"/>
                    <a:pt x="151" y="67"/>
                  </a:cubicBezTo>
                  <a:cubicBezTo>
                    <a:pt x="151" y="66"/>
                    <a:pt x="155" y="66"/>
                    <a:pt x="154" y="65"/>
                  </a:cubicBezTo>
                  <a:cubicBezTo>
                    <a:pt x="153" y="63"/>
                    <a:pt x="149" y="61"/>
                    <a:pt x="147" y="57"/>
                  </a:cubicBezTo>
                  <a:cubicBezTo>
                    <a:pt x="146" y="56"/>
                    <a:pt x="144" y="58"/>
                    <a:pt x="142" y="57"/>
                  </a:cubicBezTo>
                  <a:cubicBezTo>
                    <a:pt x="140" y="55"/>
                    <a:pt x="138" y="53"/>
                    <a:pt x="137" y="51"/>
                  </a:cubicBezTo>
                  <a:cubicBezTo>
                    <a:pt x="137" y="50"/>
                    <a:pt x="139" y="47"/>
                    <a:pt x="138" y="46"/>
                  </a:cubicBezTo>
                  <a:cubicBezTo>
                    <a:pt x="137" y="45"/>
                    <a:pt x="135" y="47"/>
                    <a:pt x="134" y="46"/>
                  </a:cubicBezTo>
                  <a:cubicBezTo>
                    <a:pt x="133" y="45"/>
                    <a:pt x="134" y="42"/>
                    <a:pt x="133" y="41"/>
                  </a:cubicBezTo>
                  <a:cubicBezTo>
                    <a:pt x="130" y="39"/>
                    <a:pt x="126" y="41"/>
                    <a:pt x="123" y="39"/>
                  </a:cubicBezTo>
                  <a:cubicBezTo>
                    <a:pt x="122" y="37"/>
                    <a:pt x="126" y="35"/>
                    <a:pt x="124" y="34"/>
                  </a:cubicBezTo>
                  <a:cubicBezTo>
                    <a:pt x="122" y="32"/>
                    <a:pt x="119" y="35"/>
                    <a:pt x="117" y="34"/>
                  </a:cubicBezTo>
                  <a:cubicBezTo>
                    <a:pt x="115" y="33"/>
                    <a:pt x="113" y="31"/>
                    <a:pt x="113" y="29"/>
                  </a:cubicBezTo>
                  <a:cubicBezTo>
                    <a:pt x="113" y="28"/>
                    <a:pt x="116" y="27"/>
                    <a:pt x="117" y="25"/>
                  </a:cubicBezTo>
                  <a:cubicBezTo>
                    <a:pt x="117" y="23"/>
                    <a:pt x="118" y="20"/>
                    <a:pt x="117" y="18"/>
                  </a:cubicBezTo>
                  <a:cubicBezTo>
                    <a:pt x="116" y="14"/>
                    <a:pt x="114" y="10"/>
                    <a:pt x="111" y="7"/>
                  </a:cubicBezTo>
                  <a:cubicBezTo>
                    <a:pt x="110" y="5"/>
                    <a:pt x="107" y="3"/>
                    <a:pt x="105" y="1"/>
                  </a:cubicBezTo>
                  <a:cubicBezTo>
                    <a:pt x="102" y="2"/>
                    <a:pt x="97" y="0"/>
                    <a:pt x="94" y="3"/>
                  </a:cubicBezTo>
                  <a:cubicBezTo>
                    <a:pt x="92" y="4"/>
                    <a:pt x="95" y="8"/>
                    <a:pt x="94" y="10"/>
                  </a:cubicBezTo>
                  <a:cubicBezTo>
                    <a:pt x="93" y="13"/>
                    <a:pt x="91" y="15"/>
                    <a:pt x="89" y="16"/>
                  </a:cubicBezTo>
                  <a:cubicBezTo>
                    <a:pt x="88" y="17"/>
                    <a:pt x="85" y="15"/>
                    <a:pt x="84" y="16"/>
                  </a:cubicBezTo>
                  <a:cubicBezTo>
                    <a:pt x="82" y="18"/>
                    <a:pt x="84" y="22"/>
                    <a:pt x="82" y="24"/>
                  </a:cubicBezTo>
                  <a:cubicBezTo>
                    <a:pt x="79" y="27"/>
                    <a:pt x="75" y="28"/>
                    <a:pt x="71" y="29"/>
                  </a:cubicBezTo>
                  <a:cubicBezTo>
                    <a:pt x="67" y="30"/>
                    <a:pt x="64" y="29"/>
                    <a:pt x="60" y="29"/>
                  </a:cubicBezTo>
                  <a:cubicBezTo>
                    <a:pt x="59" y="30"/>
                    <a:pt x="56" y="30"/>
                    <a:pt x="56" y="32"/>
                  </a:cubicBezTo>
                  <a:cubicBezTo>
                    <a:pt x="56" y="33"/>
                    <a:pt x="60" y="32"/>
                    <a:pt x="60" y="34"/>
                  </a:cubicBezTo>
                  <a:cubicBezTo>
                    <a:pt x="60" y="36"/>
                    <a:pt x="57" y="38"/>
                    <a:pt x="56" y="39"/>
                  </a:cubicBezTo>
                  <a:cubicBezTo>
                    <a:pt x="54" y="41"/>
                    <a:pt x="53" y="42"/>
                    <a:pt x="52" y="43"/>
                  </a:cubicBezTo>
                  <a:cubicBezTo>
                    <a:pt x="50" y="43"/>
                    <a:pt x="49" y="43"/>
                    <a:pt x="48" y="43"/>
                  </a:cubicBezTo>
                  <a:cubicBezTo>
                    <a:pt x="44" y="43"/>
                    <a:pt x="41" y="44"/>
                    <a:pt x="37" y="45"/>
                  </a:cubicBezTo>
                  <a:cubicBezTo>
                    <a:pt x="36" y="46"/>
                    <a:pt x="36" y="49"/>
                    <a:pt x="34" y="49"/>
                  </a:cubicBezTo>
                  <a:cubicBezTo>
                    <a:pt x="32" y="49"/>
                    <a:pt x="30" y="46"/>
                    <a:pt x="28" y="46"/>
                  </a:cubicBezTo>
                  <a:cubicBezTo>
                    <a:pt x="26" y="46"/>
                    <a:pt x="24" y="48"/>
                    <a:pt x="22" y="49"/>
                  </a:cubicBezTo>
                  <a:cubicBezTo>
                    <a:pt x="20" y="49"/>
                    <a:pt x="17" y="49"/>
                    <a:pt x="15" y="50"/>
                  </a:cubicBezTo>
                  <a:cubicBezTo>
                    <a:pt x="13" y="52"/>
                    <a:pt x="12" y="55"/>
                    <a:pt x="10" y="58"/>
                  </a:cubicBezTo>
                  <a:cubicBezTo>
                    <a:pt x="9" y="62"/>
                    <a:pt x="9" y="66"/>
                    <a:pt x="6" y="69"/>
                  </a:cubicBezTo>
                  <a:cubicBezTo>
                    <a:pt x="5" y="71"/>
                    <a:pt x="1" y="70"/>
                    <a:pt x="1" y="72"/>
                  </a:cubicBezTo>
                  <a:cubicBezTo>
                    <a:pt x="0" y="75"/>
                    <a:pt x="4" y="76"/>
                    <a:pt x="5" y="78"/>
                  </a:cubicBezTo>
                  <a:cubicBezTo>
                    <a:pt x="5" y="83"/>
                    <a:pt x="3" y="88"/>
                    <a:pt x="4" y="93"/>
                  </a:cubicBezTo>
                  <a:cubicBezTo>
                    <a:pt x="4" y="95"/>
                    <a:pt x="5" y="96"/>
                    <a:pt x="6" y="97"/>
                  </a:cubicBezTo>
                  <a:cubicBezTo>
                    <a:pt x="7" y="98"/>
                    <a:pt x="10" y="98"/>
                    <a:pt x="11" y="100"/>
                  </a:cubicBezTo>
                  <a:cubicBezTo>
                    <a:pt x="12" y="101"/>
                    <a:pt x="11" y="103"/>
                    <a:pt x="11" y="104"/>
                  </a:cubicBezTo>
                  <a:cubicBezTo>
                    <a:pt x="12" y="108"/>
                    <a:pt x="13" y="111"/>
                    <a:pt x="15" y="114"/>
                  </a:cubicBezTo>
                  <a:cubicBezTo>
                    <a:pt x="16" y="115"/>
                    <a:pt x="19" y="115"/>
                    <a:pt x="19" y="116"/>
                  </a:cubicBezTo>
                  <a:cubicBezTo>
                    <a:pt x="21" y="118"/>
                    <a:pt x="22" y="121"/>
                    <a:pt x="23" y="124"/>
                  </a:cubicBezTo>
                  <a:cubicBezTo>
                    <a:pt x="24" y="123"/>
                    <a:pt x="26" y="123"/>
                    <a:pt x="26" y="121"/>
                  </a:cubicBezTo>
                  <a:cubicBezTo>
                    <a:pt x="27" y="119"/>
                    <a:pt x="27" y="116"/>
                    <a:pt x="27" y="113"/>
                  </a:cubicBezTo>
                  <a:cubicBezTo>
                    <a:pt x="27" y="112"/>
                    <a:pt x="27" y="109"/>
                    <a:pt x="28" y="108"/>
                  </a:cubicBezTo>
                  <a:cubicBezTo>
                    <a:pt x="31" y="107"/>
                    <a:pt x="34" y="108"/>
                    <a:pt x="37" y="108"/>
                  </a:cubicBezTo>
                  <a:cubicBezTo>
                    <a:pt x="38" y="108"/>
                    <a:pt x="39" y="106"/>
                    <a:pt x="41" y="106"/>
                  </a:cubicBezTo>
                  <a:cubicBezTo>
                    <a:pt x="43" y="107"/>
                    <a:pt x="45" y="108"/>
                    <a:pt x="47" y="108"/>
                  </a:cubicBezTo>
                  <a:cubicBezTo>
                    <a:pt x="49" y="109"/>
                    <a:pt x="51" y="108"/>
                    <a:pt x="54" y="107"/>
                  </a:cubicBezTo>
                  <a:cubicBezTo>
                    <a:pt x="54" y="104"/>
                    <a:pt x="53" y="101"/>
                    <a:pt x="54" y="97"/>
                  </a:cubicBezTo>
                  <a:cubicBezTo>
                    <a:pt x="54" y="95"/>
                    <a:pt x="56" y="92"/>
                    <a:pt x="57" y="90"/>
                  </a:cubicBezTo>
                  <a:cubicBezTo>
                    <a:pt x="58" y="88"/>
                    <a:pt x="60" y="87"/>
                    <a:pt x="62" y="86"/>
                  </a:cubicBezTo>
                  <a:cubicBezTo>
                    <a:pt x="63" y="86"/>
                    <a:pt x="66" y="85"/>
                    <a:pt x="67" y="86"/>
                  </a:cubicBezTo>
                  <a:cubicBezTo>
                    <a:pt x="71" y="88"/>
                    <a:pt x="74" y="92"/>
                    <a:pt x="78" y="94"/>
                  </a:cubicBezTo>
                  <a:cubicBezTo>
                    <a:pt x="81" y="96"/>
                    <a:pt x="84" y="95"/>
                    <a:pt x="87" y="96"/>
                  </a:cubicBezTo>
                  <a:cubicBezTo>
                    <a:pt x="92" y="97"/>
                    <a:pt x="96" y="100"/>
                    <a:pt x="100" y="99"/>
                  </a:cubicBezTo>
                  <a:cubicBezTo>
                    <a:pt x="103" y="99"/>
                    <a:pt x="103" y="94"/>
                    <a:pt x="104" y="92"/>
                  </a:cubicBezTo>
                  <a:cubicBezTo>
                    <a:pt x="105" y="91"/>
                    <a:pt x="107" y="89"/>
                    <a:pt x="108" y="89"/>
                  </a:cubicBezTo>
                  <a:cubicBezTo>
                    <a:pt x="111" y="89"/>
                    <a:pt x="113" y="92"/>
                    <a:pt x="115" y="92"/>
                  </a:cubicBezTo>
                  <a:cubicBezTo>
                    <a:pt x="118" y="92"/>
                    <a:pt x="122" y="90"/>
                    <a:pt x="125" y="89"/>
                  </a:cubicBezTo>
                  <a:cubicBezTo>
                    <a:pt x="126" y="88"/>
                    <a:pt x="127" y="85"/>
                    <a:pt x="128" y="85"/>
                  </a:cubicBezTo>
                  <a:cubicBezTo>
                    <a:pt x="130" y="85"/>
                    <a:pt x="130" y="88"/>
                    <a:pt x="131" y="88"/>
                  </a:cubicBezTo>
                  <a:cubicBezTo>
                    <a:pt x="133" y="89"/>
                    <a:pt x="135" y="89"/>
                    <a:pt x="137" y="88"/>
                  </a:cubicBezTo>
                  <a:cubicBezTo>
                    <a:pt x="139" y="87"/>
                    <a:pt x="138" y="83"/>
                    <a:pt x="140" y="83"/>
                  </a:cubicBezTo>
                  <a:cubicBezTo>
                    <a:pt x="143" y="83"/>
                    <a:pt x="144" y="87"/>
                    <a:pt x="146" y="87"/>
                  </a:cubicBezTo>
                  <a:cubicBezTo>
                    <a:pt x="148" y="87"/>
                    <a:pt x="149" y="85"/>
                    <a:pt x="150" y="85"/>
                  </a:cubicBezTo>
                  <a:cubicBezTo>
                    <a:pt x="152" y="85"/>
                    <a:pt x="151" y="89"/>
                    <a:pt x="153" y="89"/>
                  </a:cubicBezTo>
                  <a:cubicBezTo>
                    <a:pt x="156" y="88"/>
                    <a:pt x="157" y="85"/>
                    <a:pt x="160" y="85"/>
                  </a:cubicBezTo>
                  <a:cubicBezTo>
                    <a:pt x="161" y="85"/>
                    <a:pt x="163" y="87"/>
                    <a:pt x="164" y="8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" name="Freeform 70"/>
            <p:cNvSpPr>
              <a:spLocks noChangeAspect="1"/>
            </p:cNvSpPr>
            <p:nvPr/>
          </p:nvSpPr>
          <p:spPr bwMode="auto">
            <a:xfrm>
              <a:off x="5351463" y="4049713"/>
              <a:ext cx="192087" cy="279400"/>
            </a:xfrm>
            <a:custGeom>
              <a:avLst/>
              <a:gdLst>
                <a:gd name="T0" fmla="*/ 192087 w 101"/>
                <a:gd name="T1" fmla="*/ 41815 h 147"/>
                <a:gd name="T2" fmla="*/ 182578 w 101"/>
                <a:gd name="T3" fmla="*/ 41815 h 147"/>
                <a:gd name="T4" fmla="*/ 171167 w 101"/>
                <a:gd name="T5" fmla="*/ 30411 h 147"/>
                <a:gd name="T6" fmla="*/ 148344 w 101"/>
                <a:gd name="T7" fmla="*/ 41815 h 147"/>
                <a:gd name="T8" fmla="*/ 144541 w 101"/>
                <a:gd name="T9" fmla="*/ 53219 h 147"/>
                <a:gd name="T10" fmla="*/ 110307 w 101"/>
                <a:gd name="T11" fmla="*/ 51318 h 147"/>
                <a:gd name="T12" fmla="*/ 83681 w 101"/>
                <a:gd name="T13" fmla="*/ 28510 h 147"/>
                <a:gd name="T14" fmla="*/ 68467 w 101"/>
                <a:gd name="T15" fmla="*/ 26610 h 147"/>
                <a:gd name="T16" fmla="*/ 55154 w 101"/>
                <a:gd name="T17" fmla="*/ 22808 h 147"/>
                <a:gd name="T18" fmla="*/ 53252 w 101"/>
                <a:gd name="T19" fmla="*/ 3801 h 147"/>
                <a:gd name="T20" fmla="*/ 39939 w 101"/>
                <a:gd name="T21" fmla="*/ 0 h 147"/>
                <a:gd name="T22" fmla="*/ 9509 w 101"/>
                <a:gd name="T23" fmla="*/ 32312 h 147"/>
                <a:gd name="T24" fmla="*/ 13313 w 101"/>
                <a:gd name="T25" fmla="*/ 41815 h 147"/>
                <a:gd name="T26" fmla="*/ 20920 w 101"/>
                <a:gd name="T27" fmla="*/ 45616 h 147"/>
                <a:gd name="T28" fmla="*/ 22822 w 101"/>
                <a:gd name="T29" fmla="*/ 62722 h 147"/>
                <a:gd name="T30" fmla="*/ 34233 w 101"/>
                <a:gd name="T31" fmla="*/ 79829 h 147"/>
                <a:gd name="T32" fmla="*/ 36135 w 101"/>
                <a:gd name="T33" fmla="*/ 100736 h 147"/>
                <a:gd name="T34" fmla="*/ 24724 w 101"/>
                <a:gd name="T35" fmla="*/ 117842 h 147"/>
                <a:gd name="T36" fmla="*/ 9509 w 101"/>
                <a:gd name="T37" fmla="*/ 136849 h 147"/>
                <a:gd name="T38" fmla="*/ 0 w 101"/>
                <a:gd name="T39" fmla="*/ 169161 h 147"/>
                <a:gd name="T40" fmla="*/ 95093 w 101"/>
                <a:gd name="T41" fmla="*/ 231883 h 147"/>
                <a:gd name="T42" fmla="*/ 96994 w 101"/>
                <a:gd name="T43" fmla="*/ 243287 h 147"/>
                <a:gd name="T44" fmla="*/ 136933 w 101"/>
                <a:gd name="T45" fmla="*/ 279400 h 147"/>
                <a:gd name="T46" fmla="*/ 138835 w 101"/>
                <a:gd name="T47" fmla="*/ 269897 h 147"/>
                <a:gd name="T48" fmla="*/ 142639 w 101"/>
                <a:gd name="T49" fmla="*/ 258493 h 147"/>
                <a:gd name="T50" fmla="*/ 152148 w 101"/>
                <a:gd name="T51" fmla="*/ 241386 h 147"/>
                <a:gd name="T52" fmla="*/ 157854 w 101"/>
                <a:gd name="T53" fmla="*/ 228082 h 147"/>
                <a:gd name="T54" fmla="*/ 157854 w 101"/>
                <a:gd name="T55" fmla="*/ 218578 h 147"/>
                <a:gd name="T56" fmla="*/ 167363 w 101"/>
                <a:gd name="T57" fmla="*/ 216678 h 147"/>
                <a:gd name="T58" fmla="*/ 173068 w 101"/>
                <a:gd name="T59" fmla="*/ 207174 h 147"/>
                <a:gd name="T60" fmla="*/ 180676 w 101"/>
                <a:gd name="T61" fmla="*/ 199571 h 147"/>
                <a:gd name="T62" fmla="*/ 190185 w 101"/>
                <a:gd name="T63" fmla="*/ 193869 h 147"/>
                <a:gd name="T64" fmla="*/ 174970 w 101"/>
                <a:gd name="T65" fmla="*/ 174863 h 147"/>
                <a:gd name="T66" fmla="*/ 174970 w 101"/>
                <a:gd name="T67" fmla="*/ 72226 h 147"/>
                <a:gd name="T68" fmla="*/ 186381 w 101"/>
                <a:gd name="T69" fmla="*/ 58921 h 147"/>
                <a:gd name="T70" fmla="*/ 192087 w 101"/>
                <a:gd name="T71" fmla="*/ 41815 h 14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1"/>
                <a:gd name="T109" fmla="*/ 0 h 147"/>
                <a:gd name="T110" fmla="*/ 101 w 101"/>
                <a:gd name="T111" fmla="*/ 147 h 14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1" h="147">
                  <a:moveTo>
                    <a:pt x="101" y="22"/>
                  </a:moveTo>
                  <a:cubicBezTo>
                    <a:pt x="100" y="22"/>
                    <a:pt x="97" y="23"/>
                    <a:pt x="96" y="22"/>
                  </a:cubicBezTo>
                  <a:cubicBezTo>
                    <a:pt x="93" y="21"/>
                    <a:pt x="93" y="16"/>
                    <a:pt x="90" y="16"/>
                  </a:cubicBezTo>
                  <a:cubicBezTo>
                    <a:pt x="85" y="16"/>
                    <a:pt x="82" y="19"/>
                    <a:pt x="78" y="22"/>
                  </a:cubicBezTo>
                  <a:cubicBezTo>
                    <a:pt x="77" y="23"/>
                    <a:pt x="78" y="28"/>
                    <a:pt x="76" y="28"/>
                  </a:cubicBezTo>
                  <a:lnTo>
                    <a:pt x="58" y="27"/>
                  </a:lnTo>
                  <a:cubicBezTo>
                    <a:pt x="52" y="26"/>
                    <a:pt x="49" y="18"/>
                    <a:pt x="44" y="15"/>
                  </a:cubicBezTo>
                  <a:cubicBezTo>
                    <a:pt x="41" y="14"/>
                    <a:pt x="38" y="15"/>
                    <a:pt x="36" y="14"/>
                  </a:cubicBezTo>
                  <a:cubicBezTo>
                    <a:pt x="33" y="14"/>
                    <a:pt x="30" y="14"/>
                    <a:pt x="29" y="12"/>
                  </a:cubicBezTo>
                  <a:cubicBezTo>
                    <a:pt x="27" y="9"/>
                    <a:pt x="30" y="5"/>
                    <a:pt x="28" y="2"/>
                  </a:cubicBezTo>
                  <a:cubicBezTo>
                    <a:pt x="27" y="0"/>
                    <a:pt x="23" y="1"/>
                    <a:pt x="21" y="0"/>
                  </a:cubicBezTo>
                  <a:lnTo>
                    <a:pt x="5" y="17"/>
                  </a:lnTo>
                  <a:cubicBezTo>
                    <a:pt x="6" y="19"/>
                    <a:pt x="6" y="20"/>
                    <a:pt x="7" y="22"/>
                  </a:cubicBezTo>
                  <a:cubicBezTo>
                    <a:pt x="8" y="23"/>
                    <a:pt x="10" y="23"/>
                    <a:pt x="11" y="24"/>
                  </a:cubicBezTo>
                  <a:cubicBezTo>
                    <a:pt x="12" y="27"/>
                    <a:pt x="11" y="30"/>
                    <a:pt x="12" y="33"/>
                  </a:cubicBezTo>
                  <a:cubicBezTo>
                    <a:pt x="13" y="36"/>
                    <a:pt x="17" y="39"/>
                    <a:pt x="18" y="42"/>
                  </a:cubicBezTo>
                  <a:cubicBezTo>
                    <a:pt x="19" y="46"/>
                    <a:pt x="20" y="50"/>
                    <a:pt x="19" y="53"/>
                  </a:cubicBezTo>
                  <a:cubicBezTo>
                    <a:pt x="18" y="57"/>
                    <a:pt x="15" y="59"/>
                    <a:pt x="13" y="62"/>
                  </a:cubicBezTo>
                  <a:cubicBezTo>
                    <a:pt x="11" y="65"/>
                    <a:pt x="7" y="69"/>
                    <a:pt x="5" y="72"/>
                  </a:cubicBezTo>
                  <a:cubicBezTo>
                    <a:pt x="3" y="77"/>
                    <a:pt x="2" y="83"/>
                    <a:pt x="0" y="89"/>
                  </a:cubicBezTo>
                  <a:lnTo>
                    <a:pt x="50" y="122"/>
                  </a:lnTo>
                  <a:lnTo>
                    <a:pt x="51" y="128"/>
                  </a:lnTo>
                  <a:lnTo>
                    <a:pt x="72" y="147"/>
                  </a:lnTo>
                  <a:cubicBezTo>
                    <a:pt x="72" y="145"/>
                    <a:pt x="72" y="144"/>
                    <a:pt x="73" y="142"/>
                  </a:cubicBezTo>
                  <a:cubicBezTo>
                    <a:pt x="73" y="140"/>
                    <a:pt x="74" y="138"/>
                    <a:pt x="75" y="136"/>
                  </a:cubicBezTo>
                  <a:cubicBezTo>
                    <a:pt x="77" y="133"/>
                    <a:pt x="78" y="130"/>
                    <a:pt x="80" y="127"/>
                  </a:cubicBezTo>
                  <a:cubicBezTo>
                    <a:pt x="81" y="124"/>
                    <a:pt x="82" y="122"/>
                    <a:pt x="83" y="120"/>
                  </a:cubicBezTo>
                  <a:cubicBezTo>
                    <a:pt x="83" y="118"/>
                    <a:pt x="81" y="116"/>
                    <a:pt x="83" y="115"/>
                  </a:cubicBezTo>
                  <a:cubicBezTo>
                    <a:pt x="84" y="113"/>
                    <a:pt x="86" y="115"/>
                    <a:pt x="88" y="114"/>
                  </a:cubicBezTo>
                  <a:cubicBezTo>
                    <a:pt x="89" y="113"/>
                    <a:pt x="89" y="110"/>
                    <a:pt x="91" y="109"/>
                  </a:cubicBezTo>
                  <a:cubicBezTo>
                    <a:pt x="92" y="107"/>
                    <a:pt x="94" y="106"/>
                    <a:pt x="95" y="105"/>
                  </a:cubicBezTo>
                  <a:cubicBezTo>
                    <a:pt x="96" y="104"/>
                    <a:pt x="98" y="103"/>
                    <a:pt x="100" y="102"/>
                  </a:cubicBezTo>
                  <a:lnTo>
                    <a:pt x="92" y="92"/>
                  </a:lnTo>
                  <a:lnTo>
                    <a:pt x="92" y="38"/>
                  </a:lnTo>
                  <a:lnTo>
                    <a:pt x="98" y="31"/>
                  </a:lnTo>
                  <a:cubicBezTo>
                    <a:pt x="101" y="29"/>
                    <a:pt x="100" y="25"/>
                    <a:pt x="101" y="2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" name="Freeform 71"/>
            <p:cNvSpPr>
              <a:spLocks noChangeAspect="1"/>
            </p:cNvSpPr>
            <p:nvPr/>
          </p:nvSpPr>
          <p:spPr bwMode="auto">
            <a:xfrm>
              <a:off x="5253038" y="4081463"/>
              <a:ext cx="136525" cy="155575"/>
            </a:xfrm>
            <a:custGeom>
              <a:avLst/>
              <a:gdLst>
                <a:gd name="T0" fmla="*/ 98067 w 71"/>
                <a:gd name="T1" fmla="*/ 138289 h 81"/>
                <a:gd name="T2" fmla="*/ 88453 w 71"/>
                <a:gd name="T3" fmla="*/ 144051 h 81"/>
                <a:gd name="T4" fmla="*/ 65378 w 71"/>
                <a:gd name="T5" fmla="*/ 144051 h 81"/>
                <a:gd name="T6" fmla="*/ 36535 w 71"/>
                <a:gd name="T7" fmla="*/ 142130 h 81"/>
                <a:gd name="T8" fmla="*/ 21152 w 71"/>
                <a:gd name="T9" fmla="*/ 145972 h 81"/>
                <a:gd name="T10" fmla="*/ 11537 w 71"/>
                <a:gd name="T11" fmla="*/ 153654 h 81"/>
                <a:gd name="T12" fmla="*/ 0 w 71"/>
                <a:gd name="T13" fmla="*/ 151734 h 81"/>
                <a:gd name="T14" fmla="*/ 1923 w 71"/>
                <a:gd name="T15" fmla="*/ 130606 h 81"/>
                <a:gd name="T16" fmla="*/ 3846 w 71"/>
                <a:gd name="T17" fmla="*/ 119082 h 81"/>
                <a:gd name="T18" fmla="*/ 9614 w 71"/>
                <a:gd name="T19" fmla="*/ 101796 h 81"/>
                <a:gd name="T20" fmla="*/ 15383 w 71"/>
                <a:gd name="T21" fmla="*/ 88351 h 81"/>
                <a:gd name="T22" fmla="*/ 21152 w 71"/>
                <a:gd name="T23" fmla="*/ 82589 h 81"/>
                <a:gd name="T24" fmla="*/ 23075 w 71"/>
                <a:gd name="T25" fmla="*/ 72986 h 81"/>
                <a:gd name="T26" fmla="*/ 32689 w 71"/>
                <a:gd name="T27" fmla="*/ 65303 h 81"/>
                <a:gd name="T28" fmla="*/ 42304 w 71"/>
                <a:gd name="T29" fmla="*/ 57620 h 81"/>
                <a:gd name="T30" fmla="*/ 30766 w 71"/>
                <a:gd name="T31" fmla="*/ 53779 h 81"/>
                <a:gd name="T32" fmla="*/ 34612 w 71"/>
                <a:gd name="T33" fmla="*/ 40334 h 81"/>
                <a:gd name="T34" fmla="*/ 26920 w 71"/>
                <a:gd name="T35" fmla="*/ 34572 h 81"/>
                <a:gd name="T36" fmla="*/ 30766 w 71"/>
                <a:gd name="T37" fmla="*/ 28810 h 81"/>
                <a:gd name="T38" fmla="*/ 26920 w 71"/>
                <a:gd name="T39" fmla="*/ 21127 h 81"/>
                <a:gd name="T40" fmla="*/ 32689 w 71"/>
                <a:gd name="T41" fmla="*/ 15365 h 81"/>
                <a:gd name="T42" fmla="*/ 46149 w 71"/>
                <a:gd name="T43" fmla="*/ 15365 h 81"/>
                <a:gd name="T44" fmla="*/ 55764 w 71"/>
                <a:gd name="T45" fmla="*/ 9603 h 81"/>
                <a:gd name="T46" fmla="*/ 61532 w 71"/>
                <a:gd name="T47" fmla="*/ 17286 h 81"/>
                <a:gd name="T48" fmla="*/ 69224 w 71"/>
                <a:gd name="T49" fmla="*/ 13445 h 81"/>
                <a:gd name="T50" fmla="*/ 82684 w 71"/>
                <a:gd name="T51" fmla="*/ 7683 h 81"/>
                <a:gd name="T52" fmla="*/ 88453 w 71"/>
                <a:gd name="T53" fmla="*/ 11524 h 81"/>
                <a:gd name="T54" fmla="*/ 98067 w 71"/>
                <a:gd name="T55" fmla="*/ 11524 h 81"/>
                <a:gd name="T56" fmla="*/ 107682 w 71"/>
                <a:gd name="T57" fmla="*/ 0 h 81"/>
                <a:gd name="T58" fmla="*/ 111527 w 71"/>
                <a:gd name="T59" fmla="*/ 9603 h 81"/>
                <a:gd name="T60" fmla="*/ 119219 w 71"/>
                <a:gd name="T61" fmla="*/ 13445 h 81"/>
                <a:gd name="T62" fmla="*/ 121142 w 71"/>
                <a:gd name="T63" fmla="*/ 30731 h 81"/>
                <a:gd name="T64" fmla="*/ 132679 w 71"/>
                <a:gd name="T65" fmla="*/ 48017 h 81"/>
                <a:gd name="T66" fmla="*/ 134602 w 71"/>
                <a:gd name="T67" fmla="*/ 69144 h 81"/>
                <a:gd name="T68" fmla="*/ 123065 w 71"/>
                <a:gd name="T69" fmla="*/ 86431 h 81"/>
                <a:gd name="T70" fmla="*/ 107682 w 71"/>
                <a:gd name="T71" fmla="*/ 105637 h 81"/>
                <a:gd name="T72" fmla="*/ 98067 w 71"/>
                <a:gd name="T73" fmla="*/ 138289 h 8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1"/>
                <a:gd name="T112" fmla="*/ 0 h 81"/>
                <a:gd name="T113" fmla="*/ 71 w 71"/>
                <a:gd name="T114" fmla="*/ 81 h 8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1" h="81">
                  <a:moveTo>
                    <a:pt x="51" y="72"/>
                  </a:moveTo>
                  <a:cubicBezTo>
                    <a:pt x="49" y="73"/>
                    <a:pt x="48" y="74"/>
                    <a:pt x="46" y="75"/>
                  </a:cubicBezTo>
                  <a:cubicBezTo>
                    <a:pt x="42" y="76"/>
                    <a:pt x="38" y="76"/>
                    <a:pt x="34" y="75"/>
                  </a:cubicBezTo>
                  <a:cubicBezTo>
                    <a:pt x="29" y="75"/>
                    <a:pt x="24" y="74"/>
                    <a:pt x="19" y="74"/>
                  </a:cubicBezTo>
                  <a:cubicBezTo>
                    <a:pt x="16" y="74"/>
                    <a:pt x="14" y="76"/>
                    <a:pt x="11" y="76"/>
                  </a:cubicBezTo>
                  <a:cubicBezTo>
                    <a:pt x="10" y="77"/>
                    <a:pt x="9" y="80"/>
                    <a:pt x="6" y="80"/>
                  </a:cubicBezTo>
                  <a:cubicBezTo>
                    <a:pt x="4" y="81"/>
                    <a:pt x="2" y="80"/>
                    <a:pt x="0" y="79"/>
                  </a:cubicBezTo>
                  <a:cubicBezTo>
                    <a:pt x="0" y="75"/>
                    <a:pt x="1" y="72"/>
                    <a:pt x="1" y="68"/>
                  </a:cubicBezTo>
                  <a:cubicBezTo>
                    <a:pt x="1" y="66"/>
                    <a:pt x="1" y="64"/>
                    <a:pt x="2" y="62"/>
                  </a:cubicBezTo>
                  <a:cubicBezTo>
                    <a:pt x="3" y="59"/>
                    <a:pt x="4" y="56"/>
                    <a:pt x="5" y="53"/>
                  </a:cubicBezTo>
                  <a:cubicBezTo>
                    <a:pt x="6" y="50"/>
                    <a:pt x="6" y="48"/>
                    <a:pt x="8" y="46"/>
                  </a:cubicBezTo>
                  <a:cubicBezTo>
                    <a:pt x="8" y="44"/>
                    <a:pt x="10" y="44"/>
                    <a:pt x="11" y="43"/>
                  </a:cubicBezTo>
                  <a:cubicBezTo>
                    <a:pt x="12" y="41"/>
                    <a:pt x="11" y="39"/>
                    <a:pt x="12" y="38"/>
                  </a:cubicBezTo>
                  <a:cubicBezTo>
                    <a:pt x="13" y="36"/>
                    <a:pt x="15" y="35"/>
                    <a:pt x="17" y="34"/>
                  </a:cubicBezTo>
                  <a:cubicBezTo>
                    <a:pt x="18" y="32"/>
                    <a:pt x="22" y="32"/>
                    <a:pt x="22" y="30"/>
                  </a:cubicBezTo>
                  <a:cubicBezTo>
                    <a:pt x="21" y="28"/>
                    <a:pt x="17" y="29"/>
                    <a:pt x="16" y="28"/>
                  </a:cubicBezTo>
                  <a:cubicBezTo>
                    <a:pt x="15" y="26"/>
                    <a:pt x="18" y="24"/>
                    <a:pt x="18" y="21"/>
                  </a:cubicBezTo>
                  <a:cubicBezTo>
                    <a:pt x="17" y="20"/>
                    <a:pt x="14" y="20"/>
                    <a:pt x="14" y="18"/>
                  </a:cubicBezTo>
                  <a:cubicBezTo>
                    <a:pt x="14" y="17"/>
                    <a:pt x="16" y="16"/>
                    <a:pt x="16" y="15"/>
                  </a:cubicBezTo>
                  <a:cubicBezTo>
                    <a:pt x="17" y="14"/>
                    <a:pt x="15" y="12"/>
                    <a:pt x="14" y="11"/>
                  </a:cubicBezTo>
                  <a:cubicBezTo>
                    <a:pt x="15" y="10"/>
                    <a:pt x="15" y="8"/>
                    <a:pt x="17" y="8"/>
                  </a:cubicBezTo>
                  <a:cubicBezTo>
                    <a:pt x="19" y="7"/>
                    <a:pt x="22" y="8"/>
                    <a:pt x="24" y="8"/>
                  </a:cubicBezTo>
                  <a:cubicBezTo>
                    <a:pt x="26" y="7"/>
                    <a:pt x="27" y="4"/>
                    <a:pt x="29" y="5"/>
                  </a:cubicBezTo>
                  <a:cubicBezTo>
                    <a:pt x="31" y="5"/>
                    <a:pt x="30" y="9"/>
                    <a:pt x="32" y="9"/>
                  </a:cubicBezTo>
                  <a:cubicBezTo>
                    <a:pt x="33" y="10"/>
                    <a:pt x="34" y="7"/>
                    <a:pt x="36" y="7"/>
                  </a:cubicBezTo>
                  <a:cubicBezTo>
                    <a:pt x="38" y="5"/>
                    <a:pt x="40" y="4"/>
                    <a:pt x="43" y="4"/>
                  </a:cubicBezTo>
                  <a:cubicBezTo>
                    <a:pt x="44" y="4"/>
                    <a:pt x="45" y="6"/>
                    <a:pt x="46" y="6"/>
                  </a:cubicBezTo>
                  <a:cubicBezTo>
                    <a:pt x="48" y="6"/>
                    <a:pt x="50" y="7"/>
                    <a:pt x="51" y="6"/>
                  </a:cubicBezTo>
                  <a:cubicBezTo>
                    <a:pt x="54" y="5"/>
                    <a:pt x="55" y="2"/>
                    <a:pt x="56" y="0"/>
                  </a:cubicBezTo>
                  <a:cubicBezTo>
                    <a:pt x="57" y="2"/>
                    <a:pt x="57" y="3"/>
                    <a:pt x="58" y="5"/>
                  </a:cubicBezTo>
                  <a:cubicBezTo>
                    <a:pt x="59" y="6"/>
                    <a:pt x="61" y="6"/>
                    <a:pt x="62" y="7"/>
                  </a:cubicBezTo>
                  <a:cubicBezTo>
                    <a:pt x="63" y="10"/>
                    <a:pt x="62" y="13"/>
                    <a:pt x="63" y="16"/>
                  </a:cubicBezTo>
                  <a:cubicBezTo>
                    <a:pt x="64" y="19"/>
                    <a:pt x="68" y="22"/>
                    <a:pt x="69" y="25"/>
                  </a:cubicBezTo>
                  <a:cubicBezTo>
                    <a:pt x="70" y="29"/>
                    <a:pt x="71" y="33"/>
                    <a:pt x="70" y="36"/>
                  </a:cubicBezTo>
                  <a:cubicBezTo>
                    <a:pt x="69" y="40"/>
                    <a:pt x="66" y="42"/>
                    <a:pt x="64" y="45"/>
                  </a:cubicBezTo>
                  <a:cubicBezTo>
                    <a:pt x="62" y="48"/>
                    <a:pt x="58" y="52"/>
                    <a:pt x="56" y="55"/>
                  </a:cubicBezTo>
                  <a:cubicBezTo>
                    <a:pt x="54" y="60"/>
                    <a:pt x="53" y="66"/>
                    <a:pt x="51" y="7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" name="Freeform 72"/>
            <p:cNvSpPr>
              <a:spLocks noChangeAspect="1"/>
            </p:cNvSpPr>
            <p:nvPr/>
          </p:nvSpPr>
          <p:spPr bwMode="auto">
            <a:xfrm>
              <a:off x="5329238" y="3783013"/>
              <a:ext cx="368300" cy="320675"/>
            </a:xfrm>
            <a:custGeom>
              <a:avLst/>
              <a:gdLst>
                <a:gd name="T0" fmla="*/ 221362 w 193"/>
                <a:gd name="T1" fmla="*/ 87804 h 168"/>
                <a:gd name="T2" fmla="*/ 213728 w 193"/>
                <a:gd name="T3" fmla="*/ 114527 h 168"/>
                <a:gd name="T4" fmla="*/ 228995 w 193"/>
                <a:gd name="T5" fmla="*/ 114527 h 168"/>
                <a:gd name="T6" fmla="*/ 230903 w 193"/>
                <a:gd name="T7" fmla="*/ 131706 h 168"/>
                <a:gd name="T8" fmla="*/ 249986 w 193"/>
                <a:gd name="T9" fmla="*/ 156520 h 168"/>
                <a:gd name="T10" fmla="*/ 339676 w 193"/>
                <a:gd name="T11" fmla="*/ 198513 h 168"/>
                <a:gd name="T12" fmla="*/ 291968 w 193"/>
                <a:gd name="T13" fmla="*/ 280591 h 168"/>
                <a:gd name="T14" fmla="*/ 238536 w 193"/>
                <a:gd name="T15" fmla="*/ 293952 h 168"/>
                <a:gd name="T16" fmla="*/ 204187 w 193"/>
                <a:gd name="T17" fmla="*/ 309222 h 168"/>
                <a:gd name="T18" fmla="*/ 169838 w 193"/>
                <a:gd name="T19" fmla="*/ 309222 h 168"/>
                <a:gd name="T20" fmla="*/ 131672 w 193"/>
                <a:gd name="T21" fmla="*/ 318766 h 168"/>
                <a:gd name="T22" fmla="*/ 89690 w 193"/>
                <a:gd name="T23" fmla="*/ 293952 h 168"/>
                <a:gd name="T24" fmla="*/ 74423 w 193"/>
                <a:gd name="T25" fmla="*/ 271047 h 168"/>
                <a:gd name="T26" fmla="*/ 55340 w 193"/>
                <a:gd name="T27" fmla="*/ 257685 h 168"/>
                <a:gd name="T28" fmla="*/ 38166 w 193"/>
                <a:gd name="T29" fmla="*/ 223327 h 168"/>
                <a:gd name="T30" fmla="*/ 3817 w 193"/>
                <a:gd name="T31" fmla="*/ 202331 h 168"/>
                <a:gd name="T32" fmla="*/ 20991 w 193"/>
                <a:gd name="T33" fmla="*/ 185152 h 168"/>
                <a:gd name="T34" fmla="*/ 30533 w 193"/>
                <a:gd name="T35" fmla="*/ 158429 h 168"/>
                <a:gd name="T36" fmla="*/ 30533 w 193"/>
                <a:gd name="T37" fmla="*/ 127888 h 168"/>
                <a:gd name="T38" fmla="*/ 43891 w 193"/>
                <a:gd name="T39" fmla="*/ 122162 h 168"/>
                <a:gd name="T40" fmla="*/ 51524 w 193"/>
                <a:gd name="T41" fmla="*/ 87804 h 168"/>
                <a:gd name="T42" fmla="*/ 64882 w 193"/>
                <a:gd name="T43" fmla="*/ 64899 h 168"/>
                <a:gd name="T44" fmla="*/ 78240 w 193"/>
                <a:gd name="T45" fmla="*/ 55355 h 168"/>
                <a:gd name="T46" fmla="*/ 83965 w 193"/>
                <a:gd name="T47" fmla="*/ 30540 h 168"/>
                <a:gd name="T48" fmla="*/ 99231 w 193"/>
                <a:gd name="T49" fmla="*/ 22905 h 168"/>
                <a:gd name="T50" fmla="*/ 112589 w 193"/>
                <a:gd name="T51" fmla="*/ 24814 h 168"/>
                <a:gd name="T52" fmla="*/ 125947 w 193"/>
                <a:gd name="T53" fmla="*/ 11453 h 168"/>
                <a:gd name="T54" fmla="*/ 143122 w 193"/>
                <a:gd name="T55" fmla="*/ 15270 h 168"/>
                <a:gd name="T56" fmla="*/ 156480 w 193"/>
                <a:gd name="T57" fmla="*/ 17179 h 168"/>
                <a:gd name="T58" fmla="*/ 190829 w 193"/>
                <a:gd name="T59" fmla="*/ 28632 h 168"/>
                <a:gd name="T60" fmla="*/ 215637 w 193"/>
                <a:gd name="T61" fmla="*/ 57263 h 168"/>
                <a:gd name="T62" fmla="*/ 227087 w 193"/>
                <a:gd name="T63" fmla="*/ 74442 h 16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3"/>
                <a:gd name="T97" fmla="*/ 0 h 168"/>
                <a:gd name="T98" fmla="*/ 193 w 193"/>
                <a:gd name="T99" fmla="*/ 168 h 16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3" h="168">
                  <a:moveTo>
                    <a:pt x="119" y="39"/>
                  </a:moveTo>
                  <a:cubicBezTo>
                    <a:pt x="118" y="41"/>
                    <a:pt x="117" y="44"/>
                    <a:pt x="116" y="46"/>
                  </a:cubicBezTo>
                  <a:cubicBezTo>
                    <a:pt x="115" y="48"/>
                    <a:pt x="113" y="50"/>
                    <a:pt x="112" y="52"/>
                  </a:cubicBezTo>
                  <a:cubicBezTo>
                    <a:pt x="112" y="55"/>
                    <a:pt x="112" y="57"/>
                    <a:pt x="112" y="60"/>
                  </a:cubicBezTo>
                  <a:cubicBezTo>
                    <a:pt x="113" y="61"/>
                    <a:pt x="114" y="62"/>
                    <a:pt x="115" y="62"/>
                  </a:cubicBezTo>
                  <a:cubicBezTo>
                    <a:pt x="117" y="62"/>
                    <a:pt x="118" y="60"/>
                    <a:pt x="120" y="60"/>
                  </a:cubicBezTo>
                  <a:cubicBezTo>
                    <a:pt x="122" y="60"/>
                    <a:pt x="124" y="60"/>
                    <a:pt x="126" y="60"/>
                  </a:cubicBezTo>
                  <a:cubicBezTo>
                    <a:pt x="124" y="63"/>
                    <a:pt x="120" y="66"/>
                    <a:pt x="121" y="69"/>
                  </a:cubicBezTo>
                  <a:cubicBezTo>
                    <a:pt x="122" y="73"/>
                    <a:pt x="127" y="74"/>
                    <a:pt x="129" y="77"/>
                  </a:cubicBezTo>
                  <a:cubicBezTo>
                    <a:pt x="130" y="78"/>
                    <a:pt x="130" y="80"/>
                    <a:pt x="131" y="82"/>
                  </a:cubicBezTo>
                  <a:cubicBezTo>
                    <a:pt x="133" y="84"/>
                    <a:pt x="134" y="87"/>
                    <a:pt x="137" y="88"/>
                  </a:cubicBezTo>
                  <a:lnTo>
                    <a:pt x="178" y="104"/>
                  </a:lnTo>
                  <a:cubicBezTo>
                    <a:pt x="182" y="105"/>
                    <a:pt x="193" y="99"/>
                    <a:pt x="190" y="102"/>
                  </a:cubicBezTo>
                  <a:lnTo>
                    <a:pt x="153" y="147"/>
                  </a:lnTo>
                  <a:cubicBezTo>
                    <a:pt x="150" y="151"/>
                    <a:pt x="143" y="147"/>
                    <a:pt x="139" y="148"/>
                  </a:cubicBezTo>
                  <a:cubicBezTo>
                    <a:pt x="134" y="149"/>
                    <a:pt x="130" y="152"/>
                    <a:pt x="125" y="154"/>
                  </a:cubicBezTo>
                  <a:cubicBezTo>
                    <a:pt x="121" y="156"/>
                    <a:pt x="116" y="160"/>
                    <a:pt x="112" y="162"/>
                  </a:cubicBezTo>
                  <a:cubicBezTo>
                    <a:pt x="111" y="162"/>
                    <a:pt x="108" y="163"/>
                    <a:pt x="107" y="162"/>
                  </a:cubicBezTo>
                  <a:cubicBezTo>
                    <a:pt x="104" y="161"/>
                    <a:pt x="104" y="156"/>
                    <a:pt x="101" y="156"/>
                  </a:cubicBezTo>
                  <a:cubicBezTo>
                    <a:pt x="96" y="156"/>
                    <a:pt x="93" y="159"/>
                    <a:pt x="89" y="162"/>
                  </a:cubicBezTo>
                  <a:cubicBezTo>
                    <a:pt x="88" y="163"/>
                    <a:pt x="89" y="168"/>
                    <a:pt x="87" y="168"/>
                  </a:cubicBezTo>
                  <a:lnTo>
                    <a:pt x="69" y="167"/>
                  </a:lnTo>
                  <a:cubicBezTo>
                    <a:pt x="63" y="166"/>
                    <a:pt x="60" y="158"/>
                    <a:pt x="55" y="155"/>
                  </a:cubicBezTo>
                  <a:cubicBezTo>
                    <a:pt x="52" y="154"/>
                    <a:pt x="49" y="155"/>
                    <a:pt x="47" y="154"/>
                  </a:cubicBezTo>
                  <a:cubicBezTo>
                    <a:pt x="44" y="154"/>
                    <a:pt x="41" y="154"/>
                    <a:pt x="40" y="152"/>
                  </a:cubicBezTo>
                  <a:cubicBezTo>
                    <a:pt x="38" y="149"/>
                    <a:pt x="41" y="145"/>
                    <a:pt x="39" y="142"/>
                  </a:cubicBezTo>
                  <a:cubicBezTo>
                    <a:pt x="38" y="140"/>
                    <a:pt x="34" y="141"/>
                    <a:pt x="32" y="140"/>
                  </a:cubicBezTo>
                  <a:cubicBezTo>
                    <a:pt x="31" y="138"/>
                    <a:pt x="29" y="137"/>
                    <a:pt x="29" y="135"/>
                  </a:cubicBezTo>
                  <a:cubicBezTo>
                    <a:pt x="27" y="132"/>
                    <a:pt x="28" y="128"/>
                    <a:pt x="26" y="125"/>
                  </a:cubicBezTo>
                  <a:cubicBezTo>
                    <a:pt x="25" y="122"/>
                    <a:pt x="22" y="120"/>
                    <a:pt x="20" y="117"/>
                  </a:cubicBezTo>
                  <a:cubicBezTo>
                    <a:pt x="17" y="114"/>
                    <a:pt x="16" y="109"/>
                    <a:pt x="12" y="107"/>
                  </a:cubicBezTo>
                  <a:cubicBezTo>
                    <a:pt x="9" y="105"/>
                    <a:pt x="5" y="108"/>
                    <a:pt x="2" y="106"/>
                  </a:cubicBezTo>
                  <a:cubicBezTo>
                    <a:pt x="0" y="104"/>
                    <a:pt x="1" y="100"/>
                    <a:pt x="3" y="98"/>
                  </a:cubicBezTo>
                  <a:cubicBezTo>
                    <a:pt x="5" y="96"/>
                    <a:pt x="9" y="98"/>
                    <a:pt x="11" y="97"/>
                  </a:cubicBezTo>
                  <a:cubicBezTo>
                    <a:pt x="13" y="97"/>
                    <a:pt x="16" y="97"/>
                    <a:pt x="16" y="96"/>
                  </a:cubicBezTo>
                  <a:cubicBezTo>
                    <a:pt x="18" y="92"/>
                    <a:pt x="15" y="87"/>
                    <a:pt x="16" y="83"/>
                  </a:cubicBezTo>
                  <a:cubicBezTo>
                    <a:pt x="16" y="79"/>
                    <a:pt x="18" y="75"/>
                    <a:pt x="18" y="71"/>
                  </a:cubicBezTo>
                  <a:cubicBezTo>
                    <a:pt x="18" y="70"/>
                    <a:pt x="16" y="69"/>
                    <a:pt x="16" y="67"/>
                  </a:cubicBezTo>
                  <a:cubicBezTo>
                    <a:pt x="16" y="65"/>
                    <a:pt x="17" y="64"/>
                    <a:pt x="19" y="63"/>
                  </a:cubicBezTo>
                  <a:cubicBezTo>
                    <a:pt x="20" y="63"/>
                    <a:pt x="21" y="64"/>
                    <a:pt x="23" y="64"/>
                  </a:cubicBezTo>
                  <a:cubicBezTo>
                    <a:pt x="24" y="64"/>
                    <a:pt x="26" y="65"/>
                    <a:pt x="26" y="64"/>
                  </a:cubicBezTo>
                  <a:cubicBezTo>
                    <a:pt x="27" y="58"/>
                    <a:pt x="25" y="52"/>
                    <a:pt x="27" y="46"/>
                  </a:cubicBezTo>
                  <a:cubicBezTo>
                    <a:pt x="27" y="44"/>
                    <a:pt x="30" y="44"/>
                    <a:pt x="31" y="43"/>
                  </a:cubicBezTo>
                  <a:cubicBezTo>
                    <a:pt x="32" y="40"/>
                    <a:pt x="32" y="36"/>
                    <a:pt x="34" y="34"/>
                  </a:cubicBezTo>
                  <a:cubicBezTo>
                    <a:pt x="36" y="32"/>
                    <a:pt x="39" y="33"/>
                    <a:pt x="41" y="32"/>
                  </a:cubicBezTo>
                  <a:cubicBezTo>
                    <a:pt x="42" y="31"/>
                    <a:pt x="40" y="30"/>
                    <a:pt x="41" y="29"/>
                  </a:cubicBezTo>
                  <a:cubicBezTo>
                    <a:pt x="42" y="26"/>
                    <a:pt x="44" y="24"/>
                    <a:pt x="44" y="22"/>
                  </a:cubicBezTo>
                  <a:cubicBezTo>
                    <a:pt x="45" y="20"/>
                    <a:pt x="43" y="18"/>
                    <a:pt x="44" y="16"/>
                  </a:cubicBezTo>
                  <a:cubicBezTo>
                    <a:pt x="44" y="14"/>
                    <a:pt x="46" y="13"/>
                    <a:pt x="47" y="12"/>
                  </a:cubicBezTo>
                  <a:cubicBezTo>
                    <a:pt x="48" y="12"/>
                    <a:pt x="50" y="12"/>
                    <a:pt x="52" y="12"/>
                  </a:cubicBezTo>
                  <a:cubicBezTo>
                    <a:pt x="53" y="12"/>
                    <a:pt x="54" y="9"/>
                    <a:pt x="55" y="9"/>
                  </a:cubicBezTo>
                  <a:cubicBezTo>
                    <a:pt x="57" y="9"/>
                    <a:pt x="58" y="15"/>
                    <a:pt x="59" y="13"/>
                  </a:cubicBezTo>
                  <a:cubicBezTo>
                    <a:pt x="62" y="11"/>
                    <a:pt x="60" y="5"/>
                    <a:pt x="62" y="2"/>
                  </a:cubicBezTo>
                  <a:cubicBezTo>
                    <a:pt x="63" y="0"/>
                    <a:pt x="64" y="5"/>
                    <a:pt x="66" y="6"/>
                  </a:cubicBezTo>
                  <a:cubicBezTo>
                    <a:pt x="67" y="7"/>
                    <a:pt x="68" y="8"/>
                    <a:pt x="69" y="9"/>
                  </a:cubicBezTo>
                  <a:cubicBezTo>
                    <a:pt x="71" y="9"/>
                    <a:pt x="73" y="8"/>
                    <a:pt x="75" y="8"/>
                  </a:cubicBezTo>
                  <a:cubicBezTo>
                    <a:pt x="76" y="8"/>
                    <a:pt x="77" y="6"/>
                    <a:pt x="78" y="6"/>
                  </a:cubicBezTo>
                  <a:cubicBezTo>
                    <a:pt x="79" y="6"/>
                    <a:pt x="80" y="8"/>
                    <a:pt x="82" y="9"/>
                  </a:cubicBezTo>
                  <a:cubicBezTo>
                    <a:pt x="86" y="10"/>
                    <a:pt x="89" y="9"/>
                    <a:pt x="93" y="10"/>
                  </a:cubicBezTo>
                  <a:cubicBezTo>
                    <a:pt x="95" y="11"/>
                    <a:pt x="98" y="13"/>
                    <a:pt x="100" y="15"/>
                  </a:cubicBezTo>
                  <a:cubicBezTo>
                    <a:pt x="102" y="17"/>
                    <a:pt x="102" y="20"/>
                    <a:pt x="104" y="22"/>
                  </a:cubicBezTo>
                  <a:cubicBezTo>
                    <a:pt x="107" y="25"/>
                    <a:pt x="110" y="27"/>
                    <a:pt x="113" y="30"/>
                  </a:cubicBezTo>
                  <a:cubicBezTo>
                    <a:pt x="114" y="31"/>
                    <a:pt x="114" y="33"/>
                    <a:pt x="115" y="35"/>
                  </a:cubicBezTo>
                  <a:cubicBezTo>
                    <a:pt x="116" y="36"/>
                    <a:pt x="118" y="38"/>
                    <a:pt x="119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" name="Freeform 73"/>
            <p:cNvSpPr>
              <a:spLocks noChangeAspect="1"/>
            </p:cNvSpPr>
            <p:nvPr/>
          </p:nvSpPr>
          <p:spPr bwMode="auto">
            <a:xfrm>
              <a:off x="5543550" y="3851275"/>
              <a:ext cx="41275" cy="49213"/>
            </a:xfrm>
            <a:custGeom>
              <a:avLst/>
              <a:gdLst>
                <a:gd name="T0" fmla="*/ 26266 w 22"/>
                <a:gd name="T1" fmla="*/ 45427 h 26"/>
                <a:gd name="T2" fmla="*/ 15009 w 22"/>
                <a:gd name="T3" fmla="*/ 45427 h 26"/>
                <a:gd name="T4" fmla="*/ 5628 w 22"/>
                <a:gd name="T5" fmla="*/ 49213 h 26"/>
                <a:gd name="T6" fmla="*/ 0 w 22"/>
                <a:gd name="T7" fmla="*/ 45427 h 26"/>
                <a:gd name="T8" fmla="*/ 0 w 22"/>
                <a:gd name="T9" fmla="*/ 30285 h 26"/>
                <a:gd name="T10" fmla="*/ 7505 w 22"/>
                <a:gd name="T11" fmla="*/ 18928 h 26"/>
                <a:gd name="T12" fmla="*/ 13133 w 22"/>
                <a:gd name="T13" fmla="*/ 5678 h 26"/>
                <a:gd name="T14" fmla="*/ 22514 w 22"/>
                <a:gd name="T15" fmla="*/ 7571 h 26"/>
                <a:gd name="T16" fmla="*/ 26266 w 22"/>
                <a:gd name="T17" fmla="*/ 1893 h 26"/>
                <a:gd name="T18" fmla="*/ 31894 w 22"/>
                <a:gd name="T19" fmla="*/ 1893 h 26"/>
                <a:gd name="T20" fmla="*/ 35647 w 22"/>
                <a:gd name="T21" fmla="*/ 9464 h 26"/>
                <a:gd name="T22" fmla="*/ 39399 w 22"/>
                <a:gd name="T23" fmla="*/ 18928 h 26"/>
                <a:gd name="T24" fmla="*/ 28142 w 22"/>
                <a:gd name="T25" fmla="*/ 24607 h 26"/>
                <a:gd name="T26" fmla="*/ 15009 w 22"/>
                <a:gd name="T27" fmla="*/ 35963 h 26"/>
                <a:gd name="T28" fmla="*/ 28142 w 22"/>
                <a:gd name="T29" fmla="*/ 34071 h 26"/>
                <a:gd name="T30" fmla="*/ 37523 w 22"/>
                <a:gd name="T31" fmla="*/ 37856 h 26"/>
                <a:gd name="T32" fmla="*/ 31894 w 22"/>
                <a:gd name="T33" fmla="*/ 41642 h 26"/>
                <a:gd name="T34" fmla="*/ 26266 w 22"/>
                <a:gd name="T35" fmla="*/ 45427 h 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"/>
                <a:gd name="T55" fmla="*/ 0 h 26"/>
                <a:gd name="T56" fmla="*/ 22 w 22"/>
                <a:gd name="T57" fmla="*/ 26 h 2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" h="26">
                  <a:moveTo>
                    <a:pt x="14" y="24"/>
                  </a:moveTo>
                  <a:cubicBezTo>
                    <a:pt x="12" y="24"/>
                    <a:pt x="10" y="24"/>
                    <a:pt x="8" y="24"/>
                  </a:cubicBezTo>
                  <a:cubicBezTo>
                    <a:pt x="6" y="24"/>
                    <a:pt x="5" y="26"/>
                    <a:pt x="3" y="26"/>
                  </a:cubicBezTo>
                  <a:cubicBezTo>
                    <a:pt x="2" y="26"/>
                    <a:pt x="1" y="25"/>
                    <a:pt x="0" y="24"/>
                  </a:cubicBezTo>
                  <a:cubicBezTo>
                    <a:pt x="0" y="21"/>
                    <a:pt x="0" y="19"/>
                    <a:pt x="0" y="16"/>
                  </a:cubicBezTo>
                  <a:cubicBezTo>
                    <a:pt x="1" y="14"/>
                    <a:pt x="3" y="12"/>
                    <a:pt x="4" y="10"/>
                  </a:cubicBezTo>
                  <a:cubicBezTo>
                    <a:pt x="5" y="8"/>
                    <a:pt x="6" y="5"/>
                    <a:pt x="7" y="3"/>
                  </a:cubicBezTo>
                  <a:cubicBezTo>
                    <a:pt x="9" y="3"/>
                    <a:pt x="10" y="5"/>
                    <a:pt x="12" y="4"/>
                  </a:cubicBezTo>
                  <a:cubicBezTo>
                    <a:pt x="13" y="4"/>
                    <a:pt x="13" y="2"/>
                    <a:pt x="14" y="1"/>
                  </a:cubicBezTo>
                  <a:cubicBezTo>
                    <a:pt x="14" y="0"/>
                    <a:pt x="16" y="1"/>
                    <a:pt x="17" y="1"/>
                  </a:cubicBezTo>
                  <a:cubicBezTo>
                    <a:pt x="18" y="2"/>
                    <a:pt x="18" y="4"/>
                    <a:pt x="19" y="5"/>
                  </a:cubicBezTo>
                  <a:cubicBezTo>
                    <a:pt x="20" y="6"/>
                    <a:pt x="22" y="8"/>
                    <a:pt x="21" y="10"/>
                  </a:cubicBezTo>
                  <a:cubicBezTo>
                    <a:pt x="20" y="12"/>
                    <a:pt x="17" y="12"/>
                    <a:pt x="15" y="13"/>
                  </a:cubicBezTo>
                  <a:cubicBezTo>
                    <a:pt x="12" y="15"/>
                    <a:pt x="8" y="16"/>
                    <a:pt x="8" y="19"/>
                  </a:cubicBezTo>
                  <a:cubicBezTo>
                    <a:pt x="8" y="21"/>
                    <a:pt x="12" y="18"/>
                    <a:pt x="15" y="18"/>
                  </a:cubicBezTo>
                  <a:cubicBezTo>
                    <a:pt x="16" y="19"/>
                    <a:pt x="18" y="19"/>
                    <a:pt x="20" y="20"/>
                  </a:cubicBezTo>
                  <a:cubicBezTo>
                    <a:pt x="19" y="21"/>
                    <a:pt x="18" y="21"/>
                    <a:pt x="17" y="22"/>
                  </a:cubicBezTo>
                  <a:cubicBezTo>
                    <a:pt x="16" y="23"/>
                    <a:pt x="15" y="24"/>
                    <a:pt x="14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" name="Freeform 74"/>
            <p:cNvSpPr>
              <a:spLocks noChangeAspect="1"/>
            </p:cNvSpPr>
            <p:nvPr/>
          </p:nvSpPr>
          <p:spPr bwMode="auto">
            <a:xfrm>
              <a:off x="5411788" y="3705225"/>
              <a:ext cx="163512" cy="155575"/>
            </a:xfrm>
            <a:custGeom>
              <a:avLst/>
              <a:gdLst>
                <a:gd name="T0" fmla="*/ 163512 w 86"/>
                <a:gd name="T1" fmla="*/ 147986 h 82"/>
                <a:gd name="T2" fmla="*/ 155907 w 86"/>
                <a:gd name="T3" fmla="*/ 140397 h 82"/>
                <a:gd name="T4" fmla="*/ 146400 w 86"/>
                <a:gd name="T5" fmla="*/ 129013 h 82"/>
                <a:gd name="T6" fmla="*/ 142598 w 86"/>
                <a:gd name="T7" fmla="*/ 123322 h 82"/>
                <a:gd name="T8" fmla="*/ 127387 w 86"/>
                <a:gd name="T9" fmla="*/ 110041 h 82"/>
                <a:gd name="T10" fmla="*/ 115979 w 86"/>
                <a:gd name="T11" fmla="*/ 94863 h 82"/>
                <a:gd name="T12" fmla="*/ 106473 w 86"/>
                <a:gd name="T13" fmla="*/ 89171 h 82"/>
                <a:gd name="T14" fmla="*/ 102670 w 86"/>
                <a:gd name="T15" fmla="*/ 83479 h 82"/>
                <a:gd name="T16" fmla="*/ 95065 w 86"/>
                <a:gd name="T17" fmla="*/ 83479 h 82"/>
                <a:gd name="T18" fmla="*/ 87460 w 86"/>
                <a:gd name="T19" fmla="*/ 79685 h 82"/>
                <a:gd name="T20" fmla="*/ 81756 w 86"/>
                <a:gd name="T21" fmla="*/ 70198 h 82"/>
                <a:gd name="T22" fmla="*/ 76052 w 86"/>
                <a:gd name="T23" fmla="*/ 75890 h 82"/>
                <a:gd name="T24" fmla="*/ 70348 w 86"/>
                <a:gd name="T25" fmla="*/ 62609 h 82"/>
                <a:gd name="T26" fmla="*/ 66546 w 86"/>
                <a:gd name="T27" fmla="*/ 47431 h 82"/>
                <a:gd name="T28" fmla="*/ 60842 w 86"/>
                <a:gd name="T29" fmla="*/ 26562 h 82"/>
                <a:gd name="T30" fmla="*/ 53236 w 86"/>
                <a:gd name="T31" fmla="*/ 0 h 82"/>
                <a:gd name="T32" fmla="*/ 41829 w 86"/>
                <a:gd name="T33" fmla="*/ 5692 h 82"/>
                <a:gd name="T34" fmla="*/ 34223 w 86"/>
                <a:gd name="T35" fmla="*/ 11384 h 82"/>
                <a:gd name="T36" fmla="*/ 26618 w 86"/>
                <a:gd name="T37" fmla="*/ 7589 h 82"/>
                <a:gd name="T38" fmla="*/ 22816 w 86"/>
                <a:gd name="T39" fmla="*/ 18973 h 82"/>
                <a:gd name="T40" fmla="*/ 13309 w 86"/>
                <a:gd name="T41" fmla="*/ 18973 h 82"/>
                <a:gd name="T42" fmla="*/ 11408 w 86"/>
                <a:gd name="T43" fmla="*/ 28459 h 82"/>
                <a:gd name="T44" fmla="*/ 7605 w 86"/>
                <a:gd name="T45" fmla="*/ 36048 h 82"/>
                <a:gd name="T46" fmla="*/ 13309 w 86"/>
                <a:gd name="T47" fmla="*/ 43637 h 82"/>
                <a:gd name="T48" fmla="*/ 7605 w 86"/>
                <a:gd name="T49" fmla="*/ 60712 h 82"/>
                <a:gd name="T50" fmla="*/ 1901 w 86"/>
                <a:gd name="T51" fmla="*/ 72096 h 82"/>
                <a:gd name="T52" fmla="*/ 3803 w 86"/>
                <a:gd name="T53" fmla="*/ 91068 h 82"/>
                <a:gd name="T54" fmla="*/ 7605 w 86"/>
                <a:gd name="T55" fmla="*/ 100555 h 82"/>
                <a:gd name="T56" fmla="*/ 17112 w 86"/>
                <a:gd name="T57" fmla="*/ 100555 h 82"/>
                <a:gd name="T58" fmla="*/ 22816 w 86"/>
                <a:gd name="T59" fmla="*/ 94863 h 82"/>
                <a:gd name="T60" fmla="*/ 30421 w 86"/>
                <a:gd name="T61" fmla="*/ 102452 h 82"/>
                <a:gd name="T62" fmla="*/ 36125 w 86"/>
                <a:gd name="T63" fmla="*/ 81582 h 82"/>
                <a:gd name="T64" fmla="*/ 43730 w 86"/>
                <a:gd name="T65" fmla="*/ 89171 h 82"/>
                <a:gd name="T66" fmla="*/ 49434 w 86"/>
                <a:gd name="T67" fmla="*/ 94863 h 82"/>
                <a:gd name="T68" fmla="*/ 60842 w 86"/>
                <a:gd name="T69" fmla="*/ 92966 h 82"/>
                <a:gd name="T70" fmla="*/ 66546 w 86"/>
                <a:gd name="T71" fmla="*/ 89171 h 82"/>
                <a:gd name="T72" fmla="*/ 74151 w 86"/>
                <a:gd name="T73" fmla="*/ 94863 h 82"/>
                <a:gd name="T74" fmla="*/ 95065 w 86"/>
                <a:gd name="T75" fmla="*/ 96760 h 82"/>
                <a:gd name="T76" fmla="*/ 108374 w 86"/>
                <a:gd name="T77" fmla="*/ 106246 h 82"/>
                <a:gd name="T78" fmla="*/ 115979 w 86"/>
                <a:gd name="T79" fmla="*/ 119527 h 82"/>
                <a:gd name="T80" fmla="*/ 133091 w 86"/>
                <a:gd name="T81" fmla="*/ 134705 h 82"/>
                <a:gd name="T82" fmla="*/ 136894 w 86"/>
                <a:gd name="T83" fmla="*/ 144191 h 82"/>
                <a:gd name="T84" fmla="*/ 144499 w 86"/>
                <a:gd name="T85" fmla="*/ 151780 h 82"/>
                <a:gd name="T86" fmla="*/ 154005 w 86"/>
                <a:gd name="T87" fmla="*/ 153678 h 82"/>
                <a:gd name="T88" fmla="*/ 157808 w 86"/>
                <a:gd name="T89" fmla="*/ 147986 h 82"/>
                <a:gd name="T90" fmla="*/ 163512 w 86"/>
                <a:gd name="T91" fmla="*/ 147986 h 8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6"/>
                <a:gd name="T139" fmla="*/ 0 h 82"/>
                <a:gd name="T140" fmla="*/ 86 w 86"/>
                <a:gd name="T141" fmla="*/ 82 h 8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6" h="82">
                  <a:moveTo>
                    <a:pt x="86" y="78"/>
                  </a:moveTo>
                  <a:cubicBezTo>
                    <a:pt x="85" y="77"/>
                    <a:pt x="83" y="76"/>
                    <a:pt x="82" y="74"/>
                  </a:cubicBezTo>
                  <a:cubicBezTo>
                    <a:pt x="80" y="72"/>
                    <a:pt x="79" y="70"/>
                    <a:pt x="77" y="68"/>
                  </a:cubicBezTo>
                  <a:cubicBezTo>
                    <a:pt x="77" y="67"/>
                    <a:pt x="76" y="66"/>
                    <a:pt x="75" y="65"/>
                  </a:cubicBezTo>
                  <a:cubicBezTo>
                    <a:pt x="73" y="62"/>
                    <a:pt x="69" y="61"/>
                    <a:pt x="67" y="58"/>
                  </a:cubicBezTo>
                  <a:cubicBezTo>
                    <a:pt x="65" y="56"/>
                    <a:pt x="64" y="53"/>
                    <a:pt x="61" y="50"/>
                  </a:cubicBezTo>
                  <a:cubicBezTo>
                    <a:pt x="60" y="49"/>
                    <a:pt x="58" y="49"/>
                    <a:pt x="56" y="47"/>
                  </a:cubicBezTo>
                  <a:cubicBezTo>
                    <a:pt x="55" y="46"/>
                    <a:pt x="55" y="45"/>
                    <a:pt x="54" y="44"/>
                  </a:cubicBezTo>
                  <a:cubicBezTo>
                    <a:pt x="53" y="43"/>
                    <a:pt x="51" y="45"/>
                    <a:pt x="50" y="44"/>
                  </a:cubicBezTo>
                  <a:cubicBezTo>
                    <a:pt x="48" y="44"/>
                    <a:pt x="47" y="43"/>
                    <a:pt x="46" y="42"/>
                  </a:cubicBezTo>
                  <a:cubicBezTo>
                    <a:pt x="45" y="41"/>
                    <a:pt x="45" y="38"/>
                    <a:pt x="43" y="37"/>
                  </a:cubicBezTo>
                  <a:cubicBezTo>
                    <a:pt x="42" y="37"/>
                    <a:pt x="41" y="41"/>
                    <a:pt x="40" y="40"/>
                  </a:cubicBezTo>
                  <a:cubicBezTo>
                    <a:pt x="38" y="39"/>
                    <a:pt x="38" y="36"/>
                    <a:pt x="37" y="33"/>
                  </a:cubicBezTo>
                  <a:cubicBezTo>
                    <a:pt x="37" y="31"/>
                    <a:pt x="36" y="28"/>
                    <a:pt x="35" y="25"/>
                  </a:cubicBezTo>
                  <a:cubicBezTo>
                    <a:pt x="34" y="21"/>
                    <a:pt x="33" y="17"/>
                    <a:pt x="32" y="14"/>
                  </a:cubicBezTo>
                  <a:cubicBezTo>
                    <a:pt x="31" y="9"/>
                    <a:pt x="29" y="4"/>
                    <a:pt x="28" y="0"/>
                  </a:cubicBezTo>
                  <a:cubicBezTo>
                    <a:pt x="26" y="1"/>
                    <a:pt x="24" y="2"/>
                    <a:pt x="22" y="3"/>
                  </a:cubicBezTo>
                  <a:cubicBezTo>
                    <a:pt x="20" y="3"/>
                    <a:pt x="19" y="5"/>
                    <a:pt x="18" y="6"/>
                  </a:cubicBezTo>
                  <a:cubicBezTo>
                    <a:pt x="16" y="6"/>
                    <a:pt x="15" y="3"/>
                    <a:pt x="14" y="4"/>
                  </a:cubicBezTo>
                  <a:cubicBezTo>
                    <a:pt x="13" y="5"/>
                    <a:pt x="14" y="9"/>
                    <a:pt x="12" y="10"/>
                  </a:cubicBezTo>
                  <a:cubicBezTo>
                    <a:pt x="10" y="11"/>
                    <a:pt x="8" y="9"/>
                    <a:pt x="7" y="10"/>
                  </a:cubicBezTo>
                  <a:cubicBezTo>
                    <a:pt x="6" y="11"/>
                    <a:pt x="7" y="13"/>
                    <a:pt x="6" y="15"/>
                  </a:cubicBezTo>
                  <a:cubicBezTo>
                    <a:pt x="6" y="16"/>
                    <a:pt x="4" y="18"/>
                    <a:pt x="4" y="19"/>
                  </a:cubicBezTo>
                  <a:cubicBezTo>
                    <a:pt x="4" y="21"/>
                    <a:pt x="6" y="22"/>
                    <a:pt x="7" y="23"/>
                  </a:cubicBezTo>
                  <a:cubicBezTo>
                    <a:pt x="7" y="26"/>
                    <a:pt x="6" y="29"/>
                    <a:pt x="4" y="32"/>
                  </a:cubicBezTo>
                  <a:cubicBezTo>
                    <a:pt x="4" y="35"/>
                    <a:pt x="1" y="36"/>
                    <a:pt x="1" y="38"/>
                  </a:cubicBezTo>
                  <a:cubicBezTo>
                    <a:pt x="0" y="41"/>
                    <a:pt x="1" y="45"/>
                    <a:pt x="2" y="48"/>
                  </a:cubicBezTo>
                  <a:cubicBezTo>
                    <a:pt x="2" y="50"/>
                    <a:pt x="3" y="51"/>
                    <a:pt x="4" y="53"/>
                  </a:cubicBezTo>
                  <a:cubicBezTo>
                    <a:pt x="5" y="53"/>
                    <a:pt x="7" y="53"/>
                    <a:pt x="9" y="53"/>
                  </a:cubicBezTo>
                  <a:cubicBezTo>
                    <a:pt x="10" y="53"/>
                    <a:pt x="11" y="50"/>
                    <a:pt x="12" y="50"/>
                  </a:cubicBezTo>
                  <a:cubicBezTo>
                    <a:pt x="14" y="50"/>
                    <a:pt x="15" y="56"/>
                    <a:pt x="16" y="54"/>
                  </a:cubicBezTo>
                  <a:cubicBezTo>
                    <a:pt x="19" y="52"/>
                    <a:pt x="17" y="46"/>
                    <a:pt x="19" y="43"/>
                  </a:cubicBezTo>
                  <a:cubicBezTo>
                    <a:pt x="20" y="41"/>
                    <a:pt x="21" y="46"/>
                    <a:pt x="23" y="47"/>
                  </a:cubicBezTo>
                  <a:cubicBezTo>
                    <a:pt x="24" y="48"/>
                    <a:pt x="25" y="49"/>
                    <a:pt x="26" y="50"/>
                  </a:cubicBezTo>
                  <a:cubicBezTo>
                    <a:pt x="28" y="50"/>
                    <a:pt x="30" y="49"/>
                    <a:pt x="32" y="49"/>
                  </a:cubicBezTo>
                  <a:cubicBezTo>
                    <a:pt x="33" y="49"/>
                    <a:pt x="34" y="47"/>
                    <a:pt x="35" y="47"/>
                  </a:cubicBezTo>
                  <a:cubicBezTo>
                    <a:pt x="36" y="47"/>
                    <a:pt x="37" y="49"/>
                    <a:pt x="39" y="50"/>
                  </a:cubicBezTo>
                  <a:cubicBezTo>
                    <a:pt x="43" y="51"/>
                    <a:pt x="46" y="50"/>
                    <a:pt x="50" y="51"/>
                  </a:cubicBezTo>
                  <a:cubicBezTo>
                    <a:pt x="52" y="52"/>
                    <a:pt x="55" y="54"/>
                    <a:pt x="57" y="56"/>
                  </a:cubicBezTo>
                  <a:cubicBezTo>
                    <a:pt x="59" y="58"/>
                    <a:pt x="59" y="61"/>
                    <a:pt x="61" y="63"/>
                  </a:cubicBezTo>
                  <a:cubicBezTo>
                    <a:pt x="64" y="66"/>
                    <a:pt x="67" y="68"/>
                    <a:pt x="70" y="71"/>
                  </a:cubicBezTo>
                  <a:cubicBezTo>
                    <a:pt x="71" y="72"/>
                    <a:pt x="71" y="74"/>
                    <a:pt x="72" y="76"/>
                  </a:cubicBezTo>
                  <a:cubicBezTo>
                    <a:pt x="73" y="77"/>
                    <a:pt x="75" y="79"/>
                    <a:pt x="76" y="80"/>
                  </a:cubicBezTo>
                  <a:cubicBezTo>
                    <a:pt x="78" y="80"/>
                    <a:pt x="79" y="82"/>
                    <a:pt x="81" y="81"/>
                  </a:cubicBezTo>
                  <a:cubicBezTo>
                    <a:pt x="82" y="81"/>
                    <a:pt x="82" y="79"/>
                    <a:pt x="83" y="78"/>
                  </a:cubicBezTo>
                  <a:cubicBezTo>
                    <a:pt x="83" y="77"/>
                    <a:pt x="85" y="78"/>
                    <a:pt x="86" y="7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" name="Freeform 75"/>
            <p:cNvSpPr>
              <a:spLocks noChangeAspect="1"/>
            </p:cNvSpPr>
            <p:nvPr/>
          </p:nvSpPr>
          <p:spPr bwMode="auto">
            <a:xfrm>
              <a:off x="5062538" y="3887476"/>
              <a:ext cx="403226" cy="216212"/>
            </a:xfrm>
            <a:custGeom>
              <a:avLst/>
              <a:gdLst>
                <a:gd name="T0" fmla="*/ 353539 w 211"/>
                <a:gd name="T1" fmla="*/ 238680 h 286"/>
                <a:gd name="T2" fmla="*/ 357361 w 211"/>
                <a:gd name="T3" fmla="*/ 208129 h 286"/>
                <a:gd name="T4" fmla="*/ 357361 w 211"/>
                <a:gd name="T5" fmla="*/ 183306 h 286"/>
                <a:gd name="T6" fmla="*/ 363094 w 211"/>
                <a:gd name="T7" fmla="*/ 166121 h 286"/>
                <a:gd name="T8" fmla="*/ 376471 w 211"/>
                <a:gd name="T9" fmla="*/ 154665 h 286"/>
                <a:gd name="T10" fmla="*/ 391759 w 211"/>
                <a:gd name="T11" fmla="*/ 152755 h 286"/>
                <a:gd name="T12" fmla="*/ 387937 w 211"/>
                <a:gd name="T13" fmla="*/ 137480 h 286"/>
                <a:gd name="T14" fmla="*/ 376471 w 211"/>
                <a:gd name="T15" fmla="*/ 122204 h 286"/>
                <a:gd name="T16" fmla="*/ 365005 w 211"/>
                <a:gd name="T17" fmla="*/ 82106 h 286"/>
                <a:gd name="T18" fmla="*/ 357361 w 211"/>
                <a:gd name="T19" fmla="*/ 42008 h 286"/>
                <a:gd name="T20" fmla="*/ 342072 w 211"/>
                <a:gd name="T21" fmla="*/ 9547 h 286"/>
                <a:gd name="T22" fmla="*/ 326784 w 211"/>
                <a:gd name="T23" fmla="*/ 0 h 286"/>
                <a:gd name="T24" fmla="*/ 305763 w 211"/>
                <a:gd name="T25" fmla="*/ 11457 h 286"/>
                <a:gd name="T26" fmla="*/ 292386 w 211"/>
                <a:gd name="T27" fmla="*/ 24823 h 286"/>
                <a:gd name="T28" fmla="*/ 279009 w 211"/>
                <a:gd name="T29" fmla="*/ 42008 h 286"/>
                <a:gd name="T30" fmla="*/ 72619 w 211"/>
                <a:gd name="T31" fmla="*/ 30551 h 286"/>
                <a:gd name="T32" fmla="*/ 49686 w 211"/>
                <a:gd name="T33" fmla="*/ 91653 h 286"/>
                <a:gd name="T34" fmla="*/ 47775 w 211"/>
                <a:gd name="T35" fmla="*/ 206220 h 286"/>
                <a:gd name="T36" fmla="*/ 26754 w 211"/>
                <a:gd name="T37" fmla="*/ 211948 h 286"/>
                <a:gd name="T38" fmla="*/ 19110 w 211"/>
                <a:gd name="T39" fmla="*/ 234861 h 286"/>
                <a:gd name="T40" fmla="*/ 19110 w 211"/>
                <a:gd name="T41" fmla="*/ 252046 h 286"/>
                <a:gd name="T42" fmla="*/ 11466 w 211"/>
                <a:gd name="T43" fmla="*/ 274959 h 286"/>
                <a:gd name="T44" fmla="*/ 1911 w 211"/>
                <a:gd name="T45" fmla="*/ 295963 h 286"/>
                <a:gd name="T46" fmla="*/ 17199 w 211"/>
                <a:gd name="T47" fmla="*/ 311239 h 286"/>
                <a:gd name="T48" fmla="*/ 17199 w 211"/>
                <a:gd name="T49" fmla="*/ 320786 h 286"/>
                <a:gd name="T50" fmla="*/ 24843 w 211"/>
                <a:gd name="T51" fmla="*/ 339880 h 286"/>
                <a:gd name="T52" fmla="*/ 47775 w 211"/>
                <a:gd name="T53" fmla="*/ 372341 h 286"/>
                <a:gd name="T54" fmla="*/ 40131 w 211"/>
                <a:gd name="T55" fmla="*/ 393345 h 286"/>
                <a:gd name="T56" fmla="*/ 61153 w 211"/>
                <a:gd name="T57" fmla="*/ 402892 h 286"/>
                <a:gd name="T58" fmla="*/ 78352 w 211"/>
                <a:gd name="T59" fmla="*/ 416258 h 286"/>
                <a:gd name="T60" fmla="*/ 87907 w 211"/>
                <a:gd name="T61" fmla="*/ 425805 h 286"/>
                <a:gd name="T62" fmla="*/ 95551 w 211"/>
                <a:gd name="T63" fmla="*/ 446809 h 286"/>
                <a:gd name="T64" fmla="*/ 118483 w 211"/>
                <a:gd name="T65" fmla="*/ 462085 h 286"/>
                <a:gd name="T66" fmla="*/ 126127 w 211"/>
                <a:gd name="T67" fmla="*/ 475451 h 286"/>
                <a:gd name="T68" fmla="*/ 139504 w 211"/>
                <a:gd name="T69" fmla="*/ 492636 h 286"/>
                <a:gd name="T70" fmla="*/ 149059 w 211"/>
                <a:gd name="T71" fmla="*/ 513640 h 286"/>
                <a:gd name="T72" fmla="*/ 170081 w 211"/>
                <a:gd name="T73" fmla="*/ 515549 h 286"/>
                <a:gd name="T74" fmla="*/ 189191 w 211"/>
                <a:gd name="T75" fmla="*/ 509821 h 286"/>
                <a:gd name="T76" fmla="*/ 212123 w 211"/>
                <a:gd name="T77" fmla="*/ 540372 h 286"/>
                <a:gd name="T78" fmla="*/ 223589 w 211"/>
                <a:gd name="T79" fmla="*/ 540372 h 286"/>
                <a:gd name="T80" fmla="*/ 246521 w 211"/>
                <a:gd name="T81" fmla="*/ 534643 h 286"/>
                <a:gd name="T82" fmla="*/ 259899 w 211"/>
                <a:gd name="T83" fmla="*/ 538462 h 286"/>
                <a:gd name="T84" fmla="*/ 279009 w 211"/>
                <a:gd name="T85" fmla="*/ 536553 h 286"/>
                <a:gd name="T86" fmla="*/ 298119 w 211"/>
                <a:gd name="T87" fmla="*/ 525096 h 286"/>
                <a:gd name="T88" fmla="*/ 322962 w 211"/>
                <a:gd name="T89" fmla="*/ 483088 h 286"/>
                <a:gd name="T90" fmla="*/ 305763 w 211"/>
                <a:gd name="T91" fmla="*/ 448718 h 286"/>
                <a:gd name="T92" fmla="*/ 271365 w 211"/>
                <a:gd name="T93" fmla="*/ 427715 h 286"/>
                <a:gd name="T94" fmla="*/ 288564 w 211"/>
                <a:gd name="T95" fmla="*/ 410530 h 286"/>
                <a:gd name="T96" fmla="*/ 298119 w 211"/>
                <a:gd name="T97" fmla="*/ 383798 h 286"/>
                <a:gd name="T98" fmla="*/ 298119 w 211"/>
                <a:gd name="T99" fmla="*/ 353246 h 286"/>
                <a:gd name="T100" fmla="*/ 311496 w 211"/>
                <a:gd name="T101" fmla="*/ 347518 h 286"/>
                <a:gd name="T102" fmla="*/ 319140 w 211"/>
                <a:gd name="T103" fmla="*/ 313148 h 286"/>
                <a:gd name="T104" fmla="*/ 332517 w 211"/>
                <a:gd name="T105" fmla="*/ 290235 h 286"/>
                <a:gd name="T106" fmla="*/ 345894 w 211"/>
                <a:gd name="T107" fmla="*/ 280688 h 286"/>
                <a:gd name="T108" fmla="*/ 351628 w 211"/>
                <a:gd name="T109" fmla="*/ 255865 h 28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11"/>
                <a:gd name="T166" fmla="*/ 0 h 286"/>
                <a:gd name="T167" fmla="*/ 211 w 211"/>
                <a:gd name="T168" fmla="*/ 286 h 28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11" h="286">
                  <a:moveTo>
                    <a:pt x="187" y="130"/>
                  </a:moveTo>
                  <a:cubicBezTo>
                    <a:pt x="186" y="128"/>
                    <a:pt x="185" y="127"/>
                    <a:pt x="185" y="125"/>
                  </a:cubicBezTo>
                  <a:cubicBezTo>
                    <a:pt x="184" y="122"/>
                    <a:pt x="183" y="118"/>
                    <a:pt x="184" y="115"/>
                  </a:cubicBezTo>
                  <a:cubicBezTo>
                    <a:pt x="184" y="113"/>
                    <a:pt x="187" y="112"/>
                    <a:pt x="187" y="109"/>
                  </a:cubicBezTo>
                  <a:cubicBezTo>
                    <a:pt x="189" y="106"/>
                    <a:pt x="190" y="103"/>
                    <a:pt x="190" y="100"/>
                  </a:cubicBezTo>
                  <a:cubicBezTo>
                    <a:pt x="189" y="99"/>
                    <a:pt x="187" y="98"/>
                    <a:pt x="187" y="96"/>
                  </a:cubicBezTo>
                  <a:cubicBezTo>
                    <a:pt x="187" y="95"/>
                    <a:pt x="189" y="93"/>
                    <a:pt x="189" y="92"/>
                  </a:cubicBezTo>
                  <a:cubicBezTo>
                    <a:pt x="190" y="90"/>
                    <a:pt x="189" y="88"/>
                    <a:pt x="190" y="87"/>
                  </a:cubicBezTo>
                  <a:cubicBezTo>
                    <a:pt x="191" y="86"/>
                    <a:pt x="193" y="88"/>
                    <a:pt x="195" y="87"/>
                  </a:cubicBezTo>
                  <a:cubicBezTo>
                    <a:pt x="197" y="86"/>
                    <a:pt x="196" y="82"/>
                    <a:pt x="197" y="81"/>
                  </a:cubicBezTo>
                  <a:cubicBezTo>
                    <a:pt x="198" y="80"/>
                    <a:pt x="199" y="83"/>
                    <a:pt x="201" y="83"/>
                  </a:cubicBezTo>
                  <a:cubicBezTo>
                    <a:pt x="202" y="82"/>
                    <a:pt x="203" y="80"/>
                    <a:pt x="205" y="80"/>
                  </a:cubicBezTo>
                  <a:cubicBezTo>
                    <a:pt x="207" y="79"/>
                    <a:pt x="209" y="78"/>
                    <a:pt x="211" y="77"/>
                  </a:cubicBezTo>
                  <a:cubicBezTo>
                    <a:pt x="208" y="75"/>
                    <a:pt x="205" y="74"/>
                    <a:pt x="203" y="72"/>
                  </a:cubicBezTo>
                  <a:cubicBezTo>
                    <a:pt x="203" y="71"/>
                    <a:pt x="204" y="69"/>
                    <a:pt x="203" y="69"/>
                  </a:cubicBezTo>
                  <a:cubicBezTo>
                    <a:pt x="202" y="67"/>
                    <a:pt x="198" y="66"/>
                    <a:pt x="197" y="64"/>
                  </a:cubicBezTo>
                  <a:cubicBezTo>
                    <a:pt x="195" y="62"/>
                    <a:pt x="193" y="60"/>
                    <a:pt x="192" y="57"/>
                  </a:cubicBezTo>
                  <a:cubicBezTo>
                    <a:pt x="191" y="52"/>
                    <a:pt x="191" y="47"/>
                    <a:pt x="191" y="43"/>
                  </a:cubicBezTo>
                  <a:cubicBezTo>
                    <a:pt x="191" y="38"/>
                    <a:pt x="192" y="34"/>
                    <a:pt x="191" y="30"/>
                  </a:cubicBezTo>
                  <a:cubicBezTo>
                    <a:pt x="191" y="27"/>
                    <a:pt x="187" y="25"/>
                    <a:pt x="187" y="22"/>
                  </a:cubicBezTo>
                  <a:cubicBezTo>
                    <a:pt x="186" y="19"/>
                    <a:pt x="189" y="17"/>
                    <a:pt x="188" y="15"/>
                  </a:cubicBezTo>
                  <a:cubicBezTo>
                    <a:pt x="186" y="11"/>
                    <a:pt x="183" y="8"/>
                    <a:pt x="179" y="5"/>
                  </a:cubicBezTo>
                  <a:cubicBezTo>
                    <a:pt x="178" y="5"/>
                    <a:pt x="176" y="6"/>
                    <a:pt x="175" y="5"/>
                  </a:cubicBezTo>
                  <a:cubicBezTo>
                    <a:pt x="174" y="4"/>
                    <a:pt x="173" y="2"/>
                    <a:pt x="171" y="0"/>
                  </a:cubicBezTo>
                  <a:cubicBezTo>
                    <a:pt x="170" y="2"/>
                    <a:pt x="168" y="4"/>
                    <a:pt x="166" y="6"/>
                  </a:cubicBezTo>
                  <a:cubicBezTo>
                    <a:pt x="164" y="7"/>
                    <a:pt x="162" y="5"/>
                    <a:pt x="160" y="6"/>
                  </a:cubicBezTo>
                  <a:cubicBezTo>
                    <a:pt x="159" y="7"/>
                    <a:pt x="159" y="9"/>
                    <a:pt x="158" y="11"/>
                  </a:cubicBezTo>
                  <a:cubicBezTo>
                    <a:pt x="156" y="12"/>
                    <a:pt x="154" y="11"/>
                    <a:pt x="153" y="13"/>
                  </a:cubicBezTo>
                  <a:cubicBezTo>
                    <a:pt x="152" y="15"/>
                    <a:pt x="153" y="17"/>
                    <a:pt x="152" y="19"/>
                  </a:cubicBezTo>
                  <a:cubicBezTo>
                    <a:pt x="151" y="21"/>
                    <a:pt x="148" y="23"/>
                    <a:pt x="146" y="22"/>
                  </a:cubicBezTo>
                  <a:cubicBezTo>
                    <a:pt x="144" y="21"/>
                    <a:pt x="145" y="16"/>
                    <a:pt x="142" y="16"/>
                  </a:cubicBezTo>
                  <a:cubicBezTo>
                    <a:pt x="107" y="14"/>
                    <a:pt x="73" y="16"/>
                    <a:pt x="38" y="16"/>
                  </a:cubicBezTo>
                  <a:lnTo>
                    <a:pt x="37" y="48"/>
                  </a:lnTo>
                  <a:lnTo>
                    <a:pt x="26" y="48"/>
                  </a:lnTo>
                  <a:lnTo>
                    <a:pt x="25" y="55"/>
                  </a:lnTo>
                  <a:cubicBezTo>
                    <a:pt x="25" y="73"/>
                    <a:pt x="27" y="91"/>
                    <a:pt x="25" y="108"/>
                  </a:cubicBezTo>
                  <a:cubicBezTo>
                    <a:pt x="25" y="110"/>
                    <a:pt x="21" y="107"/>
                    <a:pt x="19" y="108"/>
                  </a:cubicBezTo>
                  <a:cubicBezTo>
                    <a:pt x="17" y="108"/>
                    <a:pt x="15" y="109"/>
                    <a:pt x="14" y="111"/>
                  </a:cubicBezTo>
                  <a:cubicBezTo>
                    <a:pt x="13" y="112"/>
                    <a:pt x="16" y="114"/>
                    <a:pt x="15" y="116"/>
                  </a:cubicBezTo>
                  <a:cubicBezTo>
                    <a:pt x="14" y="119"/>
                    <a:pt x="12" y="121"/>
                    <a:pt x="10" y="123"/>
                  </a:cubicBezTo>
                  <a:cubicBezTo>
                    <a:pt x="9" y="124"/>
                    <a:pt x="6" y="125"/>
                    <a:pt x="7" y="126"/>
                  </a:cubicBezTo>
                  <a:cubicBezTo>
                    <a:pt x="7" y="128"/>
                    <a:pt x="11" y="130"/>
                    <a:pt x="10" y="132"/>
                  </a:cubicBezTo>
                  <a:cubicBezTo>
                    <a:pt x="10" y="134"/>
                    <a:pt x="5" y="133"/>
                    <a:pt x="5" y="135"/>
                  </a:cubicBezTo>
                  <a:cubicBezTo>
                    <a:pt x="4" y="138"/>
                    <a:pt x="7" y="141"/>
                    <a:pt x="6" y="144"/>
                  </a:cubicBezTo>
                  <a:cubicBezTo>
                    <a:pt x="6" y="147"/>
                    <a:pt x="2" y="148"/>
                    <a:pt x="1" y="150"/>
                  </a:cubicBezTo>
                  <a:cubicBezTo>
                    <a:pt x="0" y="151"/>
                    <a:pt x="0" y="154"/>
                    <a:pt x="1" y="155"/>
                  </a:cubicBezTo>
                  <a:cubicBezTo>
                    <a:pt x="3" y="156"/>
                    <a:pt x="6" y="152"/>
                    <a:pt x="8" y="153"/>
                  </a:cubicBezTo>
                  <a:cubicBezTo>
                    <a:pt x="10" y="156"/>
                    <a:pt x="8" y="160"/>
                    <a:pt x="9" y="163"/>
                  </a:cubicBezTo>
                  <a:cubicBezTo>
                    <a:pt x="10" y="164"/>
                    <a:pt x="12" y="163"/>
                    <a:pt x="12" y="164"/>
                  </a:cubicBezTo>
                  <a:cubicBezTo>
                    <a:pt x="12" y="165"/>
                    <a:pt x="9" y="166"/>
                    <a:pt x="9" y="168"/>
                  </a:cubicBezTo>
                  <a:cubicBezTo>
                    <a:pt x="10" y="171"/>
                    <a:pt x="13" y="172"/>
                    <a:pt x="14" y="174"/>
                  </a:cubicBezTo>
                  <a:cubicBezTo>
                    <a:pt x="15" y="175"/>
                    <a:pt x="14" y="177"/>
                    <a:pt x="13" y="178"/>
                  </a:cubicBezTo>
                  <a:cubicBezTo>
                    <a:pt x="15" y="180"/>
                    <a:pt x="18" y="182"/>
                    <a:pt x="19" y="184"/>
                  </a:cubicBezTo>
                  <a:cubicBezTo>
                    <a:pt x="22" y="187"/>
                    <a:pt x="24" y="191"/>
                    <a:pt x="25" y="195"/>
                  </a:cubicBezTo>
                  <a:cubicBezTo>
                    <a:pt x="26" y="197"/>
                    <a:pt x="25" y="200"/>
                    <a:pt x="25" y="202"/>
                  </a:cubicBezTo>
                  <a:cubicBezTo>
                    <a:pt x="24" y="204"/>
                    <a:pt x="21" y="205"/>
                    <a:pt x="21" y="206"/>
                  </a:cubicBezTo>
                  <a:cubicBezTo>
                    <a:pt x="21" y="208"/>
                    <a:pt x="23" y="210"/>
                    <a:pt x="25" y="211"/>
                  </a:cubicBezTo>
                  <a:cubicBezTo>
                    <a:pt x="27" y="212"/>
                    <a:pt x="30" y="209"/>
                    <a:pt x="32" y="211"/>
                  </a:cubicBezTo>
                  <a:cubicBezTo>
                    <a:pt x="34" y="212"/>
                    <a:pt x="30" y="214"/>
                    <a:pt x="31" y="216"/>
                  </a:cubicBezTo>
                  <a:cubicBezTo>
                    <a:pt x="34" y="218"/>
                    <a:pt x="38" y="216"/>
                    <a:pt x="41" y="218"/>
                  </a:cubicBezTo>
                  <a:cubicBezTo>
                    <a:pt x="42" y="219"/>
                    <a:pt x="41" y="222"/>
                    <a:pt x="42" y="223"/>
                  </a:cubicBezTo>
                  <a:cubicBezTo>
                    <a:pt x="43" y="224"/>
                    <a:pt x="45" y="222"/>
                    <a:pt x="46" y="223"/>
                  </a:cubicBezTo>
                  <a:cubicBezTo>
                    <a:pt x="47" y="224"/>
                    <a:pt x="45" y="227"/>
                    <a:pt x="45" y="228"/>
                  </a:cubicBezTo>
                  <a:cubicBezTo>
                    <a:pt x="46" y="230"/>
                    <a:pt x="48" y="232"/>
                    <a:pt x="50" y="234"/>
                  </a:cubicBezTo>
                  <a:cubicBezTo>
                    <a:pt x="52" y="235"/>
                    <a:pt x="54" y="233"/>
                    <a:pt x="55" y="234"/>
                  </a:cubicBezTo>
                  <a:cubicBezTo>
                    <a:pt x="57" y="238"/>
                    <a:pt x="61" y="240"/>
                    <a:pt x="62" y="242"/>
                  </a:cubicBezTo>
                  <a:cubicBezTo>
                    <a:pt x="63" y="243"/>
                    <a:pt x="59" y="243"/>
                    <a:pt x="59" y="244"/>
                  </a:cubicBezTo>
                  <a:cubicBezTo>
                    <a:pt x="61" y="247"/>
                    <a:pt x="64" y="247"/>
                    <a:pt x="66" y="249"/>
                  </a:cubicBezTo>
                  <a:cubicBezTo>
                    <a:pt x="67" y="249"/>
                    <a:pt x="69" y="250"/>
                    <a:pt x="70" y="251"/>
                  </a:cubicBezTo>
                  <a:cubicBezTo>
                    <a:pt x="71" y="253"/>
                    <a:pt x="73" y="255"/>
                    <a:pt x="73" y="258"/>
                  </a:cubicBezTo>
                  <a:cubicBezTo>
                    <a:pt x="73" y="260"/>
                    <a:pt x="72" y="262"/>
                    <a:pt x="72" y="265"/>
                  </a:cubicBezTo>
                  <a:cubicBezTo>
                    <a:pt x="74" y="266"/>
                    <a:pt x="76" y="268"/>
                    <a:pt x="78" y="269"/>
                  </a:cubicBezTo>
                  <a:cubicBezTo>
                    <a:pt x="80" y="270"/>
                    <a:pt x="83" y="272"/>
                    <a:pt x="85" y="272"/>
                  </a:cubicBezTo>
                  <a:cubicBezTo>
                    <a:pt x="87" y="272"/>
                    <a:pt x="88" y="270"/>
                    <a:pt x="89" y="270"/>
                  </a:cubicBezTo>
                  <a:cubicBezTo>
                    <a:pt x="91" y="269"/>
                    <a:pt x="93" y="270"/>
                    <a:pt x="95" y="270"/>
                  </a:cubicBezTo>
                  <a:cubicBezTo>
                    <a:pt x="97" y="269"/>
                    <a:pt x="97" y="267"/>
                    <a:pt x="99" y="267"/>
                  </a:cubicBezTo>
                  <a:cubicBezTo>
                    <a:pt x="102" y="269"/>
                    <a:pt x="105" y="273"/>
                    <a:pt x="107" y="277"/>
                  </a:cubicBezTo>
                  <a:cubicBezTo>
                    <a:pt x="109" y="278"/>
                    <a:pt x="109" y="281"/>
                    <a:pt x="111" y="283"/>
                  </a:cubicBezTo>
                  <a:cubicBezTo>
                    <a:pt x="112" y="284"/>
                    <a:pt x="113" y="285"/>
                    <a:pt x="114" y="286"/>
                  </a:cubicBezTo>
                  <a:cubicBezTo>
                    <a:pt x="115" y="285"/>
                    <a:pt x="115" y="283"/>
                    <a:pt x="117" y="283"/>
                  </a:cubicBezTo>
                  <a:cubicBezTo>
                    <a:pt x="119" y="282"/>
                    <a:pt x="122" y="283"/>
                    <a:pt x="124" y="283"/>
                  </a:cubicBezTo>
                  <a:cubicBezTo>
                    <a:pt x="126" y="282"/>
                    <a:pt x="127" y="279"/>
                    <a:pt x="129" y="280"/>
                  </a:cubicBezTo>
                  <a:cubicBezTo>
                    <a:pt x="131" y="280"/>
                    <a:pt x="130" y="284"/>
                    <a:pt x="132" y="284"/>
                  </a:cubicBezTo>
                  <a:cubicBezTo>
                    <a:pt x="133" y="285"/>
                    <a:pt x="134" y="282"/>
                    <a:pt x="136" y="282"/>
                  </a:cubicBezTo>
                  <a:cubicBezTo>
                    <a:pt x="138" y="280"/>
                    <a:pt x="140" y="279"/>
                    <a:pt x="143" y="279"/>
                  </a:cubicBezTo>
                  <a:cubicBezTo>
                    <a:pt x="144" y="279"/>
                    <a:pt x="145" y="281"/>
                    <a:pt x="146" y="281"/>
                  </a:cubicBezTo>
                  <a:cubicBezTo>
                    <a:pt x="148" y="281"/>
                    <a:pt x="150" y="282"/>
                    <a:pt x="151" y="281"/>
                  </a:cubicBezTo>
                  <a:cubicBezTo>
                    <a:pt x="154" y="280"/>
                    <a:pt x="155" y="277"/>
                    <a:pt x="156" y="275"/>
                  </a:cubicBezTo>
                  <a:lnTo>
                    <a:pt x="172" y="258"/>
                  </a:lnTo>
                  <a:cubicBezTo>
                    <a:pt x="171" y="256"/>
                    <a:pt x="169" y="255"/>
                    <a:pt x="169" y="253"/>
                  </a:cubicBezTo>
                  <a:cubicBezTo>
                    <a:pt x="167" y="250"/>
                    <a:pt x="168" y="246"/>
                    <a:pt x="166" y="243"/>
                  </a:cubicBezTo>
                  <a:cubicBezTo>
                    <a:pt x="165" y="240"/>
                    <a:pt x="162" y="238"/>
                    <a:pt x="160" y="235"/>
                  </a:cubicBezTo>
                  <a:cubicBezTo>
                    <a:pt x="157" y="232"/>
                    <a:pt x="156" y="227"/>
                    <a:pt x="152" y="225"/>
                  </a:cubicBezTo>
                  <a:cubicBezTo>
                    <a:pt x="149" y="223"/>
                    <a:pt x="145" y="226"/>
                    <a:pt x="142" y="224"/>
                  </a:cubicBezTo>
                  <a:cubicBezTo>
                    <a:pt x="140" y="222"/>
                    <a:pt x="141" y="218"/>
                    <a:pt x="143" y="216"/>
                  </a:cubicBezTo>
                  <a:cubicBezTo>
                    <a:pt x="145" y="214"/>
                    <a:pt x="149" y="216"/>
                    <a:pt x="151" y="215"/>
                  </a:cubicBezTo>
                  <a:cubicBezTo>
                    <a:pt x="153" y="215"/>
                    <a:pt x="156" y="215"/>
                    <a:pt x="156" y="214"/>
                  </a:cubicBezTo>
                  <a:cubicBezTo>
                    <a:pt x="158" y="210"/>
                    <a:pt x="155" y="205"/>
                    <a:pt x="156" y="201"/>
                  </a:cubicBezTo>
                  <a:cubicBezTo>
                    <a:pt x="156" y="197"/>
                    <a:pt x="158" y="193"/>
                    <a:pt x="158" y="189"/>
                  </a:cubicBezTo>
                  <a:cubicBezTo>
                    <a:pt x="158" y="188"/>
                    <a:pt x="156" y="187"/>
                    <a:pt x="156" y="185"/>
                  </a:cubicBezTo>
                  <a:cubicBezTo>
                    <a:pt x="156" y="183"/>
                    <a:pt x="157" y="182"/>
                    <a:pt x="159" y="181"/>
                  </a:cubicBezTo>
                  <a:cubicBezTo>
                    <a:pt x="160" y="181"/>
                    <a:pt x="161" y="182"/>
                    <a:pt x="163" y="182"/>
                  </a:cubicBezTo>
                  <a:cubicBezTo>
                    <a:pt x="164" y="182"/>
                    <a:pt x="166" y="183"/>
                    <a:pt x="166" y="182"/>
                  </a:cubicBezTo>
                  <a:cubicBezTo>
                    <a:pt x="167" y="176"/>
                    <a:pt x="165" y="170"/>
                    <a:pt x="167" y="164"/>
                  </a:cubicBezTo>
                  <a:cubicBezTo>
                    <a:pt x="167" y="162"/>
                    <a:pt x="170" y="162"/>
                    <a:pt x="171" y="161"/>
                  </a:cubicBezTo>
                  <a:cubicBezTo>
                    <a:pt x="172" y="158"/>
                    <a:pt x="172" y="154"/>
                    <a:pt x="174" y="152"/>
                  </a:cubicBezTo>
                  <a:cubicBezTo>
                    <a:pt x="176" y="150"/>
                    <a:pt x="179" y="151"/>
                    <a:pt x="181" y="150"/>
                  </a:cubicBezTo>
                  <a:cubicBezTo>
                    <a:pt x="182" y="149"/>
                    <a:pt x="180" y="148"/>
                    <a:pt x="181" y="147"/>
                  </a:cubicBezTo>
                  <a:cubicBezTo>
                    <a:pt x="182" y="144"/>
                    <a:pt x="184" y="142"/>
                    <a:pt x="184" y="140"/>
                  </a:cubicBezTo>
                  <a:cubicBezTo>
                    <a:pt x="185" y="138"/>
                    <a:pt x="183" y="136"/>
                    <a:pt x="184" y="134"/>
                  </a:cubicBezTo>
                  <a:cubicBezTo>
                    <a:pt x="184" y="132"/>
                    <a:pt x="186" y="131"/>
                    <a:pt x="187" y="130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" name="Freeform 76"/>
            <p:cNvSpPr>
              <a:spLocks noChangeAspect="1"/>
            </p:cNvSpPr>
            <p:nvPr/>
          </p:nvSpPr>
          <p:spPr bwMode="auto">
            <a:xfrm>
              <a:off x="4756150" y="3260725"/>
              <a:ext cx="379413" cy="401638"/>
            </a:xfrm>
            <a:custGeom>
              <a:avLst/>
              <a:gdLst>
                <a:gd name="T0" fmla="*/ 379413 w 199"/>
                <a:gd name="T1" fmla="*/ 327402 h 211"/>
                <a:gd name="T2" fmla="*/ 377506 w 199"/>
                <a:gd name="T3" fmla="*/ 388314 h 211"/>
                <a:gd name="T4" fmla="*/ 356534 w 199"/>
                <a:gd name="T5" fmla="*/ 388314 h 211"/>
                <a:gd name="T6" fmla="*/ 354627 w 199"/>
                <a:gd name="T7" fmla="*/ 401638 h 211"/>
                <a:gd name="T8" fmla="*/ 156341 w 199"/>
                <a:gd name="T9" fmla="*/ 287428 h 211"/>
                <a:gd name="T10" fmla="*/ 141088 w 199"/>
                <a:gd name="T11" fmla="*/ 300753 h 211"/>
                <a:gd name="T12" fmla="*/ 114396 w 199"/>
                <a:gd name="T13" fmla="*/ 312174 h 211"/>
                <a:gd name="T14" fmla="*/ 102956 w 199"/>
                <a:gd name="T15" fmla="*/ 295042 h 211"/>
                <a:gd name="T16" fmla="*/ 80077 w 199"/>
                <a:gd name="T17" fmla="*/ 293139 h 211"/>
                <a:gd name="T18" fmla="*/ 66731 w 199"/>
                <a:gd name="T19" fmla="*/ 283621 h 211"/>
                <a:gd name="T20" fmla="*/ 53385 w 199"/>
                <a:gd name="T21" fmla="*/ 274104 h 211"/>
                <a:gd name="T22" fmla="*/ 59105 w 199"/>
                <a:gd name="T23" fmla="*/ 268393 h 211"/>
                <a:gd name="T24" fmla="*/ 40039 w 199"/>
                <a:gd name="T25" fmla="*/ 258876 h 211"/>
                <a:gd name="T26" fmla="*/ 24786 w 199"/>
                <a:gd name="T27" fmla="*/ 260779 h 211"/>
                <a:gd name="T28" fmla="*/ 22879 w 199"/>
                <a:gd name="T29" fmla="*/ 239841 h 211"/>
                <a:gd name="T30" fmla="*/ 5720 w 199"/>
                <a:gd name="T31" fmla="*/ 205578 h 211"/>
                <a:gd name="T32" fmla="*/ 19066 w 199"/>
                <a:gd name="T33" fmla="*/ 196060 h 211"/>
                <a:gd name="T34" fmla="*/ 13346 w 199"/>
                <a:gd name="T35" fmla="*/ 167508 h 211"/>
                <a:gd name="T36" fmla="*/ 15253 w 199"/>
                <a:gd name="T37" fmla="*/ 131341 h 211"/>
                <a:gd name="T38" fmla="*/ 0 w 199"/>
                <a:gd name="T39" fmla="*/ 91368 h 211"/>
                <a:gd name="T40" fmla="*/ 5720 w 199"/>
                <a:gd name="T41" fmla="*/ 87561 h 211"/>
                <a:gd name="T42" fmla="*/ 19066 w 199"/>
                <a:gd name="T43" fmla="*/ 79947 h 211"/>
                <a:gd name="T44" fmla="*/ 22879 w 199"/>
                <a:gd name="T45" fmla="*/ 68526 h 211"/>
                <a:gd name="T46" fmla="*/ 19066 w 199"/>
                <a:gd name="T47" fmla="*/ 47587 h 211"/>
                <a:gd name="T48" fmla="*/ 28599 w 199"/>
                <a:gd name="T49" fmla="*/ 41877 h 211"/>
                <a:gd name="T50" fmla="*/ 40039 w 199"/>
                <a:gd name="T51" fmla="*/ 30456 h 211"/>
                <a:gd name="T52" fmla="*/ 55291 w 199"/>
                <a:gd name="T53" fmla="*/ 20938 h 211"/>
                <a:gd name="T54" fmla="*/ 51478 w 199"/>
                <a:gd name="T55" fmla="*/ 15228 h 211"/>
                <a:gd name="T56" fmla="*/ 53385 w 199"/>
                <a:gd name="T57" fmla="*/ 0 h 211"/>
                <a:gd name="T58" fmla="*/ 64824 w 199"/>
                <a:gd name="T59" fmla="*/ 5710 h 211"/>
                <a:gd name="T60" fmla="*/ 91517 w 199"/>
                <a:gd name="T61" fmla="*/ 9517 h 211"/>
                <a:gd name="T62" fmla="*/ 116302 w 199"/>
                <a:gd name="T63" fmla="*/ 15228 h 211"/>
                <a:gd name="T64" fmla="*/ 137275 w 199"/>
                <a:gd name="T65" fmla="*/ 22842 h 211"/>
                <a:gd name="T66" fmla="*/ 146808 w 199"/>
                <a:gd name="T67" fmla="*/ 43780 h 211"/>
                <a:gd name="T68" fmla="*/ 160154 w 199"/>
                <a:gd name="T69" fmla="*/ 57105 h 211"/>
                <a:gd name="T70" fmla="*/ 179220 w 199"/>
                <a:gd name="T71" fmla="*/ 60912 h 211"/>
                <a:gd name="T72" fmla="*/ 207819 w 199"/>
                <a:gd name="T73" fmla="*/ 68526 h 211"/>
                <a:gd name="T74" fmla="*/ 224979 w 199"/>
                <a:gd name="T75" fmla="*/ 83754 h 211"/>
                <a:gd name="T76" fmla="*/ 242138 w 199"/>
                <a:gd name="T77" fmla="*/ 85657 h 211"/>
                <a:gd name="T78" fmla="*/ 251671 w 199"/>
                <a:gd name="T79" fmla="*/ 74236 h 211"/>
                <a:gd name="T80" fmla="*/ 257391 w 199"/>
                <a:gd name="T81" fmla="*/ 60912 h 211"/>
                <a:gd name="T82" fmla="*/ 253578 w 199"/>
                <a:gd name="T83" fmla="*/ 49491 h 211"/>
                <a:gd name="T84" fmla="*/ 253578 w 199"/>
                <a:gd name="T85" fmla="*/ 32359 h 211"/>
                <a:gd name="T86" fmla="*/ 263111 w 199"/>
                <a:gd name="T87" fmla="*/ 19035 h 211"/>
                <a:gd name="T88" fmla="*/ 284083 w 199"/>
                <a:gd name="T89" fmla="*/ 11421 h 211"/>
                <a:gd name="T90" fmla="*/ 299336 w 199"/>
                <a:gd name="T91" fmla="*/ 7614 h 211"/>
                <a:gd name="T92" fmla="*/ 314589 w 199"/>
                <a:gd name="T93" fmla="*/ 13324 h 211"/>
                <a:gd name="T94" fmla="*/ 324122 w 199"/>
                <a:gd name="T95" fmla="*/ 17131 h 211"/>
                <a:gd name="T96" fmla="*/ 331748 w 199"/>
                <a:gd name="T97" fmla="*/ 28552 h 211"/>
                <a:gd name="T98" fmla="*/ 352721 w 199"/>
                <a:gd name="T99" fmla="*/ 36166 h 211"/>
                <a:gd name="T100" fmla="*/ 366067 w 199"/>
                <a:gd name="T101" fmla="*/ 36166 h 211"/>
                <a:gd name="T102" fmla="*/ 373693 w 199"/>
                <a:gd name="T103" fmla="*/ 36166 h 211"/>
                <a:gd name="T104" fmla="*/ 377506 w 199"/>
                <a:gd name="T105" fmla="*/ 41877 h 211"/>
                <a:gd name="T106" fmla="*/ 371787 w 199"/>
                <a:gd name="T107" fmla="*/ 51394 h 211"/>
                <a:gd name="T108" fmla="*/ 371787 w 199"/>
                <a:gd name="T109" fmla="*/ 72333 h 211"/>
                <a:gd name="T110" fmla="*/ 366067 w 199"/>
                <a:gd name="T111" fmla="*/ 87561 h 211"/>
                <a:gd name="T112" fmla="*/ 373693 w 199"/>
                <a:gd name="T113" fmla="*/ 118017 h 211"/>
                <a:gd name="T114" fmla="*/ 379413 w 199"/>
                <a:gd name="T115" fmla="*/ 327402 h 21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99"/>
                <a:gd name="T175" fmla="*/ 0 h 211"/>
                <a:gd name="T176" fmla="*/ 199 w 199"/>
                <a:gd name="T177" fmla="*/ 211 h 21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99" h="211">
                  <a:moveTo>
                    <a:pt x="199" y="172"/>
                  </a:moveTo>
                  <a:lnTo>
                    <a:pt x="198" y="204"/>
                  </a:lnTo>
                  <a:lnTo>
                    <a:pt x="187" y="204"/>
                  </a:lnTo>
                  <a:lnTo>
                    <a:pt x="186" y="211"/>
                  </a:lnTo>
                  <a:lnTo>
                    <a:pt x="82" y="151"/>
                  </a:lnTo>
                  <a:lnTo>
                    <a:pt x="74" y="158"/>
                  </a:lnTo>
                  <a:cubicBezTo>
                    <a:pt x="69" y="160"/>
                    <a:pt x="65" y="163"/>
                    <a:pt x="60" y="164"/>
                  </a:cubicBezTo>
                  <a:cubicBezTo>
                    <a:pt x="59" y="162"/>
                    <a:pt x="58" y="157"/>
                    <a:pt x="54" y="155"/>
                  </a:cubicBezTo>
                  <a:cubicBezTo>
                    <a:pt x="51" y="153"/>
                    <a:pt x="46" y="156"/>
                    <a:pt x="42" y="154"/>
                  </a:cubicBezTo>
                  <a:cubicBezTo>
                    <a:pt x="39" y="154"/>
                    <a:pt x="37" y="151"/>
                    <a:pt x="35" y="149"/>
                  </a:cubicBezTo>
                  <a:cubicBezTo>
                    <a:pt x="33" y="148"/>
                    <a:pt x="29" y="147"/>
                    <a:pt x="28" y="144"/>
                  </a:cubicBezTo>
                  <a:cubicBezTo>
                    <a:pt x="28" y="143"/>
                    <a:pt x="32" y="142"/>
                    <a:pt x="31" y="141"/>
                  </a:cubicBezTo>
                  <a:cubicBezTo>
                    <a:pt x="29" y="138"/>
                    <a:pt x="25" y="137"/>
                    <a:pt x="21" y="136"/>
                  </a:cubicBezTo>
                  <a:cubicBezTo>
                    <a:pt x="19" y="136"/>
                    <a:pt x="15" y="139"/>
                    <a:pt x="13" y="137"/>
                  </a:cubicBezTo>
                  <a:cubicBezTo>
                    <a:pt x="11" y="134"/>
                    <a:pt x="13" y="129"/>
                    <a:pt x="12" y="126"/>
                  </a:cubicBezTo>
                  <a:cubicBezTo>
                    <a:pt x="10" y="120"/>
                    <a:pt x="3" y="115"/>
                    <a:pt x="3" y="108"/>
                  </a:cubicBezTo>
                  <a:cubicBezTo>
                    <a:pt x="2" y="105"/>
                    <a:pt x="9" y="106"/>
                    <a:pt x="10" y="103"/>
                  </a:cubicBezTo>
                  <a:cubicBezTo>
                    <a:pt x="11" y="98"/>
                    <a:pt x="7" y="93"/>
                    <a:pt x="7" y="88"/>
                  </a:cubicBezTo>
                  <a:cubicBezTo>
                    <a:pt x="6" y="82"/>
                    <a:pt x="9" y="75"/>
                    <a:pt x="8" y="69"/>
                  </a:cubicBezTo>
                  <a:cubicBezTo>
                    <a:pt x="7" y="62"/>
                    <a:pt x="2" y="55"/>
                    <a:pt x="0" y="48"/>
                  </a:cubicBezTo>
                  <a:cubicBezTo>
                    <a:pt x="0" y="46"/>
                    <a:pt x="2" y="46"/>
                    <a:pt x="3" y="46"/>
                  </a:cubicBezTo>
                  <a:cubicBezTo>
                    <a:pt x="5" y="45"/>
                    <a:pt x="8" y="44"/>
                    <a:pt x="10" y="42"/>
                  </a:cubicBezTo>
                  <a:cubicBezTo>
                    <a:pt x="11" y="40"/>
                    <a:pt x="12" y="38"/>
                    <a:pt x="12" y="36"/>
                  </a:cubicBezTo>
                  <a:cubicBezTo>
                    <a:pt x="12" y="32"/>
                    <a:pt x="10" y="29"/>
                    <a:pt x="10" y="25"/>
                  </a:cubicBezTo>
                  <a:cubicBezTo>
                    <a:pt x="11" y="23"/>
                    <a:pt x="14" y="24"/>
                    <a:pt x="15" y="22"/>
                  </a:cubicBezTo>
                  <a:cubicBezTo>
                    <a:pt x="17" y="21"/>
                    <a:pt x="19" y="18"/>
                    <a:pt x="21" y="16"/>
                  </a:cubicBezTo>
                  <a:cubicBezTo>
                    <a:pt x="23" y="14"/>
                    <a:pt x="27" y="13"/>
                    <a:pt x="29" y="11"/>
                  </a:cubicBezTo>
                  <a:cubicBezTo>
                    <a:pt x="30" y="10"/>
                    <a:pt x="27" y="9"/>
                    <a:pt x="27" y="8"/>
                  </a:cubicBezTo>
                  <a:cubicBezTo>
                    <a:pt x="26" y="5"/>
                    <a:pt x="27" y="2"/>
                    <a:pt x="28" y="0"/>
                  </a:cubicBezTo>
                  <a:cubicBezTo>
                    <a:pt x="30" y="1"/>
                    <a:pt x="32" y="3"/>
                    <a:pt x="34" y="3"/>
                  </a:cubicBezTo>
                  <a:cubicBezTo>
                    <a:pt x="39" y="4"/>
                    <a:pt x="44" y="4"/>
                    <a:pt x="48" y="5"/>
                  </a:cubicBezTo>
                  <a:cubicBezTo>
                    <a:pt x="53" y="5"/>
                    <a:pt x="57" y="6"/>
                    <a:pt x="61" y="8"/>
                  </a:cubicBezTo>
                  <a:cubicBezTo>
                    <a:pt x="65" y="9"/>
                    <a:pt x="69" y="10"/>
                    <a:pt x="72" y="12"/>
                  </a:cubicBezTo>
                  <a:cubicBezTo>
                    <a:pt x="75" y="15"/>
                    <a:pt x="75" y="20"/>
                    <a:pt x="77" y="23"/>
                  </a:cubicBezTo>
                  <a:cubicBezTo>
                    <a:pt x="79" y="26"/>
                    <a:pt x="81" y="29"/>
                    <a:pt x="84" y="30"/>
                  </a:cubicBezTo>
                  <a:cubicBezTo>
                    <a:pt x="87" y="32"/>
                    <a:pt x="91" y="31"/>
                    <a:pt x="94" y="32"/>
                  </a:cubicBezTo>
                  <a:cubicBezTo>
                    <a:pt x="99" y="33"/>
                    <a:pt x="104" y="34"/>
                    <a:pt x="109" y="36"/>
                  </a:cubicBezTo>
                  <a:cubicBezTo>
                    <a:pt x="112" y="38"/>
                    <a:pt x="114" y="43"/>
                    <a:pt x="118" y="44"/>
                  </a:cubicBezTo>
                  <a:cubicBezTo>
                    <a:pt x="121" y="46"/>
                    <a:pt x="124" y="46"/>
                    <a:pt x="127" y="45"/>
                  </a:cubicBezTo>
                  <a:cubicBezTo>
                    <a:pt x="129" y="44"/>
                    <a:pt x="131" y="41"/>
                    <a:pt x="132" y="39"/>
                  </a:cubicBezTo>
                  <a:cubicBezTo>
                    <a:pt x="134" y="37"/>
                    <a:pt x="135" y="35"/>
                    <a:pt x="135" y="32"/>
                  </a:cubicBezTo>
                  <a:cubicBezTo>
                    <a:pt x="135" y="30"/>
                    <a:pt x="133" y="28"/>
                    <a:pt x="133" y="26"/>
                  </a:cubicBezTo>
                  <a:cubicBezTo>
                    <a:pt x="132" y="23"/>
                    <a:pt x="132" y="20"/>
                    <a:pt x="133" y="17"/>
                  </a:cubicBezTo>
                  <a:cubicBezTo>
                    <a:pt x="133" y="14"/>
                    <a:pt x="136" y="12"/>
                    <a:pt x="138" y="10"/>
                  </a:cubicBezTo>
                  <a:cubicBezTo>
                    <a:pt x="141" y="8"/>
                    <a:pt x="145" y="7"/>
                    <a:pt x="149" y="6"/>
                  </a:cubicBezTo>
                  <a:cubicBezTo>
                    <a:pt x="152" y="5"/>
                    <a:pt x="154" y="4"/>
                    <a:pt x="157" y="4"/>
                  </a:cubicBezTo>
                  <a:cubicBezTo>
                    <a:pt x="160" y="4"/>
                    <a:pt x="162" y="6"/>
                    <a:pt x="165" y="7"/>
                  </a:cubicBezTo>
                  <a:cubicBezTo>
                    <a:pt x="166" y="8"/>
                    <a:pt x="169" y="7"/>
                    <a:pt x="170" y="9"/>
                  </a:cubicBezTo>
                  <a:cubicBezTo>
                    <a:pt x="172" y="10"/>
                    <a:pt x="172" y="13"/>
                    <a:pt x="174" y="15"/>
                  </a:cubicBezTo>
                  <a:cubicBezTo>
                    <a:pt x="177" y="17"/>
                    <a:pt x="181" y="18"/>
                    <a:pt x="185" y="19"/>
                  </a:cubicBezTo>
                  <a:cubicBezTo>
                    <a:pt x="187" y="19"/>
                    <a:pt x="190" y="19"/>
                    <a:pt x="192" y="19"/>
                  </a:cubicBezTo>
                  <a:cubicBezTo>
                    <a:pt x="193" y="19"/>
                    <a:pt x="195" y="18"/>
                    <a:pt x="196" y="19"/>
                  </a:cubicBezTo>
                  <a:cubicBezTo>
                    <a:pt x="197" y="20"/>
                    <a:pt x="197" y="21"/>
                    <a:pt x="198" y="22"/>
                  </a:cubicBezTo>
                  <a:cubicBezTo>
                    <a:pt x="197" y="23"/>
                    <a:pt x="195" y="25"/>
                    <a:pt x="195" y="27"/>
                  </a:cubicBezTo>
                  <a:cubicBezTo>
                    <a:pt x="194" y="31"/>
                    <a:pt x="196" y="35"/>
                    <a:pt x="195" y="38"/>
                  </a:cubicBezTo>
                  <a:cubicBezTo>
                    <a:pt x="195" y="41"/>
                    <a:pt x="192" y="43"/>
                    <a:pt x="192" y="46"/>
                  </a:cubicBezTo>
                  <a:cubicBezTo>
                    <a:pt x="192" y="51"/>
                    <a:pt x="195" y="56"/>
                    <a:pt x="196" y="62"/>
                  </a:cubicBezTo>
                  <a:cubicBezTo>
                    <a:pt x="198" y="99"/>
                    <a:pt x="198" y="136"/>
                    <a:pt x="199" y="172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" name="Freeform 77"/>
            <p:cNvSpPr>
              <a:spLocks noChangeAspect="1"/>
            </p:cNvSpPr>
            <p:nvPr/>
          </p:nvSpPr>
          <p:spPr bwMode="auto">
            <a:xfrm>
              <a:off x="4318000" y="2982913"/>
              <a:ext cx="76200" cy="163512"/>
            </a:xfrm>
            <a:custGeom>
              <a:avLst/>
              <a:gdLst>
                <a:gd name="T0" fmla="*/ 47625 w 40"/>
                <a:gd name="T1" fmla="*/ 154005 h 86"/>
                <a:gd name="T2" fmla="*/ 36195 w 40"/>
                <a:gd name="T3" fmla="*/ 161611 h 86"/>
                <a:gd name="T4" fmla="*/ 32385 w 40"/>
                <a:gd name="T5" fmla="*/ 157808 h 86"/>
                <a:gd name="T6" fmla="*/ 19050 w 40"/>
                <a:gd name="T7" fmla="*/ 157808 h 86"/>
                <a:gd name="T8" fmla="*/ 11430 w 40"/>
                <a:gd name="T9" fmla="*/ 161611 h 86"/>
                <a:gd name="T10" fmla="*/ 15240 w 40"/>
                <a:gd name="T11" fmla="*/ 148302 h 86"/>
                <a:gd name="T12" fmla="*/ 13335 w 40"/>
                <a:gd name="T13" fmla="*/ 133091 h 86"/>
                <a:gd name="T14" fmla="*/ 19050 w 40"/>
                <a:gd name="T15" fmla="*/ 114078 h 86"/>
                <a:gd name="T16" fmla="*/ 13335 w 40"/>
                <a:gd name="T17" fmla="*/ 114078 h 86"/>
                <a:gd name="T18" fmla="*/ 5715 w 40"/>
                <a:gd name="T19" fmla="*/ 115979 h 86"/>
                <a:gd name="T20" fmla="*/ 11430 w 40"/>
                <a:gd name="T21" fmla="*/ 106473 h 86"/>
                <a:gd name="T22" fmla="*/ 11430 w 40"/>
                <a:gd name="T23" fmla="*/ 100769 h 86"/>
                <a:gd name="T24" fmla="*/ 5715 w 40"/>
                <a:gd name="T25" fmla="*/ 106473 h 86"/>
                <a:gd name="T26" fmla="*/ 0 w 40"/>
                <a:gd name="T27" fmla="*/ 104572 h 86"/>
                <a:gd name="T28" fmla="*/ 3810 w 40"/>
                <a:gd name="T29" fmla="*/ 93164 h 86"/>
                <a:gd name="T30" fmla="*/ 9525 w 40"/>
                <a:gd name="T31" fmla="*/ 79855 h 86"/>
                <a:gd name="T32" fmla="*/ 13335 w 40"/>
                <a:gd name="T33" fmla="*/ 64644 h 86"/>
                <a:gd name="T34" fmla="*/ 15240 w 40"/>
                <a:gd name="T35" fmla="*/ 55138 h 86"/>
                <a:gd name="T36" fmla="*/ 19050 w 40"/>
                <a:gd name="T37" fmla="*/ 45631 h 86"/>
                <a:gd name="T38" fmla="*/ 19050 w 40"/>
                <a:gd name="T39" fmla="*/ 30421 h 86"/>
                <a:gd name="T40" fmla="*/ 15240 w 40"/>
                <a:gd name="T41" fmla="*/ 19013 h 86"/>
                <a:gd name="T42" fmla="*/ 13335 w 40"/>
                <a:gd name="T43" fmla="*/ 7605 h 86"/>
                <a:gd name="T44" fmla="*/ 28575 w 40"/>
                <a:gd name="T45" fmla="*/ 0 h 86"/>
                <a:gd name="T46" fmla="*/ 34290 w 40"/>
                <a:gd name="T47" fmla="*/ 3803 h 86"/>
                <a:gd name="T48" fmla="*/ 30480 w 40"/>
                <a:gd name="T49" fmla="*/ 11408 h 86"/>
                <a:gd name="T50" fmla="*/ 41910 w 40"/>
                <a:gd name="T51" fmla="*/ 9507 h 86"/>
                <a:gd name="T52" fmla="*/ 49530 w 40"/>
                <a:gd name="T53" fmla="*/ 11408 h 86"/>
                <a:gd name="T54" fmla="*/ 55245 w 40"/>
                <a:gd name="T55" fmla="*/ 5704 h 86"/>
                <a:gd name="T56" fmla="*/ 68580 w 40"/>
                <a:gd name="T57" fmla="*/ 5704 h 86"/>
                <a:gd name="T58" fmla="*/ 66675 w 40"/>
                <a:gd name="T59" fmla="*/ 15210 h 86"/>
                <a:gd name="T60" fmla="*/ 76200 w 40"/>
                <a:gd name="T61" fmla="*/ 17112 h 86"/>
                <a:gd name="T62" fmla="*/ 68580 w 40"/>
                <a:gd name="T63" fmla="*/ 28520 h 86"/>
                <a:gd name="T64" fmla="*/ 59055 w 40"/>
                <a:gd name="T65" fmla="*/ 36125 h 86"/>
                <a:gd name="T66" fmla="*/ 60960 w 40"/>
                <a:gd name="T67" fmla="*/ 57039 h 86"/>
                <a:gd name="T68" fmla="*/ 57150 w 40"/>
                <a:gd name="T69" fmla="*/ 62743 h 86"/>
                <a:gd name="T70" fmla="*/ 59055 w 40"/>
                <a:gd name="T71" fmla="*/ 68447 h 86"/>
                <a:gd name="T72" fmla="*/ 57150 w 40"/>
                <a:gd name="T73" fmla="*/ 77953 h 86"/>
                <a:gd name="T74" fmla="*/ 47625 w 40"/>
                <a:gd name="T75" fmla="*/ 81756 h 86"/>
                <a:gd name="T76" fmla="*/ 51435 w 40"/>
                <a:gd name="T77" fmla="*/ 93164 h 86"/>
                <a:gd name="T78" fmla="*/ 57150 w 40"/>
                <a:gd name="T79" fmla="*/ 96966 h 86"/>
                <a:gd name="T80" fmla="*/ 57150 w 40"/>
                <a:gd name="T81" fmla="*/ 102670 h 86"/>
                <a:gd name="T82" fmla="*/ 49530 w 40"/>
                <a:gd name="T83" fmla="*/ 110276 h 86"/>
                <a:gd name="T84" fmla="*/ 49530 w 40"/>
                <a:gd name="T85" fmla="*/ 117881 h 86"/>
                <a:gd name="T86" fmla="*/ 57150 w 40"/>
                <a:gd name="T87" fmla="*/ 127387 h 86"/>
                <a:gd name="T88" fmla="*/ 49530 w 40"/>
                <a:gd name="T89" fmla="*/ 134992 h 86"/>
                <a:gd name="T90" fmla="*/ 43815 w 40"/>
                <a:gd name="T91" fmla="*/ 142598 h 86"/>
                <a:gd name="T92" fmla="*/ 47625 w 40"/>
                <a:gd name="T93" fmla="*/ 154005 h 8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"/>
                <a:gd name="T142" fmla="*/ 0 h 86"/>
                <a:gd name="T143" fmla="*/ 40 w 40"/>
                <a:gd name="T144" fmla="*/ 86 h 8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" h="86">
                  <a:moveTo>
                    <a:pt x="25" y="81"/>
                  </a:moveTo>
                  <a:cubicBezTo>
                    <a:pt x="23" y="83"/>
                    <a:pt x="21" y="85"/>
                    <a:pt x="19" y="85"/>
                  </a:cubicBezTo>
                  <a:cubicBezTo>
                    <a:pt x="18" y="85"/>
                    <a:pt x="18" y="84"/>
                    <a:pt x="17" y="83"/>
                  </a:cubicBezTo>
                  <a:cubicBezTo>
                    <a:pt x="15" y="83"/>
                    <a:pt x="12" y="83"/>
                    <a:pt x="10" y="83"/>
                  </a:cubicBezTo>
                  <a:cubicBezTo>
                    <a:pt x="8" y="83"/>
                    <a:pt x="6" y="86"/>
                    <a:pt x="6" y="85"/>
                  </a:cubicBezTo>
                  <a:cubicBezTo>
                    <a:pt x="5" y="82"/>
                    <a:pt x="7" y="80"/>
                    <a:pt x="8" y="78"/>
                  </a:cubicBezTo>
                  <a:cubicBezTo>
                    <a:pt x="8" y="75"/>
                    <a:pt x="7" y="72"/>
                    <a:pt x="7" y="70"/>
                  </a:cubicBezTo>
                  <a:cubicBezTo>
                    <a:pt x="8" y="66"/>
                    <a:pt x="10" y="63"/>
                    <a:pt x="10" y="60"/>
                  </a:cubicBezTo>
                  <a:cubicBezTo>
                    <a:pt x="10" y="59"/>
                    <a:pt x="8" y="60"/>
                    <a:pt x="7" y="60"/>
                  </a:cubicBezTo>
                  <a:cubicBezTo>
                    <a:pt x="6" y="61"/>
                    <a:pt x="4" y="62"/>
                    <a:pt x="3" y="61"/>
                  </a:cubicBezTo>
                  <a:cubicBezTo>
                    <a:pt x="3" y="59"/>
                    <a:pt x="5" y="58"/>
                    <a:pt x="6" y="56"/>
                  </a:cubicBezTo>
                  <a:cubicBezTo>
                    <a:pt x="6" y="55"/>
                    <a:pt x="7" y="53"/>
                    <a:pt x="6" y="53"/>
                  </a:cubicBezTo>
                  <a:cubicBezTo>
                    <a:pt x="4" y="53"/>
                    <a:pt x="5" y="56"/>
                    <a:pt x="3" y="56"/>
                  </a:cubicBezTo>
                  <a:cubicBezTo>
                    <a:pt x="2" y="56"/>
                    <a:pt x="1" y="56"/>
                    <a:pt x="0" y="55"/>
                  </a:cubicBezTo>
                  <a:cubicBezTo>
                    <a:pt x="0" y="53"/>
                    <a:pt x="1" y="51"/>
                    <a:pt x="2" y="49"/>
                  </a:cubicBezTo>
                  <a:cubicBezTo>
                    <a:pt x="2" y="47"/>
                    <a:pt x="4" y="45"/>
                    <a:pt x="5" y="42"/>
                  </a:cubicBezTo>
                  <a:cubicBezTo>
                    <a:pt x="6" y="39"/>
                    <a:pt x="7" y="37"/>
                    <a:pt x="7" y="34"/>
                  </a:cubicBezTo>
                  <a:cubicBezTo>
                    <a:pt x="8" y="32"/>
                    <a:pt x="7" y="31"/>
                    <a:pt x="8" y="29"/>
                  </a:cubicBezTo>
                  <a:cubicBezTo>
                    <a:pt x="8" y="27"/>
                    <a:pt x="10" y="26"/>
                    <a:pt x="10" y="24"/>
                  </a:cubicBezTo>
                  <a:cubicBezTo>
                    <a:pt x="10" y="21"/>
                    <a:pt x="10" y="18"/>
                    <a:pt x="10" y="16"/>
                  </a:cubicBezTo>
                  <a:cubicBezTo>
                    <a:pt x="9" y="14"/>
                    <a:pt x="9" y="12"/>
                    <a:pt x="8" y="10"/>
                  </a:cubicBezTo>
                  <a:cubicBezTo>
                    <a:pt x="8" y="8"/>
                    <a:pt x="8" y="6"/>
                    <a:pt x="7" y="4"/>
                  </a:cubicBezTo>
                  <a:cubicBezTo>
                    <a:pt x="10" y="3"/>
                    <a:pt x="12" y="1"/>
                    <a:pt x="15" y="0"/>
                  </a:cubicBezTo>
                  <a:cubicBezTo>
                    <a:pt x="16" y="0"/>
                    <a:pt x="18" y="1"/>
                    <a:pt x="18" y="2"/>
                  </a:cubicBezTo>
                  <a:cubicBezTo>
                    <a:pt x="18" y="4"/>
                    <a:pt x="14" y="5"/>
                    <a:pt x="16" y="6"/>
                  </a:cubicBezTo>
                  <a:cubicBezTo>
                    <a:pt x="17" y="7"/>
                    <a:pt x="20" y="5"/>
                    <a:pt x="22" y="5"/>
                  </a:cubicBezTo>
                  <a:cubicBezTo>
                    <a:pt x="23" y="5"/>
                    <a:pt x="25" y="6"/>
                    <a:pt x="26" y="6"/>
                  </a:cubicBezTo>
                  <a:cubicBezTo>
                    <a:pt x="27" y="5"/>
                    <a:pt x="28" y="3"/>
                    <a:pt x="29" y="3"/>
                  </a:cubicBezTo>
                  <a:cubicBezTo>
                    <a:pt x="31" y="3"/>
                    <a:pt x="34" y="2"/>
                    <a:pt x="36" y="3"/>
                  </a:cubicBezTo>
                  <a:cubicBezTo>
                    <a:pt x="37" y="4"/>
                    <a:pt x="35" y="6"/>
                    <a:pt x="35" y="8"/>
                  </a:cubicBezTo>
                  <a:cubicBezTo>
                    <a:pt x="36" y="9"/>
                    <a:pt x="40" y="8"/>
                    <a:pt x="40" y="9"/>
                  </a:cubicBezTo>
                  <a:cubicBezTo>
                    <a:pt x="40" y="12"/>
                    <a:pt x="37" y="13"/>
                    <a:pt x="36" y="15"/>
                  </a:cubicBezTo>
                  <a:cubicBezTo>
                    <a:pt x="34" y="17"/>
                    <a:pt x="32" y="17"/>
                    <a:pt x="31" y="19"/>
                  </a:cubicBezTo>
                  <a:cubicBezTo>
                    <a:pt x="30" y="23"/>
                    <a:pt x="33" y="26"/>
                    <a:pt x="32" y="30"/>
                  </a:cubicBezTo>
                  <a:cubicBezTo>
                    <a:pt x="32" y="31"/>
                    <a:pt x="30" y="32"/>
                    <a:pt x="30" y="33"/>
                  </a:cubicBezTo>
                  <a:cubicBezTo>
                    <a:pt x="29" y="34"/>
                    <a:pt x="31" y="35"/>
                    <a:pt x="31" y="36"/>
                  </a:cubicBezTo>
                  <a:cubicBezTo>
                    <a:pt x="31" y="38"/>
                    <a:pt x="31" y="40"/>
                    <a:pt x="30" y="41"/>
                  </a:cubicBezTo>
                  <a:cubicBezTo>
                    <a:pt x="28" y="42"/>
                    <a:pt x="25" y="41"/>
                    <a:pt x="25" y="43"/>
                  </a:cubicBezTo>
                  <a:cubicBezTo>
                    <a:pt x="24" y="45"/>
                    <a:pt x="26" y="47"/>
                    <a:pt x="27" y="49"/>
                  </a:cubicBezTo>
                  <a:cubicBezTo>
                    <a:pt x="28" y="50"/>
                    <a:pt x="30" y="50"/>
                    <a:pt x="30" y="51"/>
                  </a:cubicBezTo>
                  <a:cubicBezTo>
                    <a:pt x="31" y="52"/>
                    <a:pt x="31" y="53"/>
                    <a:pt x="30" y="54"/>
                  </a:cubicBezTo>
                  <a:cubicBezTo>
                    <a:pt x="29" y="56"/>
                    <a:pt x="27" y="57"/>
                    <a:pt x="26" y="58"/>
                  </a:cubicBezTo>
                  <a:cubicBezTo>
                    <a:pt x="26" y="59"/>
                    <a:pt x="26" y="61"/>
                    <a:pt x="26" y="62"/>
                  </a:cubicBezTo>
                  <a:cubicBezTo>
                    <a:pt x="27" y="64"/>
                    <a:pt x="30" y="65"/>
                    <a:pt x="30" y="67"/>
                  </a:cubicBezTo>
                  <a:cubicBezTo>
                    <a:pt x="30" y="69"/>
                    <a:pt x="27" y="69"/>
                    <a:pt x="26" y="71"/>
                  </a:cubicBezTo>
                  <a:cubicBezTo>
                    <a:pt x="25" y="72"/>
                    <a:pt x="23" y="74"/>
                    <a:pt x="23" y="75"/>
                  </a:cubicBezTo>
                  <a:cubicBezTo>
                    <a:pt x="23" y="78"/>
                    <a:pt x="24" y="79"/>
                    <a:pt x="25" y="8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" name="Freeform 78"/>
            <p:cNvSpPr>
              <a:spLocks noChangeAspect="1"/>
            </p:cNvSpPr>
            <p:nvPr/>
          </p:nvSpPr>
          <p:spPr bwMode="auto">
            <a:xfrm>
              <a:off x="4425950" y="2687638"/>
              <a:ext cx="298450" cy="285750"/>
            </a:xfrm>
            <a:custGeom>
              <a:avLst/>
              <a:gdLst>
                <a:gd name="T0" fmla="*/ 286971 w 156"/>
                <a:gd name="T1" fmla="*/ 238125 h 150"/>
                <a:gd name="T2" fmla="*/ 271666 w 156"/>
                <a:gd name="T3" fmla="*/ 224790 h 150"/>
                <a:gd name="T4" fmla="*/ 265927 w 156"/>
                <a:gd name="T5" fmla="*/ 203835 h 150"/>
                <a:gd name="T6" fmla="*/ 273579 w 156"/>
                <a:gd name="T7" fmla="*/ 186690 h 150"/>
                <a:gd name="T8" fmla="*/ 273579 w 156"/>
                <a:gd name="T9" fmla="*/ 173355 h 150"/>
                <a:gd name="T10" fmla="*/ 264013 w 156"/>
                <a:gd name="T11" fmla="*/ 158115 h 150"/>
                <a:gd name="T12" fmla="*/ 252535 w 156"/>
                <a:gd name="T13" fmla="*/ 156210 h 150"/>
                <a:gd name="T14" fmla="*/ 264013 w 156"/>
                <a:gd name="T15" fmla="*/ 135255 h 150"/>
                <a:gd name="T16" fmla="*/ 271666 w 156"/>
                <a:gd name="T17" fmla="*/ 121920 h 150"/>
                <a:gd name="T18" fmla="*/ 285058 w 156"/>
                <a:gd name="T19" fmla="*/ 108585 h 150"/>
                <a:gd name="T20" fmla="*/ 292711 w 156"/>
                <a:gd name="T21" fmla="*/ 76200 h 150"/>
                <a:gd name="T22" fmla="*/ 279319 w 156"/>
                <a:gd name="T23" fmla="*/ 62865 h 150"/>
                <a:gd name="T24" fmla="*/ 260187 w 156"/>
                <a:gd name="T25" fmla="*/ 55245 h 150"/>
                <a:gd name="T26" fmla="*/ 244882 w 156"/>
                <a:gd name="T27" fmla="*/ 51435 h 150"/>
                <a:gd name="T28" fmla="*/ 223837 w 156"/>
                <a:gd name="T29" fmla="*/ 41910 h 150"/>
                <a:gd name="T30" fmla="*/ 208532 w 156"/>
                <a:gd name="T31" fmla="*/ 36195 h 150"/>
                <a:gd name="T32" fmla="*/ 195140 w 156"/>
                <a:gd name="T33" fmla="*/ 24765 h 150"/>
                <a:gd name="T34" fmla="*/ 181748 w 156"/>
                <a:gd name="T35" fmla="*/ 13335 h 150"/>
                <a:gd name="T36" fmla="*/ 168356 w 156"/>
                <a:gd name="T37" fmla="*/ 1905 h 150"/>
                <a:gd name="T38" fmla="*/ 149225 w 156"/>
                <a:gd name="T39" fmla="*/ 34290 h 150"/>
                <a:gd name="T40" fmla="*/ 112875 w 156"/>
                <a:gd name="T41" fmla="*/ 47625 h 150"/>
                <a:gd name="T42" fmla="*/ 112875 w 156"/>
                <a:gd name="T43" fmla="*/ 59055 h 150"/>
                <a:gd name="T44" fmla="*/ 84178 w 156"/>
                <a:gd name="T45" fmla="*/ 59055 h 150"/>
                <a:gd name="T46" fmla="*/ 74613 w 156"/>
                <a:gd name="T47" fmla="*/ 47625 h 150"/>
                <a:gd name="T48" fmla="*/ 72699 w 156"/>
                <a:gd name="T49" fmla="*/ 66675 h 150"/>
                <a:gd name="T50" fmla="*/ 68873 w 156"/>
                <a:gd name="T51" fmla="*/ 83820 h 150"/>
                <a:gd name="T52" fmla="*/ 44002 w 156"/>
                <a:gd name="T53" fmla="*/ 80010 h 150"/>
                <a:gd name="T54" fmla="*/ 26784 w 156"/>
                <a:gd name="T55" fmla="*/ 81915 h 150"/>
                <a:gd name="T56" fmla="*/ 3826 w 156"/>
                <a:gd name="T57" fmla="*/ 85725 h 150"/>
                <a:gd name="T58" fmla="*/ 13392 w 156"/>
                <a:gd name="T59" fmla="*/ 100965 h 150"/>
                <a:gd name="T60" fmla="*/ 11479 w 156"/>
                <a:gd name="T61" fmla="*/ 112395 h 150"/>
                <a:gd name="T62" fmla="*/ 40176 w 156"/>
                <a:gd name="T63" fmla="*/ 120015 h 150"/>
                <a:gd name="T64" fmla="*/ 53568 w 156"/>
                <a:gd name="T65" fmla="*/ 121920 h 150"/>
                <a:gd name="T66" fmla="*/ 65047 w 156"/>
                <a:gd name="T67" fmla="*/ 127635 h 150"/>
                <a:gd name="T68" fmla="*/ 61221 w 156"/>
                <a:gd name="T69" fmla="*/ 142875 h 150"/>
                <a:gd name="T70" fmla="*/ 78439 w 156"/>
                <a:gd name="T71" fmla="*/ 160020 h 150"/>
                <a:gd name="T72" fmla="*/ 86091 w 156"/>
                <a:gd name="T73" fmla="*/ 169545 h 150"/>
                <a:gd name="T74" fmla="*/ 91831 w 156"/>
                <a:gd name="T75" fmla="*/ 184785 h 150"/>
                <a:gd name="T76" fmla="*/ 84178 w 156"/>
                <a:gd name="T77" fmla="*/ 186690 h 150"/>
                <a:gd name="T78" fmla="*/ 88004 w 156"/>
                <a:gd name="T79" fmla="*/ 211455 h 150"/>
                <a:gd name="T80" fmla="*/ 80352 w 156"/>
                <a:gd name="T81" fmla="*/ 243840 h 150"/>
                <a:gd name="T82" fmla="*/ 78439 w 156"/>
                <a:gd name="T83" fmla="*/ 259080 h 150"/>
                <a:gd name="T84" fmla="*/ 105223 w 156"/>
                <a:gd name="T85" fmla="*/ 274320 h 150"/>
                <a:gd name="T86" fmla="*/ 128180 w 156"/>
                <a:gd name="T87" fmla="*/ 270510 h 150"/>
                <a:gd name="T88" fmla="*/ 162617 w 156"/>
                <a:gd name="T89" fmla="*/ 283845 h 150"/>
                <a:gd name="T90" fmla="*/ 179835 w 156"/>
                <a:gd name="T91" fmla="*/ 270510 h 150"/>
                <a:gd name="T92" fmla="*/ 208532 w 156"/>
                <a:gd name="T93" fmla="*/ 253365 h 150"/>
                <a:gd name="T94" fmla="*/ 227664 w 156"/>
                <a:gd name="T95" fmla="*/ 249555 h 150"/>
                <a:gd name="T96" fmla="*/ 252535 w 156"/>
                <a:gd name="T97" fmla="*/ 264795 h 150"/>
                <a:gd name="T98" fmla="*/ 271666 w 156"/>
                <a:gd name="T99" fmla="*/ 253365 h 15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6"/>
                <a:gd name="T151" fmla="*/ 0 h 150"/>
                <a:gd name="T152" fmla="*/ 156 w 156"/>
                <a:gd name="T153" fmla="*/ 150 h 15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6" h="150">
                  <a:moveTo>
                    <a:pt x="147" y="129"/>
                  </a:moveTo>
                  <a:cubicBezTo>
                    <a:pt x="147" y="128"/>
                    <a:pt x="146" y="127"/>
                    <a:pt x="146" y="126"/>
                  </a:cubicBezTo>
                  <a:cubicBezTo>
                    <a:pt x="147" y="125"/>
                    <a:pt x="149" y="126"/>
                    <a:pt x="150" y="125"/>
                  </a:cubicBezTo>
                  <a:cubicBezTo>
                    <a:pt x="151" y="124"/>
                    <a:pt x="151" y="123"/>
                    <a:pt x="151" y="122"/>
                  </a:cubicBezTo>
                  <a:cubicBezTo>
                    <a:pt x="150" y="121"/>
                    <a:pt x="148" y="122"/>
                    <a:pt x="147" y="122"/>
                  </a:cubicBezTo>
                  <a:cubicBezTo>
                    <a:pt x="145" y="121"/>
                    <a:pt x="143" y="120"/>
                    <a:pt x="142" y="118"/>
                  </a:cubicBezTo>
                  <a:cubicBezTo>
                    <a:pt x="141" y="117"/>
                    <a:pt x="142" y="115"/>
                    <a:pt x="142" y="113"/>
                  </a:cubicBezTo>
                  <a:cubicBezTo>
                    <a:pt x="142" y="112"/>
                    <a:pt x="143" y="111"/>
                    <a:pt x="142" y="109"/>
                  </a:cubicBezTo>
                  <a:cubicBezTo>
                    <a:pt x="142" y="108"/>
                    <a:pt x="139" y="108"/>
                    <a:pt x="139" y="107"/>
                  </a:cubicBezTo>
                  <a:cubicBezTo>
                    <a:pt x="139" y="106"/>
                    <a:pt x="140" y="105"/>
                    <a:pt x="140" y="104"/>
                  </a:cubicBezTo>
                  <a:cubicBezTo>
                    <a:pt x="141" y="103"/>
                    <a:pt x="143" y="103"/>
                    <a:pt x="144" y="102"/>
                  </a:cubicBezTo>
                  <a:cubicBezTo>
                    <a:pt x="144" y="101"/>
                    <a:pt x="143" y="99"/>
                    <a:pt x="143" y="98"/>
                  </a:cubicBezTo>
                  <a:cubicBezTo>
                    <a:pt x="142" y="97"/>
                    <a:pt x="140" y="96"/>
                    <a:pt x="139" y="94"/>
                  </a:cubicBezTo>
                  <a:cubicBezTo>
                    <a:pt x="139" y="94"/>
                    <a:pt x="139" y="93"/>
                    <a:pt x="140" y="92"/>
                  </a:cubicBezTo>
                  <a:cubicBezTo>
                    <a:pt x="140" y="92"/>
                    <a:pt x="142" y="92"/>
                    <a:pt x="143" y="91"/>
                  </a:cubicBezTo>
                  <a:cubicBezTo>
                    <a:pt x="142" y="90"/>
                    <a:pt x="141" y="89"/>
                    <a:pt x="140" y="88"/>
                  </a:cubicBezTo>
                  <a:cubicBezTo>
                    <a:pt x="140" y="87"/>
                    <a:pt x="140" y="85"/>
                    <a:pt x="140" y="84"/>
                  </a:cubicBezTo>
                  <a:cubicBezTo>
                    <a:pt x="139" y="84"/>
                    <a:pt x="139" y="83"/>
                    <a:pt x="138" y="83"/>
                  </a:cubicBezTo>
                  <a:cubicBezTo>
                    <a:pt x="137" y="83"/>
                    <a:pt x="136" y="83"/>
                    <a:pt x="135" y="83"/>
                  </a:cubicBezTo>
                  <a:cubicBezTo>
                    <a:pt x="134" y="84"/>
                    <a:pt x="133" y="87"/>
                    <a:pt x="131" y="87"/>
                  </a:cubicBezTo>
                  <a:cubicBezTo>
                    <a:pt x="130" y="86"/>
                    <a:pt x="131" y="84"/>
                    <a:pt x="132" y="82"/>
                  </a:cubicBezTo>
                  <a:cubicBezTo>
                    <a:pt x="132" y="81"/>
                    <a:pt x="132" y="79"/>
                    <a:pt x="133" y="78"/>
                  </a:cubicBezTo>
                  <a:cubicBezTo>
                    <a:pt x="133" y="77"/>
                    <a:pt x="134" y="75"/>
                    <a:pt x="135" y="74"/>
                  </a:cubicBezTo>
                  <a:cubicBezTo>
                    <a:pt x="135" y="73"/>
                    <a:pt x="137" y="72"/>
                    <a:pt x="138" y="71"/>
                  </a:cubicBezTo>
                  <a:cubicBezTo>
                    <a:pt x="139" y="70"/>
                    <a:pt x="141" y="68"/>
                    <a:pt x="142" y="67"/>
                  </a:cubicBezTo>
                  <a:cubicBezTo>
                    <a:pt x="142" y="66"/>
                    <a:pt x="140" y="66"/>
                    <a:pt x="140" y="65"/>
                  </a:cubicBezTo>
                  <a:cubicBezTo>
                    <a:pt x="140" y="65"/>
                    <a:pt x="141" y="64"/>
                    <a:pt x="142" y="64"/>
                  </a:cubicBezTo>
                  <a:cubicBezTo>
                    <a:pt x="143" y="63"/>
                    <a:pt x="144" y="65"/>
                    <a:pt x="146" y="65"/>
                  </a:cubicBezTo>
                  <a:cubicBezTo>
                    <a:pt x="147" y="65"/>
                    <a:pt x="148" y="64"/>
                    <a:pt x="149" y="63"/>
                  </a:cubicBezTo>
                  <a:cubicBezTo>
                    <a:pt x="149" y="61"/>
                    <a:pt x="149" y="59"/>
                    <a:pt x="149" y="57"/>
                  </a:cubicBezTo>
                  <a:cubicBezTo>
                    <a:pt x="149" y="55"/>
                    <a:pt x="149" y="53"/>
                    <a:pt x="149" y="52"/>
                  </a:cubicBezTo>
                  <a:cubicBezTo>
                    <a:pt x="149" y="50"/>
                    <a:pt x="150" y="48"/>
                    <a:pt x="151" y="46"/>
                  </a:cubicBezTo>
                  <a:cubicBezTo>
                    <a:pt x="152" y="44"/>
                    <a:pt x="152" y="42"/>
                    <a:pt x="153" y="40"/>
                  </a:cubicBezTo>
                  <a:cubicBezTo>
                    <a:pt x="154" y="39"/>
                    <a:pt x="156" y="39"/>
                    <a:pt x="156" y="37"/>
                  </a:cubicBezTo>
                  <a:cubicBezTo>
                    <a:pt x="155" y="36"/>
                    <a:pt x="152" y="36"/>
                    <a:pt x="150" y="36"/>
                  </a:cubicBezTo>
                  <a:cubicBezTo>
                    <a:pt x="149" y="35"/>
                    <a:pt x="148" y="34"/>
                    <a:pt x="146" y="33"/>
                  </a:cubicBezTo>
                  <a:cubicBezTo>
                    <a:pt x="145" y="33"/>
                    <a:pt x="144" y="34"/>
                    <a:pt x="143" y="34"/>
                  </a:cubicBezTo>
                  <a:cubicBezTo>
                    <a:pt x="141" y="33"/>
                    <a:pt x="140" y="33"/>
                    <a:pt x="139" y="32"/>
                  </a:cubicBezTo>
                  <a:cubicBezTo>
                    <a:pt x="138" y="31"/>
                    <a:pt x="137" y="30"/>
                    <a:pt x="136" y="29"/>
                  </a:cubicBezTo>
                  <a:cubicBezTo>
                    <a:pt x="135" y="29"/>
                    <a:pt x="135" y="28"/>
                    <a:pt x="134" y="28"/>
                  </a:cubicBezTo>
                  <a:cubicBezTo>
                    <a:pt x="133" y="28"/>
                    <a:pt x="132" y="28"/>
                    <a:pt x="131" y="28"/>
                  </a:cubicBezTo>
                  <a:cubicBezTo>
                    <a:pt x="130" y="28"/>
                    <a:pt x="129" y="27"/>
                    <a:pt x="128" y="27"/>
                  </a:cubicBezTo>
                  <a:cubicBezTo>
                    <a:pt x="127" y="27"/>
                    <a:pt x="126" y="27"/>
                    <a:pt x="125" y="27"/>
                  </a:cubicBezTo>
                  <a:cubicBezTo>
                    <a:pt x="124" y="26"/>
                    <a:pt x="122" y="26"/>
                    <a:pt x="121" y="25"/>
                  </a:cubicBezTo>
                  <a:cubicBezTo>
                    <a:pt x="120" y="24"/>
                    <a:pt x="118" y="23"/>
                    <a:pt x="117" y="22"/>
                  </a:cubicBezTo>
                  <a:cubicBezTo>
                    <a:pt x="116" y="21"/>
                    <a:pt x="116" y="19"/>
                    <a:pt x="115" y="19"/>
                  </a:cubicBezTo>
                  <a:cubicBezTo>
                    <a:pt x="114" y="18"/>
                    <a:pt x="113" y="19"/>
                    <a:pt x="113" y="19"/>
                  </a:cubicBezTo>
                  <a:cubicBezTo>
                    <a:pt x="111" y="19"/>
                    <a:pt x="110" y="20"/>
                    <a:pt x="109" y="19"/>
                  </a:cubicBezTo>
                  <a:cubicBezTo>
                    <a:pt x="108" y="19"/>
                    <a:pt x="109" y="17"/>
                    <a:pt x="108" y="16"/>
                  </a:cubicBezTo>
                  <a:cubicBezTo>
                    <a:pt x="108" y="15"/>
                    <a:pt x="108" y="13"/>
                    <a:pt x="106" y="13"/>
                  </a:cubicBezTo>
                  <a:cubicBezTo>
                    <a:pt x="105" y="12"/>
                    <a:pt x="104" y="13"/>
                    <a:pt x="102" y="13"/>
                  </a:cubicBezTo>
                  <a:cubicBezTo>
                    <a:pt x="102" y="12"/>
                    <a:pt x="101" y="11"/>
                    <a:pt x="101" y="11"/>
                  </a:cubicBezTo>
                  <a:cubicBezTo>
                    <a:pt x="100" y="10"/>
                    <a:pt x="98" y="11"/>
                    <a:pt x="97" y="10"/>
                  </a:cubicBezTo>
                  <a:cubicBezTo>
                    <a:pt x="96" y="9"/>
                    <a:pt x="96" y="7"/>
                    <a:pt x="95" y="7"/>
                  </a:cubicBezTo>
                  <a:cubicBezTo>
                    <a:pt x="94" y="6"/>
                    <a:pt x="93" y="6"/>
                    <a:pt x="92" y="6"/>
                  </a:cubicBezTo>
                  <a:cubicBezTo>
                    <a:pt x="91" y="6"/>
                    <a:pt x="90" y="6"/>
                    <a:pt x="90" y="5"/>
                  </a:cubicBezTo>
                  <a:cubicBezTo>
                    <a:pt x="89" y="4"/>
                    <a:pt x="88" y="2"/>
                    <a:pt x="88" y="1"/>
                  </a:cubicBezTo>
                  <a:cubicBezTo>
                    <a:pt x="84" y="2"/>
                    <a:pt x="79" y="0"/>
                    <a:pt x="77" y="3"/>
                  </a:cubicBezTo>
                  <a:cubicBezTo>
                    <a:pt x="75" y="7"/>
                    <a:pt x="76" y="12"/>
                    <a:pt x="76" y="16"/>
                  </a:cubicBezTo>
                  <a:cubicBezTo>
                    <a:pt x="76" y="17"/>
                    <a:pt x="78" y="18"/>
                    <a:pt x="78" y="18"/>
                  </a:cubicBezTo>
                  <a:cubicBezTo>
                    <a:pt x="76" y="19"/>
                    <a:pt x="75" y="18"/>
                    <a:pt x="73" y="18"/>
                  </a:cubicBezTo>
                  <a:cubicBezTo>
                    <a:pt x="71" y="19"/>
                    <a:pt x="69" y="20"/>
                    <a:pt x="67" y="21"/>
                  </a:cubicBezTo>
                  <a:cubicBezTo>
                    <a:pt x="64" y="23"/>
                    <a:pt x="61" y="23"/>
                    <a:pt x="59" y="25"/>
                  </a:cubicBezTo>
                  <a:cubicBezTo>
                    <a:pt x="58" y="26"/>
                    <a:pt x="58" y="27"/>
                    <a:pt x="59" y="28"/>
                  </a:cubicBezTo>
                  <a:cubicBezTo>
                    <a:pt x="60" y="29"/>
                    <a:pt x="63" y="28"/>
                    <a:pt x="63" y="29"/>
                  </a:cubicBezTo>
                  <a:cubicBezTo>
                    <a:pt x="63" y="31"/>
                    <a:pt x="60" y="30"/>
                    <a:pt x="59" y="31"/>
                  </a:cubicBezTo>
                  <a:cubicBezTo>
                    <a:pt x="56" y="31"/>
                    <a:pt x="54" y="31"/>
                    <a:pt x="51" y="30"/>
                  </a:cubicBezTo>
                  <a:cubicBezTo>
                    <a:pt x="49" y="30"/>
                    <a:pt x="47" y="29"/>
                    <a:pt x="46" y="30"/>
                  </a:cubicBezTo>
                  <a:cubicBezTo>
                    <a:pt x="45" y="30"/>
                    <a:pt x="44" y="31"/>
                    <a:pt x="44" y="31"/>
                  </a:cubicBezTo>
                  <a:cubicBezTo>
                    <a:pt x="43" y="31"/>
                    <a:pt x="43" y="29"/>
                    <a:pt x="43" y="28"/>
                  </a:cubicBezTo>
                  <a:cubicBezTo>
                    <a:pt x="43" y="27"/>
                    <a:pt x="44" y="26"/>
                    <a:pt x="43" y="25"/>
                  </a:cubicBezTo>
                  <a:cubicBezTo>
                    <a:pt x="42" y="24"/>
                    <a:pt x="40" y="25"/>
                    <a:pt x="39" y="25"/>
                  </a:cubicBezTo>
                  <a:cubicBezTo>
                    <a:pt x="38" y="25"/>
                    <a:pt x="36" y="23"/>
                    <a:pt x="36" y="24"/>
                  </a:cubicBezTo>
                  <a:cubicBezTo>
                    <a:pt x="35" y="25"/>
                    <a:pt x="36" y="28"/>
                    <a:pt x="36" y="29"/>
                  </a:cubicBezTo>
                  <a:cubicBezTo>
                    <a:pt x="36" y="31"/>
                    <a:pt x="38" y="33"/>
                    <a:pt x="38" y="35"/>
                  </a:cubicBezTo>
                  <a:cubicBezTo>
                    <a:pt x="39" y="37"/>
                    <a:pt x="39" y="40"/>
                    <a:pt x="40" y="42"/>
                  </a:cubicBezTo>
                  <a:cubicBezTo>
                    <a:pt x="40" y="42"/>
                    <a:pt x="41" y="43"/>
                    <a:pt x="40" y="44"/>
                  </a:cubicBezTo>
                  <a:cubicBezTo>
                    <a:pt x="39" y="45"/>
                    <a:pt x="37" y="44"/>
                    <a:pt x="36" y="44"/>
                  </a:cubicBezTo>
                  <a:cubicBezTo>
                    <a:pt x="34" y="44"/>
                    <a:pt x="32" y="43"/>
                    <a:pt x="30" y="43"/>
                  </a:cubicBezTo>
                  <a:cubicBezTo>
                    <a:pt x="29" y="43"/>
                    <a:pt x="28" y="46"/>
                    <a:pt x="27" y="46"/>
                  </a:cubicBezTo>
                  <a:cubicBezTo>
                    <a:pt x="25" y="46"/>
                    <a:pt x="24" y="43"/>
                    <a:pt x="23" y="42"/>
                  </a:cubicBezTo>
                  <a:cubicBezTo>
                    <a:pt x="22" y="41"/>
                    <a:pt x="22" y="40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5" y="41"/>
                    <a:pt x="15" y="43"/>
                    <a:pt x="14" y="43"/>
                  </a:cubicBezTo>
                  <a:cubicBezTo>
                    <a:pt x="14" y="44"/>
                    <a:pt x="13" y="43"/>
                    <a:pt x="12" y="43"/>
                  </a:cubicBezTo>
                  <a:cubicBezTo>
                    <a:pt x="10" y="43"/>
                    <a:pt x="9" y="43"/>
                    <a:pt x="8" y="43"/>
                  </a:cubicBezTo>
                  <a:cubicBezTo>
                    <a:pt x="6" y="43"/>
                    <a:pt x="4" y="44"/>
                    <a:pt x="2" y="45"/>
                  </a:cubicBezTo>
                  <a:cubicBezTo>
                    <a:pt x="1" y="46"/>
                    <a:pt x="0" y="47"/>
                    <a:pt x="0" y="49"/>
                  </a:cubicBezTo>
                  <a:cubicBezTo>
                    <a:pt x="1" y="50"/>
                    <a:pt x="3" y="50"/>
                    <a:pt x="4" y="51"/>
                  </a:cubicBezTo>
                  <a:cubicBezTo>
                    <a:pt x="5" y="51"/>
                    <a:pt x="7" y="52"/>
                    <a:pt x="7" y="53"/>
                  </a:cubicBezTo>
                  <a:cubicBezTo>
                    <a:pt x="5" y="54"/>
                    <a:pt x="2" y="52"/>
                    <a:pt x="1" y="54"/>
                  </a:cubicBezTo>
                  <a:cubicBezTo>
                    <a:pt x="0" y="55"/>
                    <a:pt x="3" y="55"/>
                    <a:pt x="4" y="56"/>
                  </a:cubicBezTo>
                  <a:cubicBezTo>
                    <a:pt x="5" y="57"/>
                    <a:pt x="4" y="59"/>
                    <a:pt x="6" y="59"/>
                  </a:cubicBezTo>
                  <a:cubicBezTo>
                    <a:pt x="7" y="60"/>
                    <a:pt x="9" y="57"/>
                    <a:pt x="10" y="57"/>
                  </a:cubicBezTo>
                  <a:cubicBezTo>
                    <a:pt x="13" y="57"/>
                    <a:pt x="16" y="59"/>
                    <a:pt x="18" y="60"/>
                  </a:cubicBezTo>
                  <a:cubicBezTo>
                    <a:pt x="19" y="61"/>
                    <a:pt x="20" y="63"/>
                    <a:pt x="21" y="63"/>
                  </a:cubicBezTo>
                  <a:cubicBezTo>
                    <a:pt x="22" y="64"/>
                    <a:pt x="24" y="62"/>
                    <a:pt x="25" y="62"/>
                  </a:cubicBezTo>
                  <a:cubicBezTo>
                    <a:pt x="26" y="62"/>
                    <a:pt x="25" y="64"/>
                    <a:pt x="25" y="64"/>
                  </a:cubicBezTo>
                  <a:cubicBezTo>
                    <a:pt x="26" y="64"/>
                    <a:pt x="27" y="63"/>
                    <a:pt x="28" y="64"/>
                  </a:cubicBezTo>
                  <a:cubicBezTo>
                    <a:pt x="28" y="65"/>
                    <a:pt x="27" y="67"/>
                    <a:pt x="28" y="67"/>
                  </a:cubicBezTo>
                  <a:cubicBezTo>
                    <a:pt x="28" y="68"/>
                    <a:pt x="30" y="67"/>
                    <a:pt x="31" y="67"/>
                  </a:cubicBezTo>
                  <a:cubicBezTo>
                    <a:pt x="32" y="67"/>
                    <a:pt x="34" y="66"/>
                    <a:pt x="34" y="67"/>
                  </a:cubicBezTo>
                  <a:cubicBezTo>
                    <a:pt x="34" y="69"/>
                    <a:pt x="31" y="69"/>
                    <a:pt x="31" y="70"/>
                  </a:cubicBezTo>
                  <a:cubicBezTo>
                    <a:pt x="31" y="71"/>
                    <a:pt x="33" y="71"/>
                    <a:pt x="34" y="72"/>
                  </a:cubicBezTo>
                  <a:cubicBezTo>
                    <a:pt x="34" y="73"/>
                    <a:pt x="32" y="74"/>
                    <a:pt x="32" y="75"/>
                  </a:cubicBezTo>
                  <a:cubicBezTo>
                    <a:pt x="33" y="77"/>
                    <a:pt x="35" y="77"/>
                    <a:pt x="35" y="78"/>
                  </a:cubicBezTo>
                  <a:cubicBezTo>
                    <a:pt x="36" y="79"/>
                    <a:pt x="36" y="81"/>
                    <a:pt x="37" y="82"/>
                  </a:cubicBezTo>
                  <a:cubicBezTo>
                    <a:pt x="38" y="83"/>
                    <a:pt x="40" y="84"/>
                    <a:pt x="41" y="84"/>
                  </a:cubicBezTo>
                  <a:cubicBezTo>
                    <a:pt x="43" y="85"/>
                    <a:pt x="44" y="83"/>
                    <a:pt x="45" y="84"/>
                  </a:cubicBezTo>
                  <a:cubicBezTo>
                    <a:pt x="46" y="85"/>
                    <a:pt x="44" y="86"/>
                    <a:pt x="44" y="87"/>
                  </a:cubicBezTo>
                  <a:cubicBezTo>
                    <a:pt x="44" y="88"/>
                    <a:pt x="45" y="89"/>
                    <a:pt x="45" y="89"/>
                  </a:cubicBezTo>
                  <a:cubicBezTo>
                    <a:pt x="45" y="91"/>
                    <a:pt x="45" y="92"/>
                    <a:pt x="44" y="93"/>
                  </a:cubicBezTo>
                  <a:cubicBezTo>
                    <a:pt x="44" y="94"/>
                    <a:pt x="43" y="94"/>
                    <a:pt x="44" y="95"/>
                  </a:cubicBezTo>
                  <a:cubicBezTo>
                    <a:pt x="45" y="96"/>
                    <a:pt x="47" y="96"/>
                    <a:pt x="48" y="97"/>
                  </a:cubicBezTo>
                  <a:cubicBezTo>
                    <a:pt x="49" y="99"/>
                    <a:pt x="51" y="102"/>
                    <a:pt x="49" y="103"/>
                  </a:cubicBezTo>
                  <a:cubicBezTo>
                    <a:pt x="48" y="103"/>
                    <a:pt x="47" y="100"/>
                    <a:pt x="46" y="99"/>
                  </a:cubicBezTo>
                  <a:cubicBezTo>
                    <a:pt x="46" y="98"/>
                    <a:pt x="45" y="97"/>
                    <a:pt x="44" y="98"/>
                  </a:cubicBezTo>
                  <a:cubicBezTo>
                    <a:pt x="43" y="100"/>
                    <a:pt x="43" y="103"/>
                    <a:pt x="43" y="105"/>
                  </a:cubicBezTo>
                  <a:cubicBezTo>
                    <a:pt x="43" y="107"/>
                    <a:pt x="42" y="110"/>
                    <a:pt x="42" y="112"/>
                  </a:cubicBezTo>
                  <a:cubicBezTo>
                    <a:pt x="43" y="113"/>
                    <a:pt x="45" y="110"/>
                    <a:pt x="46" y="111"/>
                  </a:cubicBezTo>
                  <a:cubicBezTo>
                    <a:pt x="46" y="112"/>
                    <a:pt x="44" y="113"/>
                    <a:pt x="43" y="114"/>
                  </a:cubicBezTo>
                  <a:cubicBezTo>
                    <a:pt x="43" y="117"/>
                    <a:pt x="42" y="119"/>
                    <a:pt x="42" y="121"/>
                  </a:cubicBezTo>
                  <a:cubicBezTo>
                    <a:pt x="42" y="123"/>
                    <a:pt x="42" y="126"/>
                    <a:pt x="42" y="128"/>
                  </a:cubicBezTo>
                  <a:cubicBezTo>
                    <a:pt x="41" y="129"/>
                    <a:pt x="40" y="130"/>
                    <a:pt x="39" y="132"/>
                  </a:cubicBezTo>
                  <a:cubicBezTo>
                    <a:pt x="38" y="133"/>
                    <a:pt x="37" y="134"/>
                    <a:pt x="36" y="135"/>
                  </a:cubicBezTo>
                  <a:cubicBezTo>
                    <a:pt x="38" y="135"/>
                    <a:pt x="40" y="135"/>
                    <a:pt x="41" y="136"/>
                  </a:cubicBezTo>
                  <a:cubicBezTo>
                    <a:pt x="43" y="137"/>
                    <a:pt x="42" y="139"/>
                    <a:pt x="44" y="140"/>
                  </a:cubicBezTo>
                  <a:cubicBezTo>
                    <a:pt x="45" y="141"/>
                    <a:pt x="47" y="141"/>
                    <a:pt x="49" y="141"/>
                  </a:cubicBezTo>
                  <a:cubicBezTo>
                    <a:pt x="51" y="142"/>
                    <a:pt x="53" y="143"/>
                    <a:pt x="55" y="144"/>
                  </a:cubicBezTo>
                  <a:cubicBezTo>
                    <a:pt x="57" y="144"/>
                    <a:pt x="59" y="144"/>
                    <a:pt x="61" y="145"/>
                  </a:cubicBezTo>
                  <a:cubicBezTo>
                    <a:pt x="63" y="145"/>
                    <a:pt x="65" y="145"/>
                    <a:pt x="66" y="144"/>
                  </a:cubicBezTo>
                  <a:cubicBezTo>
                    <a:pt x="67" y="144"/>
                    <a:pt x="67" y="142"/>
                    <a:pt x="67" y="142"/>
                  </a:cubicBezTo>
                  <a:cubicBezTo>
                    <a:pt x="70" y="143"/>
                    <a:pt x="73" y="145"/>
                    <a:pt x="75" y="146"/>
                  </a:cubicBezTo>
                  <a:cubicBezTo>
                    <a:pt x="77" y="147"/>
                    <a:pt x="78" y="148"/>
                    <a:pt x="80" y="149"/>
                  </a:cubicBezTo>
                  <a:cubicBezTo>
                    <a:pt x="82" y="149"/>
                    <a:pt x="83" y="149"/>
                    <a:pt x="85" y="149"/>
                  </a:cubicBezTo>
                  <a:cubicBezTo>
                    <a:pt x="87" y="150"/>
                    <a:pt x="90" y="150"/>
                    <a:pt x="92" y="150"/>
                  </a:cubicBezTo>
                  <a:cubicBezTo>
                    <a:pt x="93" y="150"/>
                    <a:pt x="94" y="149"/>
                    <a:pt x="95" y="149"/>
                  </a:cubicBezTo>
                  <a:cubicBezTo>
                    <a:pt x="95" y="146"/>
                    <a:pt x="94" y="144"/>
                    <a:pt x="94" y="142"/>
                  </a:cubicBezTo>
                  <a:cubicBezTo>
                    <a:pt x="95" y="140"/>
                    <a:pt x="96" y="139"/>
                    <a:pt x="98" y="137"/>
                  </a:cubicBezTo>
                  <a:cubicBezTo>
                    <a:pt x="100" y="135"/>
                    <a:pt x="103" y="133"/>
                    <a:pt x="106" y="132"/>
                  </a:cubicBezTo>
                  <a:cubicBezTo>
                    <a:pt x="107" y="132"/>
                    <a:pt x="108" y="133"/>
                    <a:pt x="109" y="133"/>
                  </a:cubicBezTo>
                  <a:cubicBezTo>
                    <a:pt x="110" y="133"/>
                    <a:pt x="112" y="132"/>
                    <a:pt x="113" y="132"/>
                  </a:cubicBezTo>
                  <a:cubicBezTo>
                    <a:pt x="114" y="132"/>
                    <a:pt x="115" y="135"/>
                    <a:pt x="116" y="135"/>
                  </a:cubicBezTo>
                  <a:cubicBezTo>
                    <a:pt x="117" y="135"/>
                    <a:pt x="117" y="131"/>
                    <a:pt x="119" y="131"/>
                  </a:cubicBezTo>
                  <a:cubicBezTo>
                    <a:pt x="121" y="131"/>
                    <a:pt x="122" y="133"/>
                    <a:pt x="123" y="135"/>
                  </a:cubicBezTo>
                  <a:cubicBezTo>
                    <a:pt x="125" y="136"/>
                    <a:pt x="125" y="138"/>
                    <a:pt x="127" y="139"/>
                  </a:cubicBezTo>
                  <a:cubicBezTo>
                    <a:pt x="129" y="140"/>
                    <a:pt x="130" y="139"/>
                    <a:pt x="132" y="139"/>
                  </a:cubicBezTo>
                  <a:cubicBezTo>
                    <a:pt x="134" y="139"/>
                    <a:pt x="136" y="139"/>
                    <a:pt x="138" y="138"/>
                  </a:cubicBezTo>
                  <a:cubicBezTo>
                    <a:pt x="139" y="138"/>
                    <a:pt x="137" y="136"/>
                    <a:pt x="138" y="135"/>
                  </a:cubicBezTo>
                  <a:cubicBezTo>
                    <a:pt x="139" y="134"/>
                    <a:pt x="140" y="134"/>
                    <a:pt x="142" y="133"/>
                  </a:cubicBezTo>
                  <a:cubicBezTo>
                    <a:pt x="143" y="132"/>
                    <a:pt x="145" y="130"/>
                    <a:pt x="147" y="12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" name="Freeform 79"/>
            <p:cNvSpPr>
              <a:spLocks noChangeAspect="1"/>
            </p:cNvSpPr>
            <p:nvPr/>
          </p:nvSpPr>
          <p:spPr bwMode="auto">
            <a:xfrm>
              <a:off x="4667250" y="2717800"/>
              <a:ext cx="17463" cy="22225"/>
            </a:xfrm>
            <a:custGeom>
              <a:avLst/>
              <a:gdLst>
                <a:gd name="T0" fmla="*/ 15523 w 9"/>
                <a:gd name="T1" fmla="*/ 22225 h 12"/>
                <a:gd name="T2" fmla="*/ 17463 w 9"/>
                <a:gd name="T3" fmla="*/ 14817 h 12"/>
                <a:gd name="T4" fmla="*/ 15523 w 9"/>
                <a:gd name="T5" fmla="*/ 11113 h 12"/>
                <a:gd name="T6" fmla="*/ 9702 w 9"/>
                <a:gd name="T7" fmla="*/ 5556 h 12"/>
                <a:gd name="T8" fmla="*/ 7761 w 9"/>
                <a:gd name="T9" fmla="*/ 0 h 12"/>
                <a:gd name="T10" fmla="*/ 3881 w 9"/>
                <a:gd name="T11" fmla="*/ 1852 h 12"/>
                <a:gd name="T12" fmla="*/ 0 w 9"/>
                <a:gd name="T13" fmla="*/ 7408 h 12"/>
                <a:gd name="T14" fmla="*/ 1940 w 9"/>
                <a:gd name="T15" fmla="*/ 12965 h 12"/>
                <a:gd name="T16" fmla="*/ 3881 w 9"/>
                <a:gd name="T17" fmla="*/ 20373 h 12"/>
                <a:gd name="T18" fmla="*/ 9702 w 9"/>
                <a:gd name="T19" fmla="*/ 22225 h 12"/>
                <a:gd name="T20" fmla="*/ 15523 w 9"/>
                <a:gd name="T21" fmla="*/ 22225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12"/>
                <a:gd name="T35" fmla="*/ 9 w 9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12">
                  <a:moveTo>
                    <a:pt x="8" y="12"/>
                  </a:moveTo>
                  <a:cubicBezTo>
                    <a:pt x="8" y="10"/>
                    <a:pt x="9" y="9"/>
                    <a:pt x="9" y="8"/>
                  </a:cubicBezTo>
                  <a:cubicBezTo>
                    <a:pt x="9" y="7"/>
                    <a:pt x="9" y="6"/>
                    <a:pt x="8" y="6"/>
                  </a:cubicBezTo>
                  <a:cubicBezTo>
                    <a:pt x="7" y="5"/>
                    <a:pt x="6" y="4"/>
                    <a:pt x="5" y="3"/>
                  </a:cubicBezTo>
                  <a:cubicBezTo>
                    <a:pt x="5" y="2"/>
                    <a:pt x="4" y="1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2" y="10"/>
                    <a:pt x="2" y="11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6" y="12"/>
                    <a:pt x="7" y="12"/>
                    <a:pt x="8" y="1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" name="Freeform 80"/>
            <p:cNvSpPr>
              <a:spLocks noChangeAspect="1"/>
            </p:cNvSpPr>
            <p:nvPr/>
          </p:nvSpPr>
          <p:spPr bwMode="auto">
            <a:xfrm>
              <a:off x="4691063" y="2822575"/>
              <a:ext cx="276225" cy="293688"/>
            </a:xfrm>
            <a:custGeom>
              <a:avLst/>
              <a:gdLst>
                <a:gd name="T0" fmla="*/ 148590 w 145"/>
                <a:gd name="T1" fmla="*/ 45770 h 154"/>
                <a:gd name="T2" fmla="*/ 127635 w 145"/>
                <a:gd name="T3" fmla="*/ 61026 h 154"/>
                <a:gd name="T4" fmla="*/ 129540 w 145"/>
                <a:gd name="T5" fmla="*/ 91539 h 154"/>
                <a:gd name="T6" fmla="*/ 154305 w 145"/>
                <a:gd name="T7" fmla="*/ 112517 h 154"/>
                <a:gd name="T8" fmla="*/ 188595 w 145"/>
                <a:gd name="T9" fmla="*/ 162101 h 154"/>
                <a:gd name="T10" fmla="*/ 219075 w 145"/>
                <a:gd name="T11" fmla="*/ 165915 h 154"/>
                <a:gd name="T12" fmla="*/ 222885 w 145"/>
                <a:gd name="T13" fmla="*/ 186892 h 154"/>
                <a:gd name="T14" fmla="*/ 268605 w 145"/>
                <a:gd name="T15" fmla="*/ 211684 h 154"/>
                <a:gd name="T16" fmla="*/ 264795 w 145"/>
                <a:gd name="T17" fmla="*/ 226941 h 154"/>
                <a:gd name="T18" fmla="*/ 247650 w 145"/>
                <a:gd name="T19" fmla="*/ 215498 h 154"/>
                <a:gd name="T20" fmla="*/ 230505 w 145"/>
                <a:gd name="T21" fmla="*/ 232662 h 154"/>
                <a:gd name="T22" fmla="*/ 243840 w 145"/>
                <a:gd name="T23" fmla="*/ 251733 h 154"/>
                <a:gd name="T24" fmla="*/ 230505 w 145"/>
                <a:gd name="T25" fmla="*/ 265082 h 154"/>
                <a:gd name="T26" fmla="*/ 220980 w 145"/>
                <a:gd name="T27" fmla="*/ 291781 h 154"/>
                <a:gd name="T28" fmla="*/ 215265 w 145"/>
                <a:gd name="T29" fmla="*/ 274617 h 154"/>
                <a:gd name="T30" fmla="*/ 220980 w 145"/>
                <a:gd name="T31" fmla="*/ 259361 h 154"/>
                <a:gd name="T32" fmla="*/ 209550 w 145"/>
                <a:gd name="T33" fmla="*/ 226941 h 154"/>
                <a:gd name="T34" fmla="*/ 192405 w 145"/>
                <a:gd name="T35" fmla="*/ 219312 h 154"/>
                <a:gd name="T36" fmla="*/ 182880 w 145"/>
                <a:gd name="T37" fmla="*/ 209777 h 154"/>
                <a:gd name="T38" fmla="*/ 161925 w 145"/>
                <a:gd name="T39" fmla="*/ 188799 h 154"/>
                <a:gd name="T40" fmla="*/ 133350 w 145"/>
                <a:gd name="T41" fmla="*/ 175450 h 154"/>
                <a:gd name="T42" fmla="*/ 104775 w 145"/>
                <a:gd name="T43" fmla="*/ 150658 h 154"/>
                <a:gd name="T44" fmla="*/ 89535 w 145"/>
                <a:gd name="T45" fmla="*/ 129680 h 154"/>
                <a:gd name="T46" fmla="*/ 74295 w 145"/>
                <a:gd name="T47" fmla="*/ 99167 h 154"/>
                <a:gd name="T48" fmla="*/ 45720 w 145"/>
                <a:gd name="T49" fmla="*/ 87725 h 154"/>
                <a:gd name="T50" fmla="*/ 24765 w 145"/>
                <a:gd name="T51" fmla="*/ 104889 h 154"/>
                <a:gd name="T52" fmla="*/ 13335 w 145"/>
                <a:gd name="T53" fmla="*/ 104889 h 154"/>
                <a:gd name="T54" fmla="*/ 15240 w 145"/>
                <a:gd name="T55" fmla="*/ 97260 h 154"/>
                <a:gd name="T56" fmla="*/ 5715 w 145"/>
                <a:gd name="T57" fmla="*/ 72468 h 154"/>
                <a:gd name="T58" fmla="*/ 9525 w 145"/>
                <a:gd name="T59" fmla="*/ 59119 h 154"/>
                <a:gd name="T60" fmla="*/ 1905 w 145"/>
                <a:gd name="T61" fmla="*/ 40048 h 154"/>
                <a:gd name="T62" fmla="*/ 19050 w 145"/>
                <a:gd name="T63" fmla="*/ 36234 h 154"/>
                <a:gd name="T64" fmla="*/ 32385 w 145"/>
                <a:gd name="T65" fmla="*/ 24792 h 154"/>
                <a:gd name="T66" fmla="*/ 45720 w 145"/>
                <a:gd name="T67" fmla="*/ 32420 h 154"/>
                <a:gd name="T68" fmla="*/ 57150 w 145"/>
                <a:gd name="T69" fmla="*/ 24792 h 154"/>
                <a:gd name="T70" fmla="*/ 72390 w 145"/>
                <a:gd name="T71" fmla="*/ 24792 h 154"/>
                <a:gd name="T72" fmla="*/ 78105 w 145"/>
                <a:gd name="T73" fmla="*/ 15257 h 154"/>
                <a:gd name="T74" fmla="*/ 85725 w 145"/>
                <a:gd name="T75" fmla="*/ 7628 h 154"/>
                <a:gd name="T76" fmla="*/ 99060 w 145"/>
                <a:gd name="T77" fmla="*/ 5721 h 154"/>
                <a:gd name="T78" fmla="*/ 125730 w 145"/>
                <a:gd name="T79" fmla="*/ 0 h 154"/>
                <a:gd name="T80" fmla="*/ 142875 w 145"/>
                <a:gd name="T81" fmla="*/ 15257 h 154"/>
                <a:gd name="T82" fmla="*/ 154305 w 145"/>
                <a:gd name="T83" fmla="*/ 22885 h 154"/>
                <a:gd name="T84" fmla="*/ 160020 w 145"/>
                <a:gd name="T85" fmla="*/ 45770 h 15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5"/>
                <a:gd name="T130" fmla="*/ 0 h 154"/>
                <a:gd name="T131" fmla="*/ 145 w 145"/>
                <a:gd name="T132" fmla="*/ 154 h 15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5" h="154">
                  <a:moveTo>
                    <a:pt x="84" y="24"/>
                  </a:moveTo>
                  <a:cubicBezTo>
                    <a:pt x="83" y="24"/>
                    <a:pt x="82" y="24"/>
                    <a:pt x="81" y="24"/>
                  </a:cubicBezTo>
                  <a:cubicBezTo>
                    <a:pt x="80" y="24"/>
                    <a:pt x="79" y="23"/>
                    <a:pt x="78" y="24"/>
                  </a:cubicBezTo>
                  <a:cubicBezTo>
                    <a:pt x="76" y="24"/>
                    <a:pt x="75" y="26"/>
                    <a:pt x="74" y="26"/>
                  </a:cubicBezTo>
                  <a:cubicBezTo>
                    <a:pt x="72" y="27"/>
                    <a:pt x="70" y="26"/>
                    <a:pt x="69" y="27"/>
                  </a:cubicBezTo>
                  <a:cubicBezTo>
                    <a:pt x="68" y="28"/>
                    <a:pt x="67" y="30"/>
                    <a:pt x="67" y="32"/>
                  </a:cubicBezTo>
                  <a:cubicBezTo>
                    <a:pt x="67" y="34"/>
                    <a:pt x="70" y="35"/>
                    <a:pt x="70" y="37"/>
                  </a:cubicBezTo>
                  <a:cubicBezTo>
                    <a:pt x="70" y="38"/>
                    <a:pt x="67" y="39"/>
                    <a:pt x="67" y="40"/>
                  </a:cubicBezTo>
                  <a:cubicBezTo>
                    <a:pt x="67" y="43"/>
                    <a:pt x="67" y="46"/>
                    <a:pt x="68" y="48"/>
                  </a:cubicBezTo>
                  <a:cubicBezTo>
                    <a:pt x="69" y="50"/>
                    <a:pt x="70" y="52"/>
                    <a:pt x="71" y="54"/>
                  </a:cubicBezTo>
                  <a:cubicBezTo>
                    <a:pt x="72" y="55"/>
                    <a:pt x="74" y="53"/>
                    <a:pt x="75" y="54"/>
                  </a:cubicBezTo>
                  <a:cubicBezTo>
                    <a:pt x="77" y="55"/>
                    <a:pt x="79" y="58"/>
                    <a:pt x="81" y="59"/>
                  </a:cubicBezTo>
                  <a:cubicBezTo>
                    <a:pt x="82" y="60"/>
                    <a:pt x="83" y="59"/>
                    <a:pt x="84" y="60"/>
                  </a:cubicBezTo>
                  <a:cubicBezTo>
                    <a:pt x="86" y="65"/>
                    <a:pt x="87" y="72"/>
                    <a:pt x="90" y="77"/>
                  </a:cubicBezTo>
                  <a:cubicBezTo>
                    <a:pt x="92" y="81"/>
                    <a:pt x="96" y="82"/>
                    <a:pt x="99" y="85"/>
                  </a:cubicBezTo>
                  <a:cubicBezTo>
                    <a:pt x="100" y="86"/>
                    <a:pt x="101" y="87"/>
                    <a:pt x="102" y="87"/>
                  </a:cubicBezTo>
                  <a:cubicBezTo>
                    <a:pt x="105" y="88"/>
                    <a:pt x="108" y="87"/>
                    <a:pt x="112" y="87"/>
                  </a:cubicBezTo>
                  <a:cubicBezTo>
                    <a:pt x="113" y="87"/>
                    <a:pt x="114" y="87"/>
                    <a:pt x="115" y="87"/>
                  </a:cubicBezTo>
                  <a:cubicBezTo>
                    <a:pt x="116" y="88"/>
                    <a:pt x="115" y="90"/>
                    <a:pt x="114" y="91"/>
                  </a:cubicBezTo>
                  <a:cubicBezTo>
                    <a:pt x="114" y="92"/>
                    <a:pt x="112" y="93"/>
                    <a:pt x="112" y="94"/>
                  </a:cubicBezTo>
                  <a:cubicBezTo>
                    <a:pt x="113" y="96"/>
                    <a:pt x="115" y="97"/>
                    <a:pt x="117" y="98"/>
                  </a:cubicBezTo>
                  <a:cubicBezTo>
                    <a:pt x="120" y="100"/>
                    <a:pt x="124" y="100"/>
                    <a:pt x="126" y="101"/>
                  </a:cubicBezTo>
                  <a:cubicBezTo>
                    <a:pt x="130" y="103"/>
                    <a:pt x="132" y="106"/>
                    <a:pt x="135" y="108"/>
                  </a:cubicBezTo>
                  <a:cubicBezTo>
                    <a:pt x="137" y="109"/>
                    <a:pt x="139" y="109"/>
                    <a:pt x="141" y="111"/>
                  </a:cubicBezTo>
                  <a:cubicBezTo>
                    <a:pt x="142" y="112"/>
                    <a:pt x="143" y="113"/>
                    <a:pt x="143" y="115"/>
                  </a:cubicBezTo>
                  <a:cubicBezTo>
                    <a:pt x="143" y="118"/>
                    <a:pt x="145" y="121"/>
                    <a:pt x="143" y="123"/>
                  </a:cubicBezTo>
                  <a:cubicBezTo>
                    <a:pt x="142" y="124"/>
                    <a:pt x="140" y="121"/>
                    <a:pt x="139" y="119"/>
                  </a:cubicBezTo>
                  <a:cubicBezTo>
                    <a:pt x="138" y="118"/>
                    <a:pt x="139" y="116"/>
                    <a:pt x="138" y="115"/>
                  </a:cubicBezTo>
                  <a:cubicBezTo>
                    <a:pt x="138" y="114"/>
                    <a:pt x="137" y="115"/>
                    <a:pt x="136" y="115"/>
                  </a:cubicBezTo>
                  <a:cubicBezTo>
                    <a:pt x="134" y="114"/>
                    <a:pt x="132" y="114"/>
                    <a:pt x="130" y="113"/>
                  </a:cubicBezTo>
                  <a:cubicBezTo>
                    <a:pt x="129" y="113"/>
                    <a:pt x="128" y="111"/>
                    <a:pt x="127" y="111"/>
                  </a:cubicBezTo>
                  <a:cubicBezTo>
                    <a:pt x="125" y="112"/>
                    <a:pt x="123" y="114"/>
                    <a:pt x="122" y="115"/>
                  </a:cubicBezTo>
                  <a:cubicBezTo>
                    <a:pt x="121" y="117"/>
                    <a:pt x="121" y="120"/>
                    <a:pt x="121" y="122"/>
                  </a:cubicBezTo>
                  <a:cubicBezTo>
                    <a:pt x="121" y="123"/>
                    <a:pt x="121" y="124"/>
                    <a:pt x="121" y="125"/>
                  </a:cubicBezTo>
                  <a:cubicBezTo>
                    <a:pt x="123" y="127"/>
                    <a:pt x="126" y="127"/>
                    <a:pt x="128" y="129"/>
                  </a:cubicBezTo>
                  <a:cubicBezTo>
                    <a:pt x="129" y="129"/>
                    <a:pt x="128" y="131"/>
                    <a:pt x="128" y="132"/>
                  </a:cubicBezTo>
                  <a:cubicBezTo>
                    <a:pt x="128" y="133"/>
                    <a:pt x="130" y="135"/>
                    <a:pt x="129" y="137"/>
                  </a:cubicBezTo>
                  <a:cubicBezTo>
                    <a:pt x="128" y="138"/>
                    <a:pt x="127" y="136"/>
                    <a:pt x="125" y="137"/>
                  </a:cubicBezTo>
                  <a:cubicBezTo>
                    <a:pt x="124" y="137"/>
                    <a:pt x="122" y="138"/>
                    <a:pt x="121" y="139"/>
                  </a:cubicBezTo>
                  <a:cubicBezTo>
                    <a:pt x="121" y="141"/>
                    <a:pt x="122" y="144"/>
                    <a:pt x="121" y="146"/>
                  </a:cubicBezTo>
                  <a:cubicBezTo>
                    <a:pt x="121" y="147"/>
                    <a:pt x="118" y="147"/>
                    <a:pt x="118" y="148"/>
                  </a:cubicBezTo>
                  <a:cubicBezTo>
                    <a:pt x="117" y="150"/>
                    <a:pt x="118" y="152"/>
                    <a:pt x="116" y="153"/>
                  </a:cubicBezTo>
                  <a:cubicBezTo>
                    <a:pt x="115" y="154"/>
                    <a:pt x="113" y="153"/>
                    <a:pt x="112" y="152"/>
                  </a:cubicBezTo>
                  <a:cubicBezTo>
                    <a:pt x="111" y="152"/>
                    <a:pt x="111" y="151"/>
                    <a:pt x="111" y="150"/>
                  </a:cubicBezTo>
                  <a:cubicBezTo>
                    <a:pt x="112" y="148"/>
                    <a:pt x="113" y="146"/>
                    <a:pt x="113" y="144"/>
                  </a:cubicBezTo>
                  <a:cubicBezTo>
                    <a:pt x="113" y="143"/>
                    <a:pt x="112" y="142"/>
                    <a:pt x="113" y="142"/>
                  </a:cubicBezTo>
                  <a:cubicBezTo>
                    <a:pt x="114" y="140"/>
                    <a:pt x="117" y="141"/>
                    <a:pt x="118" y="140"/>
                  </a:cubicBezTo>
                  <a:cubicBezTo>
                    <a:pt x="118" y="138"/>
                    <a:pt x="116" y="137"/>
                    <a:pt x="116" y="136"/>
                  </a:cubicBezTo>
                  <a:cubicBezTo>
                    <a:pt x="115" y="135"/>
                    <a:pt x="116" y="134"/>
                    <a:pt x="115" y="133"/>
                  </a:cubicBezTo>
                  <a:cubicBezTo>
                    <a:pt x="115" y="131"/>
                    <a:pt x="114" y="129"/>
                    <a:pt x="113" y="127"/>
                  </a:cubicBezTo>
                  <a:cubicBezTo>
                    <a:pt x="112" y="125"/>
                    <a:pt x="111" y="121"/>
                    <a:pt x="110" y="119"/>
                  </a:cubicBezTo>
                  <a:cubicBezTo>
                    <a:pt x="109" y="118"/>
                    <a:pt x="108" y="119"/>
                    <a:pt x="108" y="119"/>
                  </a:cubicBezTo>
                  <a:cubicBezTo>
                    <a:pt x="107" y="119"/>
                    <a:pt x="105" y="119"/>
                    <a:pt x="105" y="118"/>
                  </a:cubicBezTo>
                  <a:cubicBezTo>
                    <a:pt x="103" y="117"/>
                    <a:pt x="102" y="116"/>
                    <a:pt x="101" y="115"/>
                  </a:cubicBezTo>
                  <a:cubicBezTo>
                    <a:pt x="101" y="114"/>
                    <a:pt x="103" y="114"/>
                    <a:pt x="102" y="114"/>
                  </a:cubicBezTo>
                  <a:cubicBezTo>
                    <a:pt x="102" y="112"/>
                    <a:pt x="101" y="111"/>
                    <a:pt x="100" y="110"/>
                  </a:cubicBezTo>
                  <a:cubicBezTo>
                    <a:pt x="99" y="109"/>
                    <a:pt x="97" y="110"/>
                    <a:pt x="96" y="110"/>
                  </a:cubicBezTo>
                  <a:cubicBezTo>
                    <a:pt x="94" y="109"/>
                    <a:pt x="93" y="109"/>
                    <a:pt x="91" y="108"/>
                  </a:cubicBezTo>
                  <a:cubicBezTo>
                    <a:pt x="90" y="107"/>
                    <a:pt x="89" y="105"/>
                    <a:pt x="88" y="103"/>
                  </a:cubicBezTo>
                  <a:cubicBezTo>
                    <a:pt x="87" y="101"/>
                    <a:pt x="87" y="100"/>
                    <a:pt x="85" y="99"/>
                  </a:cubicBezTo>
                  <a:cubicBezTo>
                    <a:pt x="84" y="98"/>
                    <a:pt x="82" y="99"/>
                    <a:pt x="80" y="99"/>
                  </a:cubicBezTo>
                  <a:cubicBezTo>
                    <a:pt x="78" y="99"/>
                    <a:pt x="76" y="98"/>
                    <a:pt x="75" y="96"/>
                  </a:cubicBezTo>
                  <a:cubicBezTo>
                    <a:pt x="73" y="95"/>
                    <a:pt x="72" y="93"/>
                    <a:pt x="70" y="92"/>
                  </a:cubicBezTo>
                  <a:cubicBezTo>
                    <a:pt x="69" y="91"/>
                    <a:pt x="67" y="90"/>
                    <a:pt x="66" y="88"/>
                  </a:cubicBezTo>
                  <a:cubicBezTo>
                    <a:pt x="65" y="87"/>
                    <a:pt x="63" y="85"/>
                    <a:pt x="61" y="83"/>
                  </a:cubicBezTo>
                  <a:cubicBezTo>
                    <a:pt x="59" y="82"/>
                    <a:pt x="57" y="81"/>
                    <a:pt x="55" y="79"/>
                  </a:cubicBezTo>
                  <a:cubicBezTo>
                    <a:pt x="53" y="78"/>
                    <a:pt x="53" y="76"/>
                    <a:pt x="52" y="74"/>
                  </a:cubicBezTo>
                  <a:cubicBezTo>
                    <a:pt x="50" y="73"/>
                    <a:pt x="48" y="72"/>
                    <a:pt x="47" y="71"/>
                  </a:cubicBezTo>
                  <a:cubicBezTo>
                    <a:pt x="46" y="70"/>
                    <a:pt x="47" y="69"/>
                    <a:pt x="47" y="68"/>
                  </a:cubicBezTo>
                  <a:cubicBezTo>
                    <a:pt x="46" y="66"/>
                    <a:pt x="45" y="64"/>
                    <a:pt x="44" y="62"/>
                  </a:cubicBezTo>
                  <a:cubicBezTo>
                    <a:pt x="43" y="59"/>
                    <a:pt x="43" y="56"/>
                    <a:pt x="42" y="54"/>
                  </a:cubicBezTo>
                  <a:cubicBezTo>
                    <a:pt x="42" y="53"/>
                    <a:pt x="40" y="52"/>
                    <a:pt x="39" y="52"/>
                  </a:cubicBezTo>
                  <a:cubicBezTo>
                    <a:pt x="37" y="51"/>
                    <a:pt x="36" y="51"/>
                    <a:pt x="34" y="50"/>
                  </a:cubicBezTo>
                  <a:cubicBezTo>
                    <a:pt x="32" y="49"/>
                    <a:pt x="31" y="47"/>
                    <a:pt x="29" y="47"/>
                  </a:cubicBezTo>
                  <a:cubicBezTo>
                    <a:pt x="27" y="46"/>
                    <a:pt x="26" y="46"/>
                    <a:pt x="24" y="46"/>
                  </a:cubicBezTo>
                  <a:cubicBezTo>
                    <a:pt x="22" y="47"/>
                    <a:pt x="21" y="48"/>
                    <a:pt x="19" y="49"/>
                  </a:cubicBezTo>
                  <a:cubicBezTo>
                    <a:pt x="18" y="50"/>
                    <a:pt x="18" y="52"/>
                    <a:pt x="17" y="53"/>
                  </a:cubicBezTo>
                  <a:cubicBezTo>
                    <a:pt x="16" y="54"/>
                    <a:pt x="15" y="55"/>
                    <a:pt x="13" y="55"/>
                  </a:cubicBezTo>
                  <a:cubicBezTo>
                    <a:pt x="12" y="56"/>
                    <a:pt x="11" y="56"/>
                    <a:pt x="9" y="56"/>
                  </a:cubicBezTo>
                  <a:cubicBezTo>
                    <a:pt x="9" y="57"/>
                    <a:pt x="8" y="58"/>
                    <a:pt x="8" y="58"/>
                  </a:cubicBezTo>
                  <a:cubicBezTo>
                    <a:pt x="8" y="57"/>
                    <a:pt x="7" y="56"/>
                    <a:pt x="7" y="55"/>
                  </a:cubicBezTo>
                  <a:cubicBezTo>
                    <a:pt x="8" y="54"/>
                    <a:pt x="10" y="55"/>
                    <a:pt x="11" y="54"/>
                  </a:cubicBezTo>
                  <a:cubicBezTo>
                    <a:pt x="12" y="53"/>
                    <a:pt x="12" y="52"/>
                    <a:pt x="12" y="51"/>
                  </a:cubicBezTo>
                  <a:cubicBezTo>
                    <a:pt x="11" y="50"/>
                    <a:pt x="9" y="51"/>
                    <a:pt x="8" y="51"/>
                  </a:cubicBezTo>
                  <a:cubicBezTo>
                    <a:pt x="6" y="50"/>
                    <a:pt x="4" y="49"/>
                    <a:pt x="3" y="47"/>
                  </a:cubicBezTo>
                  <a:cubicBezTo>
                    <a:pt x="2" y="46"/>
                    <a:pt x="3" y="44"/>
                    <a:pt x="3" y="42"/>
                  </a:cubicBezTo>
                  <a:cubicBezTo>
                    <a:pt x="3" y="41"/>
                    <a:pt x="4" y="40"/>
                    <a:pt x="3" y="38"/>
                  </a:cubicBezTo>
                  <a:cubicBezTo>
                    <a:pt x="3" y="37"/>
                    <a:pt x="0" y="37"/>
                    <a:pt x="0" y="36"/>
                  </a:cubicBezTo>
                  <a:cubicBezTo>
                    <a:pt x="0" y="35"/>
                    <a:pt x="1" y="34"/>
                    <a:pt x="1" y="33"/>
                  </a:cubicBezTo>
                  <a:cubicBezTo>
                    <a:pt x="2" y="32"/>
                    <a:pt x="4" y="32"/>
                    <a:pt x="5" y="31"/>
                  </a:cubicBezTo>
                  <a:cubicBezTo>
                    <a:pt x="5" y="30"/>
                    <a:pt x="4" y="28"/>
                    <a:pt x="4" y="27"/>
                  </a:cubicBezTo>
                  <a:cubicBezTo>
                    <a:pt x="3" y="26"/>
                    <a:pt x="1" y="25"/>
                    <a:pt x="0" y="23"/>
                  </a:cubicBezTo>
                  <a:cubicBezTo>
                    <a:pt x="0" y="23"/>
                    <a:pt x="0" y="22"/>
                    <a:pt x="1" y="21"/>
                  </a:cubicBezTo>
                  <a:cubicBezTo>
                    <a:pt x="1" y="21"/>
                    <a:pt x="3" y="21"/>
                    <a:pt x="4" y="20"/>
                  </a:cubicBezTo>
                  <a:cubicBezTo>
                    <a:pt x="5" y="20"/>
                    <a:pt x="6" y="21"/>
                    <a:pt x="7" y="20"/>
                  </a:cubicBezTo>
                  <a:cubicBezTo>
                    <a:pt x="8" y="20"/>
                    <a:pt x="9" y="19"/>
                    <a:pt x="10" y="19"/>
                  </a:cubicBezTo>
                  <a:cubicBezTo>
                    <a:pt x="11" y="19"/>
                    <a:pt x="12" y="20"/>
                    <a:pt x="13" y="20"/>
                  </a:cubicBezTo>
                  <a:cubicBezTo>
                    <a:pt x="15" y="19"/>
                    <a:pt x="16" y="18"/>
                    <a:pt x="17" y="16"/>
                  </a:cubicBezTo>
                  <a:cubicBezTo>
                    <a:pt x="17" y="15"/>
                    <a:pt x="17" y="14"/>
                    <a:pt x="17" y="13"/>
                  </a:cubicBezTo>
                  <a:cubicBezTo>
                    <a:pt x="18" y="12"/>
                    <a:pt x="19" y="10"/>
                    <a:pt x="20" y="10"/>
                  </a:cubicBezTo>
                  <a:cubicBezTo>
                    <a:pt x="22" y="11"/>
                    <a:pt x="20" y="14"/>
                    <a:pt x="21" y="15"/>
                  </a:cubicBezTo>
                  <a:cubicBezTo>
                    <a:pt x="22" y="16"/>
                    <a:pt x="23" y="16"/>
                    <a:pt x="24" y="17"/>
                  </a:cubicBezTo>
                  <a:cubicBezTo>
                    <a:pt x="25" y="17"/>
                    <a:pt x="25" y="19"/>
                    <a:pt x="26" y="19"/>
                  </a:cubicBezTo>
                  <a:cubicBezTo>
                    <a:pt x="27" y="19"/>
                    <a:pt x="28" y="19"/>
                    <a:pt x="29" y="18"/>
                  </a:cubicBezTo>
                  <a:cubicBezTo>
                    <a:pt x="30" y="17"/>
                    <a:pt x="30" y="15"/>
                    <a:pt x="30" y="13"/>
                  </a:cubicBezTo>
                  <a:cubicBezTo>
                    <a:pt x="30" y="12"/>
                    <a:pt x="30" y="11"/>
                    <a:pt x="31" y="11"/>
                  </a:cubicBezTo>
                  <a:cubicBezTo>
                    <a:pt x="33" y="11"/>
                    <a:pt x="33" y="13"/>
                    <a:pt x="34" y="13"/>
                  </a:cubicBezTo>
                  <a:cubicBezTo>
                    <a:pt x="35" y="14"/>
                    <a:pt x="37" y="13"/>
                    <a:pt x="38" y="13"/>
                  </a:cubicBezTo>
                  <a:cubicBezTo>
                    <a:pt x="39" y="13"/>
                    <a:pt x="40" y="14"/>
                    <a:pt x="40" y="14"/>
                  </a:cubicBezTo>
                  <a:cubicBezTo>
                    <a:pt x="41" y="12"/>
                    <a:pt x="40" y="11"/>
                    <a:pt x="40" y="9"/>
                  </a:cubicBezTo>
                  <a:cubicBezTo>
                    <a:pt x="40" y="9"/>
                    <a:pt x="40" y="8"/>
                    <a:pt x="41" y="8"/>
                  </a:cubicBezTo>
                  <a:cubicBezTo>
                    <a:pt x="42" y="8"/>
                    <a:pt x="43" y="10"/>
                    <a:pt x="44" y="10"/>
                  </a:cubicBezTo>
                  <a:cubicBezTo>
                    <a:pt x="45" y="9"/>
                    <a:pt x="44" y="7"/>
                    <a:pt x="44" y="6"/>
                  </a:cubicBezTo>
                  <a:cubicBezTo>
                    <a:pt x="44" y="5"/>
                    <a:pt x="44" y="4"/>
                    <a:pt x="45" y="4"/>
                  </a:cubicBezTo>
                  <a:cubicBezTo>
                    <a:pt x="46" y="4"/>
                    <a:pt x="47" y="5"/>
                    <a:pt x="48" y="5"/>
                  </a:cubicBezTo>
                  <a:cubicBezTo>
                    <a:pt x="50" y="5"/>
                    <a:pt x="51" y="6"/>
                    <a:pt x="52" y="6"/>
                  </a:cubicBezTo>
                  <a:cubicBezTo>
                    <a:pt x="53" y="5"/>
                    <a:pt x="52" y="3"/>
                    <a:pt x="52" y="3"/>
                  </a:cubicBezTo>
                  <a:cubicBezTo>
                    <a:pt x="54" y="2"/>
                    <a:pt x="55" y="2"/>
                    <a:pt x="57" y="2"/>
                  </a:cubicBezTo>
                  <a:cubicBezTo>
                    <a:pt x="59" y="1"/>
                    <a:pt x="60" y="2"/>
                    <a:pt x="62" y="1"/>
                  </a:cubicBezTo>
                  <a:cubicBezTo>
                    <a:pt x="63" y="1"/>
                    <a:pt x="64" y="0"/>
                    <a:pt x="66" y="0"/>
                  </a:cubicBezTo>
                  <a:cubicBezTo>
                    <a:pt x="66" y="1"/>
                    <a:pt x="65" y="2"/>
                    <a:pt x="66" y="3"/>
                  </a:cubicBezTo>
                  <a:cubicBezTo>
                    <a:pt x="66" y="5"/>
                    <a:pt x="67" y="6"/>
                    <a:pt x="69" y="7"/>
                  </a:cubicBezTo>
                  <a:cubicBezTo>
                    <a:pt x="70" y="7"/>
                    <a:pt x="73" y="7"/>
                    <a:pt x="75" y="8"/>
                  </a:cubicBezTo>
                  <a:cubicBezTo>
                    <a:pt x="77" y="8"/>
                    <a:pt x="80" y="9"/>
                    <a:pt x="83" y="9"/>
                  </a:cubicBezTo>
                  <a:cubicBezTo>
                    <a:pt x="83" y="9"/>
                    <a:pt x="83" y="10"/>
                    <a:pt x="84" y="10"/>
                  </a:cubicBezTo>
                  <a:cubicBezTo>
                    <a:pt x="83" y="11"/>
                    <a:pt x="81" y="11"/>
                    <a:pt x="81" y="12"/>
                  </a:cubicBezTo>
                  <a:cubicBezTo>
                    <a:pt x="80" y="13"/>
                    <a:pt x="82" y="14"/>
                    <a:pt x="82" y="16"/>
                  </a:cubicBezTo>
                  <a:cubicBezTo>
                    <a:pt x="83" y="17"/>
                    <a:pt x="81" y="18"/>
                    <a:pt x="82" y="20"/>
                  </a:cubicBezTo>
                  <a:cubicBezTo>
                    <a:pt x="82" y="21"/>
                    <a:pt x="83" y="22"/>
                    <a:pt x="84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" name="Freeform 81"/>
            <p:cNvSpPr>
              <a:spLocks noChangeAspect="1"/>
            </p:cNvSpPr>
            <p:nvPr/>
          </p:nvSpPr>
          <p:spPr bwMode="auto">
            <a:xfrm>
              <a:off x="4675188" y="2797175"/>
              <a:ext cx="101600" cy="65088"/>
            </a:xfrm>
            <a:custGeom>
              <a:avLst/>
              <a:gdLst>
                <a:gd name="T0" fmla="*/ 101600 w 54"/>
                <a:gd name="T1" fmla="*/ 32544 h 34"/>
                <a:gd name="T2" fmla="*/ 99719 w 54"/>
                <a:gd name="T3" fmla="*/ 26801 h 34"/>
                <a:gd name="T4" fmla="*/ 92193 w 54"/>
                <a:gd name="T5" fmla="*/ 32544 h 34"/>
                <a:gd name="T6" fmla="*/ 86548 w 54"/>
                <a:gd name="T7" fmla="*/ 26801 h 34"/>
                <a:gd name="T8" fmla="*/ 80904 w 54"/>
                <a:gd name="T9" fmla="*/ 24887 h 34"/>
                <a:gd name="T10" fmla="*/ 80904 w 54"/>
                <a:gd name="T11" fmla="*/ 19144 h 34"/>
                <a:gd name="T12" fmla="*/ 80904 w 54"/>
                <a:gd name="T13" fmla="*/ 15315 h 34"/>
                <a:gd name="T14" fmla="*/ 79022 w 54"/>
                <a:gd name="T15" fmla="*/ 9572 h 34"/>
                <a:gd name="T16" fmla="*/ 73378 w 54"/>
                <a:gd name="T17" fmla="*/ 3829 h 34"/>
                <a:gd name="T18" fmla="*/ 63970 w 54"/>
                <a:gd name="T19" fmla="*/ 3829 h 34"/>
                <a:gd name="T20" fmla="*/ 56444 w 54"/>
                <a:gd name="T21" fmla="*/ 0 h 34"/>
                <a:gd name="T22" fmla="*/ 56444 w 54"/>
                <a:gd name="T23" fmla="*/ 5743 h 34"/>
                <a:gd name="T24" fmla="*/ 50800 w 54"/>
                <a:gd name="T25" fmla="*/ 7657 h 34"/>
                <a:gd name="T26" fmla="*/ 45156 w 54"/>
                <a:gd name="T27" fmla="*/ 11486 h 34"/>
                <a:gd name="T28" fmla="*/ 35748 w 54"/>
                <a:gd name="T29" fmla="*/ 9572 h 34"/>
                <a:gd name="T30" fmla="*/ 30104 w 54"/>
                <a:gd name="T31" fmla="*/ 13400 h 34"/>
                <a:gd name="T32" fmla="*/ 22578 w 54"/>
                <a:gd name="T33" fmla="*/ 11486 h 34"/>
                <a:gd name="T34" fmla="*/ 18815 w 54"/>
                <a:gd name="T35" fmla="*/ 13400 h 34"/>
                <a:gd name="T36" fmla="*/ 22578 w 54"/>
                <a:gd name="T37" fmla="*/ 17229 h 34"/>
                <a:gd name="T38" fmla="*/ 15052 w 54"/>
                <a:gd name="T39" fmla="*/ 24887 h 34"/>
                <a:gd name="T40" fmla="*/ 9407 w 54"/>
                <a:gd name="T41" fmla="*/ 30630 h 34"/>
                <a:gd name="T42" fmla="*/ 5644 w 54"/>
                <a:gd name="T43" fmla="*/ 38287 h 34"/>
                <a:gd name="T44" fmla="*/ 3763 w 54"/>
                <a:gd name="T45" fmla="*/ 45944 h 34"/>
                <a:gd name="T46" fmla="*/ 1881 w 54"/>
                <a:gd name="T47" fmla="*/ 55516 h 34"/>
                <a:gd name="T48" fmla="*/ 9407 w 54"/>
                <a:gd name="T49" fmla="*/ 47859 h 34"/>
                <a:gd name="T50" fmla="*/ 15052 w 54"/>
                <a:gd name="T51" fmla="*/ 47859 h 34"/>
                <a:gd name="T52" fmla="*/ 18815 w 54"/>
                <a:gd name="T53" fmla="*/ 49773 h 34"/>
                <a:gd name="T54" fmla="*/ 18815 w 54"/>
                <a:gd name="T55" fmla="*/ 57431 h 34"/>
                <a:gd name="T56" fmla="*/ 24459 w 54"/>
                <a:gd name="T57" fmla="*/ 63174 h 34"/>
                <a:gd name="T58" fmla="*/ 30104 w 54"/>
                <a:gd name="T59" fmla="*/ 63174 h 34"/>
                <a:gd name="T60" fmla="*/ 35748 w 54"/>
                <a:gd name="T61" fmla="*/ 61259 h 34"/>
                <a:gd name="T62" fmla="*/ 41393 w 54"/>
                <a:gd name="T63" fmla="*/ 63174 h 34"/>
                <a:gd name="T64" fmla="*/ 48919 w 54"/>
                <a:gd name="T65" fmla="*/ 55516 h 34"/>
                <a:gd name="T66" fmla="*/ 48919 w 54"/>
                <a:gd name="T67" fmla="*/ 49773 h 34"/>
                <a:gd name="T68" fmla="*/ 54563 w 54"/>
                <a:gd name="T69" fmla="*/ 44030 h 34"/>
                <a:gd name="T70" fmla="*/ 56444 w 54"/>
                <a:gd name="T71" fmla="*/ 53602 h 34"/>
                <a:gd name="T72" fmla="*/ 62089 w 54"/>
                <a:gd name="T73" fmla="*/ 57431 h 34"/>
                <a:gd name="T74" fmla="*/ 65852 w 54"/>
                <a:gd name="T75" fmla="*/ 61259 h 34"/>
                <a:gd name="T76" fmla="*/ 71496 w 54"/>
                <a:gd name="T77" fmla="*/ 59345 h 34"/>
                <a:gd name="T78" fmla="*/ 73378 w 54"/>
                <a:gd name="T79" fmla="*/ 49773 h 34"/>
                <a:gd name="T80" fmla="*/ 75259 w 54"/>
                <a:gd name="T81" fmla="*/ 45944 h 34"/>
                <a:gd name="T82" fmla="*/ 80904 w 54"/>
                <a:gd name="T83" fmla="*/ 49773 h 34"/>
                <a:gd name="T84" fmla="*/ 88430 w 54"/>
                <a:gd name="T85" fmla="*/ 49773 h 34"/>
                <a:gd name="T86" fmla="*/ 92193 w 54"/>
                <a:gd name="T87" fmla="*/ 51688 h 34"/>
                <a:gd name="T88" fmla="*/ 92193 w 54"/>
                <a:gd name="T89" fmla="*/ 42116 h 34"/>
                <a:gd name="T90" fmla="*/ 94074 w 54"/>
                <a:gd name="T91" fmla="*/ 40201 h 34"/>
                <a:gd name="T92" fmla="*/ 99719 w 54"/>
                <a:gd name="T93" fmla="*/ 44030 h 34"/>
                <a:gd name="T94" fmla="*/ 99719 w 54"/>
                <a:gd name="T95" fmla="*/ 36373 h 34"/>
                <a:gd name="T96" fmla="*/ 101600 w 54"/>
                <a:gd name="T97" fmla="*/ 32544 h 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4"/>
                <a:gd name="T148" fmla="*/ 0 h 34"/>
                <a:gd name="T149" fmla="*/ 54 w 54"/>
                <a:gd name="T150" fmla="*/ 34 h 3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4" h="34">
                  <a:moveTo>
                    <a:pt x="54" y="17"/>
                  </a:moveTo>
                  <a:cubicBezTo>
                    <a:pt x="53" y="16"/>
                    <a:pt x="54" y="14"/>
                    <a:pt x="53" y="14"/>
                  </a:cubicBezTo>
                  <a:cubicBezTo>
                    <a:pt x="51" y="14"/>
                    <a:pt x="51" y="17"/>
                    <a:pt x="49" y="17"/>
                  </a:cubicBezTo>
                  <a:cubicBezTo>
                    <a:pt x="48" y="17"/>
                    <a:pt x="47" y="15"/>
                    <a:pt x="46" y="14"/>
                  </a:cubicBezTo>
                  <a:cubicBezTo>
                    <a:pt x="45" y="13"/>
                    <a:pt x="43" y="14"/>
                    <a:pt x="43" y="13"/>
                  </a:cubicBezTo>
                  <a:cubicBezTo>
                    <a:pt x="42" y="13"/>
                    <a:pt x="43" y="11"/>
                    <a:pt x="43" y="10"/>
                  </a:cubicBezTo>
                  <a:cubicBezTo>
                    <a:pt x="43" y="10"/>
                    <a:pt x="43" y="9"/>
                    <a:pt x="43" y="8"/>
                  </a:cubicBezTo>
                  <a:cubicBezTo>
                    <a:pt x="42" y="7"/>
                    <a:pt x="42" y="6"/>
                    <a:pt x="42" y="5"/>
                  </a:cubicBezTo>
                  <a:cubicBezTo>
                    <a:pt x="41" y="4"/>
                    <a:pt x="40" y="3"/>
                    <a:pt x="39" y="2"/>
                  </a:cubicBezTo>
                  <a:cubicBezTo>
                    <a:pt x="37" y="2"/>
                    <a:pt x="36" y="2"/>
                    <a:pt x="34" y="2"/>
                  </a:cubicBezTo>
                  <a:cubicBezTo>
                    <a:pt x="33" y="2"/>
                    <a:pt x="31" y="0"/>
                    <a:pt x="30" y="0"/>
                  </a:cubicBezTo>
                  <a:cubicBezTo>
                    <a:pt x="29" y="0"/>
                    <a:pt x="31" y="2"/>
                    <a:pt x="30" y="3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4" y="6"/>
                  </a:cubicBezTo>
                  <a:cubicBezTo>
                    <a:pt x="22" y="6"/>
                    <a:pt x="20" y="5"/>
                    <a:pt x="19" y="5"/>
                  </a:cubicBezTo>
                  <a:cubicBezTo>
                    <a:pt x="18" y="6"/>
                    <a:pt x="17" y="7"/>
                    <a:pt x="16" y="7"/>
                  </a:cubicBezTo>
                  <a:cubicBezTo>
                    <a:pt x="14" y="7"/>
                    <a:pt x="13" y="5"/>
                    <a:pt x="12" y="6"/>
                  </a:cubicBezTo>
                  <a:cubicBezTo>
                    <a:pt x="11" y="6"/>
                    <a:pt x="10" y="7"/>
                    <a:pt x="10" y="7"/>
                  </a:cubicBezTo>
                  <a:cubicBezTo>
                    <a:pt x="10" y="8"/>
                    <a:pt x="12" y="8"/>
                    <a:pt x="12" y="9"/>
                  </a:cubicBezTo>
                  <a:cubicBezTo>
                    <a:pt x="11" y="10"/>
                    <a:pt x="9" y="12"/>
                    <a:pt x="8" y="13"/>
                  </a:cubicBezTo>
                  <a:cubicBezTo>
                    <a:pt x="7" y="14"/>
                    <a:pt x="5" y="15"/>
                    <a:pt x="5" y="16"/>
                  </a:cubicBezTo>
                  <a:cubicBezTo>
                    <a:pt x="4" y="17"/>
                    <a:pt x="3" y="19"/>
                    <a:pt x="3" y="20"/>
                  </a:cubicBezTo>
                  <a:cubicBezTo>
                    <a:pt x="2" y="21"/>
                    <a:pt x="2" y="23"/>
                    <a:pt x="2" y="24"/>
                  </a:cubicBezTo>
                  <a:cubicBezTo>
                    <a:pt x="1" y="26"/>
                    <a:pt x="0" y="28"/>
                    <a:pt x="1" y="29"/>
                  </a:cubicBezTo>
                  <a:cubicBezTo>
                    <a:pt x="3" y="29"/>
                    <a:pt x="4" y="26"/>
                    <a:pt x="5" y="25"/>
                  </a:cubicBezTo>
                  <a:cubicBezTo>
                    <a:pt x="6" y="25"/>
                    <a:pt x="7" y="25"/>
                    <a:pt x="8" y="25"/>
                  </a:cubicBezTo>
                  <a:cubicBezTo>
                    <a:pt x="9" y="25"/>
                    <a:pt x="9" y="26"/>
                    <a:pt x="10" y="26"/>
                  </a:cubicBezTo>
                  <a:cubicBezTo>
                    <a:pt x="10" y="27"/>
                    <a:pt x="10" y="29"/>
                    <a:pt x="10" y="30"/>
                  </a:cubicBezTo>
                  <a:cubicBezTo>
                    <a:pt x="11" y="31"/>
                    <a:pt x="12" y="32"/>
                    <a:pt x="13" y="33"/>
                  </a:cubicBezTo>
                  <a:cubicBezTo>
                    <a:pt x="14" y="33"/>
                    <a:pt x="15" y="34"/>
                    <a:pt x="16" y="33"/>
                  </a:cubicBezTo>
                  <a:cubicBezTo>
                    <a:pt x="17" y="33"/>
                    <a:pt x="18" y="32"/>
                    <a:pt x="19" y="32"/>
                  </a:cubicBezTo>
                  <a:cubicBezTo>
                    <a:pt x="20" y="32"/>
                    <a:pt x="21" y="33"/>
                    <a:pt x="22" y="33"/>
                  </a:cubicBezTo>
                  <a:cubicBezTo>
                    <a:pt x="24" y="32"/>
                    <a:pt x="25" y="31"/>
                    <a:pt x="26" y="29"/>
                  </a:cubicBezTo>
                  <a:cubicBezTo>
                    <a:pt x="26" y="28"/>
                    <a:pt x="26" y="27"/>
                    <a:pt x="26" y="26"/>
                  </a:cubicBezTo>
                  <a:cubicBezTo>
                    <a:pt x="27" y="25"/>
                    <a:pt x="28" y="23"/>
                    <a:pt x="29" y="23"/>
                  </a:cubicBezTo>
                  <a:cubicBezTo>
                    <a:pt x="31" y="24"/>
                    <a:pt x="29" y="27"/>
                    <a:pt x="30" y="28"/>
                  </a:cubicBezTo>
                  <a:cubicBezTo>
                    <a:pt x="31" y="29"/>
                    <a:pt x="32" y="29"/>
                    <a:pt x="33" y="30"/>
                  </a:cubicBezTo>
                  <a:cubicBezTo>
                    <a:pt x="34" y="30"/>
                    <a:pt x="34" y="32"/>
                    <a:pt x="35" y="32"/>
                  </a:cubicBezTo>
                  <a:cubicBezTo>
                    <a:pt x="36" y="32"/>
                    <a:pt x="37" y="32"/>
                    <a:pt x="38" y="31"/>
                  </a:cubicBezTo>
                  <a:cubicBezTo>
                    <a:pt x="39" y="30"/>
                    <a:pt x="39" y="28"/>
                    <a:pt x="39" y="26"/>
                  </a:cubicBezTo>
                  <a:cubicBezTo>
                    <a:pt x="39" y="25"/>
                    <a:pt x="39" y="24"/>
                    <a:pt x="40" y="24"/>
                  </a:cubicBezTo>
                  <a:cubicBezTo>
                    <a:pt x="42" y="24"/>
                    <a:pt x="42" y="26"/>
                    <a:pt x="43" y="26"/>
                  </a:cubicBezTo>
                  <a:cubicBezTo>
                    <a:pt x="44" y="27"/>
                    <a:pt x="46" y="26"/>
                    <a:pt x="47" y="26"/>
                  </a:cubicBezTo>
                  <a:cubicBezTo>
                    <a:pt x="48" y="26"/>
                    <a:pt x="49" y="27"/>
                    <a:pt x="49" y="27"/>
                  </a:cubicBezTo>
                  <a:cubicBezTo>
                    <a:pt x="50" y="25"/>
                    <a:pt x="49" y="24"/>
                    <a:pt x="49" y="22"/>
                  </a:cubicBezTo>
                  <a:cubicBezTo>
                    <a:pt x="49" y="22"/>
                    <a:pt x="49" y="21"/>
                    <a:pt x="50" y="21"/>
                  </a:cubicBezTo>
                  <a:cubicBezTo>
                    <a:pt x="51" y="21"/>
                    <a:pt x="52" y="23"/>
                    <a:pt x="53" y="23"/>
                  </a:cubicBezTo>
                  <a:cubicBezTo>
                    <a:pt x="54" y="22"/>
                    <a:pt x="53" y="20"/>
                    <a:pt x="53" y="19"/>
                  </a:cubicBezTo>
                  <a:cubicBezTo>
                    <a:pt x="53" y="18"/>
                    <a:pt x="53" y="17"/>
                    <a:pt x="54" y="1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" name="Freeform 82"/>
            <p:cNvSpPr>
              <a:spLocks noChangeAspect="1"/>
            </p:cNvSpPr>
            <p:nvPr/>
          </p:nvSpPr>
          <p:spPr bwMode="auto">
            <a:xfrm>
              <a:off x="4754563" y="2754313"/>
              <a:ext cx="173037" cy="90487"/>
            </a:xfrm>
            <a:custGeom>
              <a:avLst/>
              <a:gdLst>
                <a:gd name="T0" fmla="*/ 154022 w 91"/>
                <a:gd name="T1" fmla="*/ 73521 h 48"/>
                <a:gd name="T2" fmla="*/ 155923 w 91"/>
                <a:gd name="T3" fmla="*/ 69750 h 48"/>
                <a:gd name="T4" fmla="*/ 159726 w 91"/>
                <a:gd name="T5" fmla="*/ 69750 h 48"/>
                <a:gd name="T6" fmla="*/ 155923 w 91"/>
                <a:gd name="T7" fmla="*/ 58440 h 48"/>
                <a:gd name="T8" fmla="*/ 163529 w 91"/>
                <a:gd name="T9" fmla="*/ 52784 h 48"/>
                <a:gd name="T10" fmla="*/ 167332 w 91"/>
                <a:gd name="T11" fmla="*/ 47129 h 48"/>
                <a:gd name="T12" fmla="*/ 171135 w 91"/>
                <a:gd name="T13" fmla="*/ 45244 h 48"/>
                <a:gd name="T14" fmla="*/ 173037 w 91"/>
                <a:gd name="T15" fmla="*/ 35818 h 48"/>
                <a:gd name="T16" fmla="*/ 167332 w 91"/>
                <a:gd name="T17" fmla="*/ 28277 h 48"/>
                <a:gd name="T18" fmla="*/ 167332 w 91"/>
                <a:gd name="T19" fmla="*/ 20737 h 48"/>
                <a:gd name="T20" fmla="*/ 167332 w 91"/>
                <a:gd name="T21" fmla="*/ 13196 h 48"/>
                <a:gd name="T22" fmla="*/ 157825 w 91"/>
                <a:gd name="T23" fmla="*/ 11311 h 48"/>
                <a:gd name="T24" fmla="*/ 150219 w 91"/>
                <a:gd name="T25" fmla="*/ 11311 h 48"/>
                <a:gd name="T26" fmla="*/ 136908 w 91"/>
                <a:gd name="T27" fmla="*/ 5655 h 48"/>
                <a:gd name="T28" fmla="*/ 125499 w 91"/>
                <a:gd name="T29" fmla="*/ 3770 h 48"/>
                <a:gd name="T30" fmla="*/ 121696 w 91"/>
                <a:gd name="T31" fmla="*/ 1885 h 48"/>
                <a:gd name="T32" fmla="*/ 121696 w 91"/>
                <a:gd name="T33" fmla="*/ 11311 h 48"/>
                <a:gd name="T34" fmla="*/ 108386 w 91"/>
                <a:gd name="T35" fmla="*/ 16966 h 48"/>
                <a:gd name="T36" fmla="*/ 96977 w 91"/>
                <a:gd name="T37" fmla="*/ 11311 h 48"/>
                <a:gd name="T38" fmla="*/ 96977 w 91"/>
                <a:gd name="T39" fmla="*/ 16966 h 48"/>
                <a:gd name="T40" fmla="*/ 87469 w 91"/>
                <a:gd name="T41" fmla="*/ 16966 h 48"/>
                <a:gd name="T42" fmla="*/ 87469 w 91"/>
                <a:gd name="T43" fmla="*/ 24507 h 48"/>
                <a:gd name="T44" fmla="*/ 74159 w 91"/>
                <a:gd name="T45" fmla="*/ 30162 h 48"/>
                <a:gd name="T46" fmla="*/ 77962 w 91"/>
                <a:gd name="T47" fmla="*/ 41473 h 48"/>
                <a:gd name="T48" fmla="*/ 62750 w 91"/>
                <a:gd name="T49" fmla="*/ 47129 h 48"/>
                <a:gd name="T50" fmla="*/ 47538 w 91"/>
                <a:gd name="T51" fmla="*/ 50899 h 48"/>
                <a:gd name="T52" fmla="*/ 39932 w 91"/>
                <a:gd name="T53" fmla="*/ 56554 h 48"/>
                <a:gd name="T54" fmla="*/ 30424 w 91"/>
                <a:gd name="T55" fmla="*/ 52784 h 48"/>
                <a:gd name="T56" fmla="*/ 20917 w 91"/>
                <a:gd name="T57" fmla="*/ 52784 h 48"/>
                <a:gd name="T58" fmla="*/ 17114 w 91"/>
                <a:gd name="T59" fmla="*/ 60325 h 48"/>
                <a:gd name="T60" fmla="*/ 5705 w 91"/>
                <a:gd name="T61" fmla="*/ 50899 h 48"/>
                <a:gd name="T62" fmla="*/ 1902 w 91"/>
                <a:gd name="T63" fmla="*/ 58440 h 48"/>
                <a:gd name="T64" fmla="*/ 1902 w 91"/>
                <a:gd name="T65" fmla="*/ 62210 h 48"/>
                <a:gd name="T66" fmla="*/ 1902 w 91"/>
                <a:gd name="T67" fmla="*/ 67865 h 48"/>
                <a:gd name="T68" fmla="*/ 7606 w 91"/>
                <a:gd name="T69" fmla="*/ 69750 h 48"/>
                <a:gd name="T70" fmla="*/ 13311 w 91"/>
                <a:gd name="T71" fmla="*/ 75406 h 48"/>
                <a:gd name="T72" fmla="*/ 20917 w 91"/>
                <a:gd name="T73" fmla="*/ 69750 h 48"/>
                <a:gd name="T74" fmla="*/ 22818 w 91"/>
                <a:gd name="T75" fmla="*/ 75406 h 48"/>
                <a:gd name="T76" fmla="*/ 28523 w 91"/>
                <a:gd name="T77" fmla="*/ 77291 h 48"/>
                <a:gd name="T78" fmla="*/ 36129 w 91"/>
                <a:gd name="T79" fmla="*/ 79176 h 48"/>
                <a:gd name="T80" fmla="*/ 36129 w 91"/>
                <a:gd name="T81" fmla="*/ 73521 h 48"/>
                <a:gd name="T82" fmla="*/ 45636 w 91"/>
                <a:gd name="T83" fmla="*/ 71636 h 48"/>
                <a:gd name="T84" fmla="*/ 55144 w 91"/>
                <a:gd name="T85" fmla="*/ 69750 h 48"/>
                <a:gd name="T86" fmla="*/ 62750 w 91"/>
                <a:gd name="T87" fmla="*/ 67865 h 48"/>
                <a:gd name="T88" fmla="*/ 62750 w 91"/>
                <a:gd name="T89" fmla="*/ 73521 h 48"/>
                <a:gd name="T90" fmla="*/ 68454 w 91"/>
                <a:gd name="T91" fmla="*/ 81061 h 48"/>
                <a:gd name="T92" fmla="*/ 79863 w 91"/>
                <a:gd name="T93" fmla="*/ 82946 h 48"/>
                <a:gd name="T94" fmla="*/ 95075 w 91"/>
                <a:gd name="T95" fmla="*/ 84832 h 48"/>
                <a:gd name="T96" fmla="*/ 96977 w 91"/>
                <a:gd name="T97" fmla="*/ 86717 h 48"/>
                <a:gd name="T98" fmla="*/ 114090 w 91"/>
                <a:gd name="T99" fmla="*/ 90487 h 48"/>
                <a:gd name="T100" fmla="*/ 123598 w 91"/>
                <a:gd name="T101" fmla="*/ 82946 h 48"/>
                <a:gd name="T102" fmla="*/ 136908 w 91"/>
                <a:gd name="T103" fmla="*/ 82946 h 48"/>
                <a:gd name="T104" fmla="*/ 146416 w 91"/>
                <a:gd name="T105" fmla="*/ 81061 h 48"/>
                <a:gd name="T106" fmla="*/ 154022 w 91"/>
                <a:gd name="T107" fmla="*/ 73521 h 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91"/>
                <a:gd name="T163" fmla="*/ 0 h 48"/>
                <a:gd name="T164" fmla="*/ 91 w 91"/>
                <a:gd name="T165" fmla="*/ 48 h 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91" h="48">
                  <a:moveTo>
                    <a:pt x="81" y="39"/>
                  </a:moveTo>
                  <a:cubicBezTo>
                    <a:pt x="81" y="38"/>
                    <a:pt x="81" y="37"/>
                    <a:pt x="82" y="37"/>
                  </a:cubicBezTo>
                  <a:cubicBezTo>
                    <a:pt x="82" y="36"/>
                    <a:pt x="84" y="37"/>
                    <a:pt x="84" y="37"/>
                  </a:cubicBezTo>
                  <a:cubicBezTo>
                    <a:pt x="84" y="35"/>
                    <a:pt x="82" y="33"/>
                    <a:pt x="82" y="31"/>
                  </a:cubicBezTo>
                  <a:cubicBezTo>
                    <a:pt x="83" y="29"/>
                    <a:pt x="85" y="29"/>
                    <a:pt x="86" y="28"/>
                  </a:cubicBezTo>
                  <a:cubicBezTo>
                    <a:pt x="87" y="27"/>
                    <a:pt x="87" y="25"/>
                    <a:pt x="88" y="25"/>
                  </a:cubicBezTo>
                  <a:cubicBezTo>
                    <a:pt x="88" y="24"/>
                    <a:pt x="90" y="24"/>
                    <a:pt x="90" y="24"/>
                  </a:cubicBezTo>
                  <a:cubicBezTo>
                    <a:pt x="91" y="22"/>
                    <a:pt x="91" y="20"/>
                    <a:pt x="91" y="19"/>
                  </a:cubicBezTo>
                  <a:cubicBezTo>
                    <a:pt x="90" y="17"/>
                    <a:pt x="88" y="16"/>
                    <a:pt x="88" y="15"/>
                  </a:cubicBezTo>
                  <a:cubicBezTo>
                    <a:pt x="87" y="14"/>
                    <a:pt x="88" y="12"/>
                    <a:pt x="88" y="11"/>
                  </a:cubicBezTo>
                  <a:cubicBezTo>
                    <a:pt x="88" y="10"/>
                    <a:pt x="88" y="8"/>
                    <a:pt x="88" y="7"/>
                  </a:cubicBezTo>
                  <a:cubicBezTo>
                    <a:pt x="86" y="6"/>
                    <a:pt x="85" y="6"/>
                    <a:pt x="83" y="6"/>
                  </a:cubicBezTo>
                  <a:cubicBezTo>
                    <a:pt x="82" y="5"/>
                    <a:pt x="80" y="6"/>
                    <a:pt x="79" y="6"/>
                  </a:cubicBezTo>
                  <a:cubicBezTo>
                    <a:pt x="76" y="5"/>
                    <a:pt x="75" y="4"/>
                    <a:pt x="72" y="3"/>
                  </a:cubicBezTo>
                  <a:cubicBezTo>
                    <a:pt x="70" y="3"/>
                    <a:pt x="68" y="3"/>
                    <a:pt x="66" y="2"/>
                  </a:cubicBezTo>
                  <a:cubicBezTo>
                    <a:pt x="66" y="2"/>
                    <a:pt x="65" y="0"/>
                    <a:pt x="64" y="1"/>
                  </a:cubicBezTo>
                  <a:cubicBezTo>
                    <a:pt x="63" y="2"/>
                    <a:pt x="65" y="5"/>
                    <a:pt x="64" y="6"/>
                  </a:cubicBezTo>
                  <a:cubicBezTo>
                    <a:pt x="62" y="8"/>
                    <a:pt x="59" y="9"/>
                    <a:pt x="57" y="9"/>
                  </a:cubicBezTo>
                  <a:cubicBezTo>
                    <a:pt x="54" y="9"/>
                    <a:pt x="53" y="7"/>
                    <a:pt x="51" y="6"/>
                  </a:cubicBezTo>
                  <a:cubicBezTo>
                    <a:pt x="51" y="7"/>
                    <a:pt x="51" y="9"/>
                    <a:pt x="51" y="9"/>
                  </a:cubicBezTo>
                  <a:cubicBezTo>
                    <a:pt x="50" y="10"/>
                    <a:pt x="47" y="9"/>
                    <a:pt x="46" y="9"/>
                  </a:cubicBezTo>
                  <a:cubicBezTo>
                    <a:pt x="45" y="10"/>
                    <a:pt x="47" y="12"/>
                    <a:pt x="46" y="13"/>
                  </a:cubicBezTo>
                  <a:cubicBezTo>
                    <a:pt x="44" y="15"/>
                    <a:pt x="40" y="14"/>
                    <a:pt x="39" y="16"/>
                  </a:cubicBezTo>
                  <a:cubicBezTo>
                    <a:pt x="38" y="18"/>
                    <a:pt x="42" y="20"/>
                    <a:pt x="41" y="22"/>
                  </a:cubicBezTo>
                  <a:cubicBezTo>
                    <a:pt x="39" y="24"/>
                    <a:pt x="35" y="24"/>
                    <a:pt x="33" y="25"/>
                  </a:cubicBezTo>
                  <a:cubicBezTo>
                    <a:pt x="30" y="26"/>
                    <a:pt x="27" y="26"/>
                    <a:pt x="25" y="27"/>
                  </a:cubicBezTo>
                  <a:cubicBezTo>
                    <a:pt x="23" y="28"/>
                    <a:pt x="22" y="30"/>
                    <a:pt x="21" y="30"/>
                  </a:cubicBezTo>
                  <a:cubicBezTo>
                    <a:pt x="19" y="31"/>
                    <a:pt x="18" y="29"/>
                    <a:pt x="16" y="28"/>
                  </a:cubicBezTo>
                  <a:cubicBezTo>
                    <a:pt x="14" y="28"/>
                    <a:pt x="12" y="27"/>
                    <a:pt x="11" y="28"/>
                  </a:cubicBezTo>
                  <a:cubicBezTo>
                    <a:pt x="9" y="28"/>
                    <a:pt x="11" y="32"/>
                    <a:pt x="9" y="32"/>
                  </a:cubicBezTo>
                  <a:cubicBezTo>
                    <a:pt x="7" y="32"/>
                    <a:pt x="6" y="28"/>
                    <a:pt x="3" y="27"/>
                  </a:cubicBezTo>
                  <a:cubicBezTo>
                    <a:pt x="2" y="27"/>
                    <a:pt x="2" y="30"/>
                    <a:pt x="1" y="31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4"/>
                    <a:pt x="0" y="36"/>
                    <a:pt x="1" y="36"/>
                  </a:cubicBezTo>
                  <a:cubicBezTo>
                    <a:pt x="1" y="37"/>
                    <a:pt x="3" y="36"/>
                    <a:pt x="4" y="37"/>
                  </a:cubicBezTo>
                  <a:cubicBezTo>
                    <a:pt x="5" y="38"/>
                    <a:pt x="6" y="40"/>
                    <a:pt x="7" y="40"/>
                  </a:cubicBezTo>
                  <a:cubicBezTo>
                    <a:pt x="9" y="40"/>
                    <a:pt x="9" y="37"/>
                    <a:pt x="11" y="37"/>
                  </a:cubicBezTo>
                  <a:cubicBezTo>
                    <a:pt x="12" y="37"/>
                    <a:pt x="11" y="39"/>
                    <a:pt x="12" y="40"/>
                  </a:cubicBezTo>
                  <a:cubicBezTo>
                    <a:pt x="13" y="40"/>
                    <a:pt x="14" y="41"/>
                    <a:pt x="15" y="41"/>
                  </a:cubicBezTo>
                  <a:cubicBezTo>
                    <a:pt x="17" y="41"/>
                    <a:pt x="18" y="42"/>
                    <a:pt x="19" y="42"/>
                  </a:cubicBezTo>
                  <a:cubicBezTo>
                    <a:pt x="20" y="41"/>
                    <a:pt x="19" y="39"/>
                    <a:pt x="19" y="39"/>
                  </a:cubicBezTo>
                  <a:cubicBezTo>
                    <a:pt x="21" y="38"/>
                    <a:pt x="22" y="38"/>
                    <a:pt x="24" y="38"/>
                  </a:cubicBezTo>
                  <a:cubicBezTo>
                    <a:pt x="26" y="37"/>
                    <a:pt x="27" y="38"/>
                    <a:pt x="29" y="37"/>
                  </a:cubicBezTo>
                  <a:cubicBezTo>
                    <a:pt x="30" y="37"/>
                    <a:pt x="31" y="36"/>
                    <a:pt x="33" y="36"/>
                  </a:cubicBezTo>
                  <a:cubicBezTo>
                    <a:pt x="33" y="37"/>
                    <a:pt x="32" y="38"/>
                    <a:pt x="33" y="39"/>
                  </a:cubicBezTo>
                  <a:cubicBezTo>
                    <a:pt x="33" y="41"/>
                    <a:pt x="34" y="42"/>
                    <a:pt x="36" y="43"/>
                  </a:cubicBezTo>
                  <a:cubicBezTo>
                    <a:pt x="37" y="43"/>
                    <a:pt x="40" y="43"/>
                    <a:pt x="42" y="44"/>
                  </a:cubicBezTo>
                  <a:cubicBezTo>
                    <a:pt x="44" y="44"/>
                    <a:pt x="47" y="45"/>
                    <a:pt x="50" y="45"/>
                  </a:cubicBezTo>
                  <a:cubicBezTo>
                    <a:pt x="50" y="45"/>
                    <a:pt x="50" y="46"/>
                    <a:pt x="51" y="46"/>
                  </a:cubicBezTo>
                  <a:cubicBezTo>
                    <a:pt x="53" y="46"/>
                    <a:pt x="57" y="48"/>
                    <a:pt x="60" y="48"/>
                  </a:cubicBezTo>
                  <a:cubicBezTo>
                    <a:pt x="62" y="48"/>
                    <a:pt x="63" y="45"/>
                    <a:pt x="65" y="44"/>
                  </a:cubicBezTo>
                  <a:cubicBezTo>
                    <a:pt x="67" y="43"/>
                    <a:pt x="70" y="44"/>
                    <a:pt x="72" y="44"/>
                  </a:cubicBezTo>
                  <a:cubicBezTo>
                    <a:pt x="74" y="44"/>
                    <a:pt x="76" y="43"/>
                    <a:pt x="77" y="43"/>
                  </a:cubicBezTo>
                  <a:cubicBezTo>
                    <a:pt x="79" y="42"/>
                    <a:pt x="80" y="40"/>
                    <a:pt x="81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" name="Freeform 83"/>
            <p:cNvSpPr>
              <a:spLocks noChangeAspect="1"/>
            </p:cNvSpPr>
            <p:nvPr/>
          </p:nvSpPr>
          <p:spPr bwMode="auto">
            <a:xfrm>
              <a:off x="4810125" y="2687638"/>
              <a:ext cx="155575" cy="84137"/>
            </a:xfrm>
            <a:custGeom>
              <a:avLst/>
              <a:gdLst>
                <a:gd name="T0" fmla="*/ 155575 w 82"/>
                <a:gd name="T1" fmla="*/ 53542 h 44"/>
                <a:gd name="T2" fmla="*/ 147986 w 82"/>
                <a:gd name="T3" fmla="*/ 47805 h 44"/>
                <a:gd name="T4" fmla="*/ 144191 w 82"/>
                <a:gd name="T5" fmla="*/ 40156 h 44"/>
                <a:gd name="T6" fmla="*/ 136602 w 82"/>
                <a:gd name="T7" fmla="*/ 36332 h 44"/>
                <a:gd name="T8" fmla="*/ 132808 w 82"/>
                <a:gd name="T9" fmla="*/ 36332 h 44"/>
                <a:gd name="T10" fmla="*/ 125219 w 82"/>
                <a:gd name="T11" fmla="*/ 32507 h 44"/>
                <a:gd name="T12" fmla="*/ 127116 w 82"/>
                <a:gd name="T13" fmla="*/ 28683 h 44"/>
                <a:gd name="T14" fmla="*/ 121424 w 82"/>
                <a:gd name="T15" fmla="*/ 28683 h 44"/>
                <a:gd name="T16" fmla="*/ 113835 w 82"/>
                <a:gd name="T17" fmla="*/ 24859 h 44"/>
                <a:gd name="T18" fmla="*/ 108144 w 82"/>
                <a:gd name="T19" fmla="*/ 22946 h 44"/>
                <a:gd name="T20" fmla="*/ 111938 w 82"/>
                <a:gd name="T21" fmla="*/ 28683 h 44"/>
                <a:gd name="T22" fmla="*/ 104349 w 82"/>
                <a:gd name="T23" fmla="*/ 34420 h 44"/>
                <a:gd name="T24" fmla="*/ 98657 w 82"/>
                <a:gd name="T25" fmla="*/ 28683 h 44"/>
                <a:gd name="T26" fmla="*/ 96760 w 82"/>
                <a:gd name="T27" fmla="*/ 15298 h 44"/>
                <a:gd name="T28" fmla="*/ 89171 w 82"/>
                <a:gd name="T29" fmla="*/ 15298 h 44"/>
                <a:gd name="T30" fmla="*/ 81582 w 82"/>
                <a:gd name="T31" fmla="*/ 9561 h 44"/>
                <a:gd name="T32" fmla="*/ 72096 w 82"/>
                <a:gd name="T33" fmla="*/ 11473 h 44"/>
                <a:gd name="T34" fmla="*/ 72096 w 82"/>
                <a:gd name="T35" fmla="*/ 5737 h 44"/>
                <a:gd name="T36" fmla="*/ 64507 w 82"/>
                <a:gd name="T37" fmla="*/ 1912 h 44"/>
                <a:gd name="T38" fmla="*/ 60712 w 82"/>
                <a:gd name="T39" fmla="*/ 9561 h 44"/>
                <a:gd name="T40" fmla="*/ 53123 w 82"/>
                <a:gd name="T41" fmla="*/ 1912 h 44"/>
                <a:gd name="T42" fmla="*/ 51226 w 82"/>
                <a:gd name="T43" fmla="*/ 7649 h 44"/>
                <a:gd name="T44" fmla="*/ 39842 w 82"/>
                <a:gd name="T45" fmla="*/ 13385 h 44"/>
                <a:gd name="T46" fmla="*/ 26562 w 82"/>
                <a:gd name="T47" fmla="*/ 19122 h 44"/>
                <a:gd name="T48" fmla="*/ 13281 w 82"/>
                <a:gd name="T49" fmla="*/ 22946 h 44"/>
                <a:gd name="T50" fmla="*/ 5692 w 82"/>
                <a:gd name="T51" fmla="*/ 24859 h 44"/>
                <a:gd name="T52" fmla="*/ 0 w 82"/>
                <a:gd name="T53" fmla="*/ 26771 h 44"/>
                <a:gd name="T54" fmla="*/ 9486 w 82"/>
                <a:gd name="T55" fmla="*/ 36332 h 44"/>
                <a:gd name="T56" fmla="*/ 9486 w 82"/>
                <a:gd name="T57" fmla="*/ 43981 h 44"/>
                <a:gd name="T58" fmla="*/ 17075 w 82"/>
                <a:gd name="T59" fmla="*/ 57366 h 44"/>
                <a:gd name="T60" fmla="*/ 28459 w 82"/>
                <a:gd name="T61" fmla="*/ 65015 h 44"/>
                <a:gd name="T62" fmla="*/ 41740 w 82"/>
                <a:gd name="T63" fmla="*/ 78400 h 44"/>
                <a:gd name="T64" fmla="*/ 53123 w 82"/>
                <a:gd name="T65" fmla="*/ 84137 h 44"/>
                <a:gd name="T66" fmla="*/ 66404 w 82"/>
                <a:gd name="T67" fmla="*/ 78400 h 44"/>
                <a:gd name="T68" fmla="*/ 66404 w 82"/>
                <a:gd name="T69" fmla="*/ 68839 h 44"/>
                <a:gd name="T70" fmla="*/ 70198 w 82"/>
                <a:gd name="T71" fmla="*/ 70752 h 44"/>
                <a:gd name="T72" fmla="*/ 81582 w 82"/>
                <a:gd name="T73" fmla="*/ 72664 h 44"/>
                <a:gd name="T74" fmla="*/ 94863 w 82"/>
                <a:gd name="T75" fmla="*/ 78400 h 44"/>
                <a:gd name="T76" fmla="*/ 102452 w 82"/>
                <a:gd name="T77" fmla="*/ 78400 h 44"/>
                <a:gd name="T78" fmla="*/ 111938 w 82"/>
                <a:gd name="T79" fmla="*/ 80313 h 44"/>
                <a:gd name="T80" fmla="*/ 117630 w 82"/>
                <a:gd name="T81" fmla="*/ 74576 h 44"/>
                <a:gd name="T82" fmla="*/ 127116 w 82"/>
                <a:gd name="T83" fmla="*/ 74576 h 44"/>
                <a:gd name="T84" fmla="*/ 138500 w 82"/>
                <a:gd name="T85" fmla="*/ 66927 h 44"/>
                <a:gd name="T86" fmla="*/ 140397 w 82"/>
                <a:gd name="T87" fmla="*/ 59278 h 44"/>
                <a:gd name="T88" fmla="*/ 147986 w 82"/>
                <a:gd name="T89" fmla="*/ 55454 h 44"/>
                <a:gd name="T90" fmla="*/ 155575 w 82"/>
                <a:gd name="T91" fmla="*/ 53542 h 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2"/>
                <a:gd name="T139" fmla="*/ 0 h 44"/>
                <a:gd name="T140" fmla="*/ 82 w 82"/>
                <a:gd name="T141" fmla="*/ 44 h 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2" h="44">
                  <a:moveTo>
                    <a:pt x="82" y="28"/>
                  </a:moveTo>
                  <a:cubicBezTo>
                    <a:pt x="81" y="27"/>
                    <a:pt x="79" y="26"/>
                    <a:pt x="78" y="25"/>
                  </a:cubicBezTo>
                  <a:cubicBezTo>
                    <a:pt x="77" y="24"/>
                    <a:pt x="77" y="22"/>
                    <a:pt x="76" y="21"/>
                  </a:cubicBezTo>
                  <a:cubicBezTo>
                    <a:pt x="75" y="20"/>
                    <a:pt x="74" y="19"/>
                    <a:pt x="72" y="19"/>
                  </a:cubicBezTo>
                  <a:cubicBezTo>
                    <a:pt x="71" y="19"/>
                    <a:pt x="70" y="19"/>
                    <a:pt x="70" y="19"/>
                  </a:cubicBezTo>
                  <a:cubicBezTo>
                    <a:pt x="68" y="19"/>
                    <a:pt x="67" y="18"/>
                    <a:pt x="66" y="17"/>
                  </a:cubicBezTo>
                  <a:cubicBezTo>
                    <a:pt x="66" y="16"/>
                    <a:pt x="68" y="15"/>
                    <a:pt x="67" y="15"/>
                  </a:cubicBezTo>
                  <a:cubicBezTo>
                    <a:pt x="66" y="14"/>
                    <a:pt x="65" y="15"/>
                    <a:pt x="64" y="15"/>
                  </a:cubicBezTo>
                  <a:cubicBezTo>
                    <a:pt x="62" y="15"/>
                    <a:pt x="61" y="13"/>
                    <a:pt x="60" y="13"/>
                  </a:cubicBezTo>
                  <a:cubicBezTo>
                    <a:pt x="59" y="12"/>
                    <a:pt x="57" y="11"/>
                    <a:pt x="57" y="12"/>
                  </a:cubicBezTo>
                  <a:cubicBezTo>
                    <a:pt x="57" y="13"/>
                    <a:pt x="59" y="14"/>
                    <a:pt x="59" y="15"/>
                  </a:cubicBezTo>
                  <a:cubicBezTo>
                    <a:pt x="59" y="16"/>
                    <a:pt x="57" y="18"/>
                    <a:pt x="55" y="18"/>
                  </a:cubicBezTo>
                  <a:cubicBezTo>
                    <a:pt x="54" y="18"/>
                    <a:pt x="53" y="16"/>
                    <a:pt x="52" y="15"/>
                  </a:cubicBezTo>
                  <a:cubicBezTo>
                    <a:pt x="51" y="13"/>
                    <a:pt x="52" y="10"/>
                    <a:pt x="51" y="8"/>
                  </a:cubicBezTo>
                  <a:cubicBezTo>
                    <a:pt x="50" y="7"/>
                    <a:pt x="49" y="9"/>
                    <a:pt x="47" y="8"/>
                  </a:cubicBezTo>
                  <a:cubicBezTo>
                    <a:pt x="46" y="8"/>
                    <a:pt x="45" y="6"/>
                    <a:pt x="43" y="5"/>
                  </a:cubicBezTo>
                  <a:cubicBezTo>
                    <a:pt x="42" y="5"/>
                    <a:pt x="40" y="6"/>
                    <a:pt x="38" y="6"/>
                  </a:cubicBezTo>
                  <a:cubicBezTo>
                    <a:pt x="37" y="5"/>
                    <a:pt x="39" y="3"/>
                    <a:pt x="38" y="3"/>
                  </a:cubicBezTo>
                  <a:cubicBezTo>
                    <a:pt x="37" y="2"/>
                    <a:pt x="35" y="2"/>
                    <a:pt x="34" y="1"/>
                  </a:cubicBezTo>
                  <a:cubicBezTo>
                    <a:pt x="33" y="3"/>
                    <a:pt x="34" y="6"/>
                    <a:pt x="32" y="5"/>
                  </a:cubicBezTo>
                  <a:cubicBezTo>
                    <a:pt x="30" y="5"/>
                    <a:pt x="30" y="1"/>
                    <a:pt x="28" y="1"/>
                  </a:cubicBezTo>
                  <a:cubicBezTo>
                    <a:pt x="27" y="0"/>
                    <a:pt x="28" y="3"/>
                    <a:pt x="27" y="4"/>
                  </a:cubicBezTo>
                  <a:cubicBezTo>
                    <a:pt x="25" y="5"/>
                    <a:pt x="23" y="6"/>
                    <a:pt x="21" y="7"/>
                  </a:cubicBezTo>
                  <a:cubicBezTo>
                    <a:pt x="18" y="8"/>
                    <a:pt x="16" y="9"/>
                    <a:pt x="14" y="10"/>
                  </a:cubicBezTo>
                  <a:cubicBezTo>
                    <a:pt x="12" y="10"/>
                    <a:pt x="9" y="11"/>
                    <a:pt x="7" y="12"/>
                  </a:cubicBezTo>
                  <a:cubicBezTo>
                    <a:pt x="6" y="12"/>
                    <a:pt x="5" y="13"/>
                    <a:pt x="3" y="13"/>
                  </a:cubicBezTo>
                  <a:cubicBezTo>
                    <a:pt x="2" y="14"/>
                    <a:pt x="0" y="13"/>
                    <a:pt x="0" y="14"/>
                  </a:cubicBezTo>
                  <a:cubicBezTo>
                    <a:pt x="1" y="16"/>
                    <a:pt x="4" y="17"/>
                    <a:pt x="5" y="19"/>
                  </a:cubicBezTo>
                  <a:cubicBezTo>
                    <a:pt x="6" y="20"/>
                    <a:pt x="4" y="22"/>
                    <a:pt x="5" y="23"/>
                  </a:cubicBezTo>
                  <a:cubicBezTo>
                    <a:pt x="6" y="26"/>
                    <a:pt x="7" y="28"/>
                    <a:pt x="9" y="30"/>
                  </a:cubicBezTo>
                  <a:cubicBezTo>
                    <a:pt x="11" y="32"/>
                    <a:pt x="13" y="33"/>
                    <a:pt x="15" y="34"/>
                  </a:cubicBezTo>
                  <a:cubicBezTo>
                    <a:pt x="18" y="36"/>
                    <a:pt x="20" y="39"/>
                    <a:pt x="22" y="41"/>
                  </a:cubicBezTo>
                  <a:cubicBezTo>
                    <a:pt x="24" y="42"/>
                    <a:pt x="25" y="44"/>
                    <a:pt x="28" y="44"/>
                  </a:cubicBezTo>
                  <a:cubicBezTo>
                    <a:pt x="30" y="44"/>
                    <a:pt x="33" y="43"/>
                    <a:pt x="35" y="41"/>
                  </a:cubicBezTo>
                  <a:cubicBezTo>
                    <a:pt x="36" y="40"/>
                    <a:pt x="34" y="37"/>
                    <a:pt x="35" y="36"/>
                  </a:cubicBezTo>
                  <a:cubicBezTo>
                    <a:pt x="36" y="35"/>
                    <a:pt x="37" y="37"/>
                    <a:pt x="37" y="37"/>
                  </a:cubicBezTo>
                  <a:cubicBezTo>
                    <a:pt x="39" y="38"/>
                    <a:pt x="41" y="38"/>
                    <a:pt x="43" y="38"/>
                  </a:cubicBezTo>
                  <a:cubicBezTo>
                    <a:pt x="46" y="39"/>
                    <a:pt x="47" y="40"/>
                    <a:pt x="50" y="41"/>
                  </a:cubicBezTo>
                  <a:cubicBezTo>
                    <a:pt x="51" y="41"/>
                    <a:pt x="53" y="40"/>
                    <a:pt x="54" y="41"/>
                  </a:cubicBezTo>
                  <a:cubicBezTo>
                    <a:pt x="56" y="41"/>
                    <a:pt x="57" y="41"/>
                    <a:pt x="59" y="42"/>
                  </a:cubicBezTo>
                  <a:cubicBezTo>
                    <a:pt x="60" y="41"/>
                    <a:pt x="61" y="39"/>
                    <a:pt x="62" y="39"/>
                  </a:cubicBezTo>
                  <a:cubicBezTo>
                    <a:pt x="64" y="38"/>
                    <a:pt x="65" y="40"/>
                    <a:pt x="67" y="39"/>
                  </a:cubicBezTo>
                  <a:cubicBezTo>
                    <a:pt x="69" y="38"/>
                    <a:pt x="71" y="36"/>
                    <a:pt x="73" y="35"/>
                  </a:cubicBezTo>
                  <a:cubicBezTo>
                    <a:pt x="73" y="34"/>
                    <a:pt x="73" y="32"/>
                    <a:pt x="74" y="31"/>
                  </a:cubicBezTo>
                  <a:cubicBezTo>
                    <a:pt x="75" y="30"/>
                    <a:pt x="77" y="29"/>
                    <a:pt x="78" y="29"/>
                  </a:cubicBezTo>
                  <a:cubicBezTo>
                    <a:pt x="79" y="29"/>
                    <a:pt x="81" y="28"/>
                    <a:pt x="82" y="2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" name="Freeform 84"/>
            <p:cNvSpPr>
              <a:spLocks noChangeAspect="1"/>
            </p:cNvSpPr>
            <p:nvPr/>
          </p:nvSpPr>
          <p:spPr bwMode="auto">
            <a:xfrm>
              <a:off x="4843463" y="2828925"/>
              <a:ext cx="71437" cy="50800"/>
            </a:xfrm>
            <a:custGeom>
              <a:avLst/>
              <a:gdLst>
                <a:gd name="T0" fmla="*/ 71437 w 37"/>
                <a:gd name="T1" fmla="*/ 13170 h 27"/>
                <a:gd name="T2" fmla="*/ 67576 w 37"/>
                <a:gd name="T3" fmla="*/ 7526 h 27"/>
                <a:gd name="T4" fmla="*/ 65645 w 37"/>
                <a:gd name="T5" fmla="*/ 0 h 27"/>
                <a:gd name="T6" fmla="*/ 57922 w 37"/>
                <a:gd name="T7" fmla="*/ 7526 h 27"/>
                <a:gd name="T8" fmla="*/ 48268 w 37"/>
                <a:gd name="T9" fmla="*/ 9407 h 27"/>
                <a:gd name="T10" fmla="*/ 34753 w 37"/>
                <a:gd name="T11" fmla="*/ 9407 h 27"/>
                <a:gd name="T12" fmla="*/ 25099 w 37"/>
                <a:gd name="T13" fmla="*/ 16933 h 27"/>
                <a:gd name="T14" fmla="*/ 7723 w 37"/>
                <a:gd name="T15" fmla="*/ 13170 h 27"/>
                <a:gd name="T16" fmla="*/ 1931 w 37"/>
                <a:gd name="T17" fmla="*/ 16933 h 27"/>
                <a:gd name="T18" fmla="*/ 3861 w 37"/>
                <a:gd name="T19" fmla="*/ 24459 h 27"/>
                <a:gd name="T20" fmla="*/ 3861 w 37"/>
                <a:gd name="T21" fmla="*/ 31985 h 27"/>
                <a:gd name="T22" fmla="*/ 7723 w 37"/>
                <a:gd name="T23" fmla="*/ 39511 h 27"/>
                <a:gd name="T24" fmla="*/ 11584 w 37"/>
                <a:gd name="T25" fmla="*/ 43274 h 27"/>
                <a:gd name="T26" fmla="*/ 5792 w 37"/>
                <a:gd name="T27" fmla="*/ 48919 h 27"/>
                <a:gd name="T28" fmla="*/ 11584 w 37"/>
                <a:gd name="T29" fmla="*/ 48919 h 27"/>
                <a:gd name="T30" fmla="*/ 15446 w 37"/>
                <a:gd name="T31" fmla="*/ 45156 h 27"/>
                <a:gd name="T32" fmla="*/ 21238 w 37"/>
                <a:gd name="T33" fmla="*/ 47037 h 27"/>
                <a:gd name="T34" fmla="*/ 27030 w 37"/>
                <a:gd name="T35" fmla="*/ 43274 h 27"/>
                <a:gd name="T36" fmla="*/ 30892 w 37"/>
                <a:gd name="T37" fmla="*/ 47037 h 27"/>
                <a:gd name="T38" fmla="*/ 36684 w 37"/>
                <a:gd name="T39" fmla="*/ 47037 h 27"/>
                <a:gd name="T40" fmla="*/ 44407 w 37"/>
                <a:gd name="T41" fmla="*/ 48919 h 27"/>
                <a:gd name="T42" fmla="*/ 44407 w 37"/>
                <a:gd name="T43" fmla="*/ 35748 h 27"/>
                <a:gd name="T44" fmla="*/ 52130 w 37"/>
                <a:gd name="T45" fmla="*/ 35748 h 27"/>
                <a:gd name="T46" fmla="*/ 52130 w 37"/>
                <a:gd name="T47" fmla="*/ 22578 h 27"/>
                <a:gd name="T48" fmla="*/ 65645 w 37"/>
                <a:gd name="T49" fmla="*/ 16933 h 27"/>
                <a:gd name="T50" fmla="*/ 65645 w 37"/>
                <a:gd name="T51" fmla="*/ 11289 h 27"/>
                <a:gd name="T52" fmla="*/ 71437 w 37"/>
                <a:gd name="T53" fmla="*/ 13170 h 2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7"/>
                <a:gd name="T82" fmla="*/ 0 h 27"/>
                <a:gd name="T83" fmla="*/ 37 w 37"/>
                <a:gd name="T84" fmla="*/ 27 h 2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7" h="27">
                  <a:moveTo>
                    <a:pt x="37" y="7"/>
                  </a:moveTo>
                  <a:cubicBezTo>
                    <a:pt x="37" y="6"/>
                    <a:pt x="36" y="5"/>
                    <a:pt x="35" y="4"/>
                  </a:cubicBezTo>
                  <a:cubicBezTo>
                    <a:pt x="35" y="2"/>
                    <a:pt x="34" y="1"/>
                    <a:pt x="34" y="0"/>
                  </a:cubicBezTo>
                  <a:cubicBezTo>
                    <a:pt x="33" y="1"/>
                    <a:pt x="32" y="3"/>
                    <a:pt x="30" y="4"/>
                  </a:cubicBezTo>
                  <a:cubicBezTo>
                    <a:pt x="29" y="4"/>
                    <a:pt x="27" y="5"/>
                    <a:pt x="25" y="5"/>
                  </a:cubicBezTo>
                  <a:cubicBezTo>
                    <a:pt x="23" y="5"/>
                    <a:pt x="20" y="4"/>
                    <a:pt x="18" y="5"/>
                  </a:cubicBezTo>
                  <a:cubicBezTo>
                    <a:pt x="16" y="6"/>
                    <a:pt x="15" y="9"/>
                    <a:pt x="13" y="9"/>
                  </a:cubicBezTo>
                  <a:cubicBezTo>
                    <a:pt x="10" y="9"/>
                    <a:pt x="6" y="7"/>
                    <a:pt x="4" y="7"/>
                  </a:cubicBezTo>
                  <a:cubicBezTo>
                    <a:pt x="3" y="8"/>
                    <a:pt x="1" y="8"/>
                    <a:pt x="1" y="9"/>
                  </a:cubicBezTo>
                  <a:cubicBezTo>
                    <a:pt x="0" y="10"/>
                    <a:pt x="2" y="11"/>
                    <a:pt x="2" y="13"/>
                  </a:cubicBezTo>
                  <a:cubicBezTo>
                    <a:pt x="3" y="14"/>
                    <a:pt x="1" y="15"/>
                    <a:pt x="2" y="17"/>
                  </a:cubicBezTo>
                  <a:cubicBezTo>
                    <a:pt x="2" y="18"/>
                    <a:pt x="3" y="19"/>
                    <a:pt x="4" y="21"/>
                  </a:cubicBezTo>
                  <a:cubicBezTo>
                    <a:pt x="4" y="21"/>
                    <a:pt x="6" y="22"/>
                    <a:pt x="6" y="23"/>
                  </a:cubicBezTo>
                  <a:cubicBezTo>
                    <a:pt x="6" y="24"/>
                    <a:pt x="4" y="25"/>
                    <a:pt x="3" y="26"/>
                  </a:cubicBezTo>
                  <a:cubicBezTo>
                    <a:pt x="4" y="26"/>
                    <a:pt x="5" y="26"/>
                    <a:pt x="6" y="26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10" y="25"/>
                    <a:pt x="11" y="25"/>
                  </a:cubicBezTo>
                  <a:cubicBezTo>
                    <a:pt x="12" y="25"/>
                    <a:pt x="13" y="23"/>
                    <a:pt x="14" y="23"/>
                  </a:cubicBezTo>
                  <a:cubicBezTo>
                    <a:pt x="15" y="23"/>
                    <a:pt x="15" y="24"/>
                    <a:pt x="16" y="25"/>
                  </a:cubicBezTo>
                  <a:cubicBezTo>
                    <a:pt x="17" y="25"/>
                    <a:pt x="18" y="25"/>
                    <a:pt x="19" y="25"/>
                  </a:cubicBezTo>
                  <a:cubicBezTo>
                    <a:pt x="21" y="26"/>
                    <a:pt x="22" y="27"/>
                    <a:pt x="23" y="26"/>
                  </a:cubicBezTo>
                  <a:cubicBezTo>
                    <a:pt x="24" y="24"/>
                    <a:pt x="22" y="21"/>
                    <a:pt x="23" y="19"/>
                  </a:cubicBezTo>
                  <a:cubicBezTo>
                    <a:pt x="24" y="18"/>
                    <a:pt x="27" y="20"/>
                    <a:pt x="27" y="19"/>
                  </a:cubicBezTo>
                  <a:cubicBezTo>
                    <a:pt x="28" y="17"/>
                    <a:pt x="26" y="14"/>
                    <a:pt x="27" y="12"/>
                  </a:cubicBezTo>
                  <a:cubicBezTo>
                    <a:pt x="28" y="10"/>
                    <a:pt x="32" y="11"/>
                    <a:pt x="34" y="9"/>
                  </a:cubicBezTo>
                  <a:cubicBezTo>
                    <a:pt x="35" y="9"/>
                    <a:pt x="33" y="7"/>
                    <a:pt x="34" y="6"/>
                  </a:cubicBezTo>
                  <a:cubicBezTo>
                    <a:pt x="35" y="6"/>
                    <a:pt x="36" y="7"/>
                    <a:pt x="37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" name="Freeform 85"/>
            <p:cNvSpPr>
              <a:spLocks noChangeAspect="1" noEditPoints="1"/>
            </p:cNvSpPr>
            <p:nvPr/>
          </p:nvSpPr>
          <p:spPr bwMode="auto">
            <a:xfrm>
              <a:off x="4908550" y="2771775"/>
              <a:ext cx="150813" cy="95250"/>
            </a:xfrm>
            <a:custGeom>
              <a:avLst/>
              <a:gdLst>
                <a:gd name="T0" fmla="*/ 0 w 79"/>
                <a:gd name="T1" fmla="*/ 57150 h 50"/>
                <a:gd name="T2" fmla="*/ 1909 w 79"/>
                <a:gd name="T3" fmla="*/ 64770 h 50"/>
                <a:gd name="T4" fmla="*/ 5727 w 79"/>
                <a:gd name="T5" fmla="*/ 70485 h 50"/>
                <a:gd name="T6" fmla="*/ 5727 w 79"/>
                <a:gd name="T7" fmla="*/ 70485 h 50"/>
                <a:gd name="T8" fmla="*/ 9545 w 79"/>
                <a:gd name="T9" fmla="*/ 76200 h 50"/>
                <a:gd name="T10" fmla="*/ 15272 w 79"/>
                <a:gd name="T11" fmla="*/ 76200 h 50"/>
                <a:gd name="T12" fmla="*/ 17181 w 79"/>
                <a:gd name="T13" fmla="*/ 81915 h 50"/>
                <a:gd name="T14" fmla="*/ 19090 w 79"/>
                <a:gd name="T15" fmla="*/ 81915 h 50"/>
                <a:gd name="T16" fmla="*/ 24817 w 79"/>
                <a:gd name="T17" fmla="*/ 89535 h 50"/>
                <a:gd name="T18" fmla="*/ 38181 w 79"/>
                <a:gd name="T19" fmla="*/ 93345 h 50"/>
                <a:gd name="T20" fmla="*/ 51544 w 79"/>
                <a:gd name="T21" fmla="*/ 95250 h 50"/>
                <a:gd name="T22" fmla="*/ 57271 w 79"/>
                <a:gd name="T23" fmla="*/ 91440 h 50"/>
                <a:gd name="T24" fmla="*/ 61089 w 79"/>
                <a:gd name="T25" fmla="*/ 91440 h 50"/>
                <a:gd name="T26" fmla="*/ 66816 w 79"/>
                <a:gd name="T27" fmla="*/ 85725 h 50"/>
                <a:gd name="T28" fmla="*/ 76361 w 79"/>
                <a:gd name="T29" fmla="*/ 83820 h 50"/>
                <a:gd name="T30" fmla="*/ 82088 w 79"/>
                <a:gd name="T31" fmla="*/ 80010 h 50"/>
                <a:gd name="T32" fmla="*/ 93542 w 79"/>
                <a:gd name="T33" fmla="*/ 81915 h 50"/>
                <a:gd name="T34" fmla="*/ 106905 w 79"/>
                <a:gd name="T35" fmla="*/ 78105 h 50"/>
                <a:gd name="T36" fmla="*/ 116451 w 79"/>
                <a:gd name="T37" fmla="*/ 74295 h 50"/>
                <a:gd name="T38" fmla="*/ 116451 w 79"/>
                <a:gd name="T39" fmla="*/ 66675 h 50"/>
                <a:gd name="T40" fmla="*/ 122178 w 79"/>
                <a:gd name="T41" fmla="*/ 64770 h 50"/>
                <a:gd name="T42" fmla="*/ 124087 w 79"/>
                <a:gd name="T43" fmla="*/ 51435 h 50"/>
                <a:gd name="T44" fmla="*/ 131723 w 79"/>
                <a:gd name="T45" fmla="*/ 38100 h 50"/>
                <a:gd name="T46" fmla="*/ 139359 w 79"/>
                <a:gd name="T47" fmla="*/ 28575 h 50"/>
                <a:gd name="T48" fmla="*/ 146995 w 79"/>
                <a:gd name="T49" fmla="*/ 26670 h 50"/>
                <a:gd name="T50" fmla="*/ 150813 w 79"/>
                <a:gd name="T51" fmla="*/ 22860 h 50"/>
                <a:gd name="T52" fmla="*/ 150813 w 79"/>
                <a:gd name="T53" fmla="*/ 17145 h 50"/>
                <a:gd name="T54" fmla="*/ 143177 w 79"/>
                <a:gd name="T55" fmla="*/ 17145 h 50"/>
                <a:gd name="T56" fmla="*/ 143177 w 79"/>
                <a:gd name="T57" fmla="*/ 13335 h 50"/>
                <a:gd name="T58" fmla="*/ 139359 w 79"/>
                <a:gd name="T59" fmla="*/ 9525 h 50"/>
                <a:gd name="T60" fmla="*/ 133632 w 79"/>
                <a:gd name="T61" fmla="*/ 5715 h 50"/>
                <a:gd name="T62" fmla="*/ 124087 w 79"/>
                <a:gd name="T63" fmla="*/ 9525 h 50"/>
                <a:gd name="T64" fmla="*/ 116451 w 79"/>
                <a:gd name="T65" fmla="*/ 0 h 50"/>
                <a:gd name="T66" fmla="*/ 108814 w 79"/>
                <a:gd name="T67" fmla="*/ 1905 h 50"/>
                <a:gd name="T68" fmla="*/ 97360 w 79"/>
                <a:gd name="T69" fmla="*/ 1905 h 50"/>
                <a:gd name="T70" fmla="*/ 91633 w 79"/>
                <a:gd name="T71" fmla="*/ 9525 h 50"/>
                <a:gd name="T72" fmla="*/ 83997 w 79"/>
                <a:gd name="T73" fmla="*/ 15240 h 50"/>
                <a:gd name="T74" fmla="*/ 74452 w 79"/>
                <a:gd name="T75" fmla="*/ 11430 h 50"/>
                <a:gd name="T76" fmla="*/ 72543 w 79"/>
                <a:gd name="T77" fmla="*/ 19050 h 50"/>
                <a:gd name="T78" fmla="*/ 61089 w 79"/>
                <a:gd name="T79" fmla="*/ 19050 h 50"/>
                <a:gd name="T80" fmla="*/ 55362 w 79"/>
                <a:gd name="T81" fmla="*/ 19050 h 50"/>
                <a:gd name="T82" fmla="*/ 57271 w 79"/>
                <a:gd name="T83" fmla="*/ 24765 h 50"/>
                <a:gd name="T84" fmla="*/ 53453 w 79"/>
                <a:gd name="T85" fmla="*/ 28575 h 50"/>
                <a:gd name="T86" fmla="*/ 28635 w 79"/>
                <a:gd name="T87" fmla="*/ 26670 h 50"/>
                <a:gd name="T88" fmla="*/ 19090 w 79"/>
                <a:gd name="T89" fmla="*/ 19050 h 50"/>
                <a:gd name="T90" fmla="*/ 17181 w 79"/>
                <a:gd name="T91" fmla="*/ 28575 h 50"/>
                <a:gd name="T92" fmla="*/ 13363 w 79"/>
                <a:gd name="T93" fmla="*/ 30480 h 50"/>
                <a:gd name="T94" fmla="*/ 9545 w 79"/>
                <a:gd name="T95" fmla="*/ 36195 h 50"/>
                <a:gd name="T96" fmla="*/ 1909 w 79"/>
                <a:gd name="T97" fmla="*/ 41910 h 50"/>
                <a:gd name="T98" fmla="*/ 5727 w 79"/>
                <a:gd name="T99" fmla="*/ 53340 h 50"/>
                <a:gd name="T100" fmla="*/ 1909 w 79"/>
                <a:gd name="T101" fmla="*/ 53340 h 50"/>
                <a:gd name="T102" fmla="*/ 0 w 79"/>
                <a:gd name="T103" fmla="*/ 57150 h 50"/>
                <a:gd name="T104" fmla="*/ 1909 w 79"/>
                <a:gd name="T105" fmla="*/ 64770 h 50"/>
                <a:gd name="T106" fmla="*/ 5727 w 79"/>
                <a:gd name="T107" fmla="*/ 70485 h 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9"/>
                <a:gd name="T163" fmla="*/ 0 h 50"/>
                <a:gd name="T164" fmla="*/ 79 w 79"/>
                <a:gd name="T165" fmla="*/ 50 h 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9" h="50">
                  <a:moveTo>
                    <a:pt x="0" y="30"/>
                  </a:moveTo>
                  <a:cubicBezTo>
                    <a:pt x="0" y="31"/>
                    <a:pt x="1" y="32"/>
                    <a:pt x="1" y="34"/>
                  </a:cubicBezTo>
                  <a:cubicBezTo>
                    <a:pt x="2" y="35"/>
                    <a:pt x="3" y="36"/>
                    <a:pt x="3" y="37"/>
                  </a:cubicBezTo>
                  <a:moveTo>
                    <a:pt x="3" y="37"/>
                  </a:moveTo>
                  <a:cubicBezTo>
                    <a:pt x="4" y="38"/>
                    <a:pt x="4" y="39"/>
                    <a:pt x="5" y="40"/>
                  </a:cubicBezTo>
                  <a:cubicBezTo>
                    <a:pt x="6" y="40"/>
                    <a:pt x="7" y="39"/>
                    <a:pt x="8" y="40"/>
                  </a:cubicBezTo>
                  <a:cubicBezTo>
                    <a:pt x="9" y="40"/>
                    <a:pt x="8" y="42"/>
                    <a:pt x="9" y="43"/>
                  </a:cubicBezTo>
                  <a:cubicBezTo>
                    <a:pt x="9" y="43"/>
                    <a:pt x="10" y="43"/>
                    <a:pt x="10" y="43"/>
                  </a:cubicBezTo>
                  <a:cubicBezTo>
                    <a:pt x="12" y="44"/>
                    <a:pt x="12" y="46"/>
                    <a:pt x="13" y="47"/>
                  </a:cubicBezTo>
                  <a:cubicBezTo>
                    <a:pt x="15" y="48"/>
                    <a:pt x="18" y="49"/>
                    <a:pt x="20" y="49"/>
                  </a:cubicBezTo>
                  <a:cubicBezTo>
                    <a:pt x="22" y="50"/>
                    <a:pt x="25" y="50"/>
                    <a:pt x="27" y="50"/>
                  </a:cubicBezTo>
                  <a:cubicBezTo>
                    <a:pt x="28" y="50"/>
                    <a:pt x="29" y="48"/>
                    <a:pt x="30" y="48"/>
                  </a:cubicBezTo>
                  <a:cubicBezTo>
                    <a:pt x="30" y="47"/>
                    <a:pt x="31" y="48"/>
                    <a:pt x="32" y="48"/>
                  </a:cubicBezTo>
                  <a:cubicBezTo>
                    <a:pt x="33" y="47"/>
                    <a:pt x="34" y="46"/>
                    <a:pt x="35" y="45"/>
                  </a:cubicBezTo>
                  <a:cubicBezTo>
                    <a:pt x="37" y="44"/>
                    <a:pt x="38" y="44"/>
                    <a:pt x="40" y="44"/>
                  </a:cubicBezTo>
                  <a:cubicBezTo>
                    <a:pt x="41" y="44"/>
                    <a:pt x="42" y="42"/>
                    <a:pt x="43" y="42"/>
                  </a:cubicBezTo>
                  <a:cubicBezTo>
                    <a:pt x="46" y="42"/>
                    <a:pt x="47" y="43"/>
                    <a:pt x="49" y="43"/>
                  </a:cubicBezTo>
                  <a:cubicBezTo>
                    <a:pt x="51" y="42"/>
                    <a:pt x="54" y="42"/>
                    <a:pt x="56" y="41"/>
                  </a:cubicBezTo>
                  <a:cubicBezTo>
                    <a:pt x="57" y="41"/>
                    <a:pt x="60" y="41"/>
                    <a:pt x="61" y="39"/>
                  </a:cubicBezTo>
                  <a:cubicBezTo>
                    <a:pt x="62" y="38"/>
                    <a:pt x="60" y="36"/>
                    <a:pt x="61" y="35"/>
                  </a:cubicBezTo>
                  <a:cubicBezTo>
                    <a:pt x="61" y="34"/>
                    <a:pt x="63" y="35"/>
                    <a:pt x="64" y="34"/>
                  </a:cubicBezTo>
                  <a:cubicBezTo>
                    <a:pt x="65" y="32"/>
                    <a:pt x="64" y="29"/>
                    <a:pt x="65" y="27"/>
                  </a:cubicBezTo>
                  <a:cubicBezTo>
                    <a:pt x="66" y="24"/>
                    <a:pt x="67" y="22"/>
                    <a:pt x="69" y="20"/>
                  </a:cubicBezTo>
                  <a:cubicBezTo>
                    <a:pt x="70" y="19"/>
                    <a:pt x="71" y="17"/>
                    <a:pt x="73" y="15"/>
                  </a:cubicBezTo>
                  <a:cubicBezTo>
                    <a:pt x="74" y="14"/>
                    <a:pt x="76" y="15"/>
                    <a:pt x="77" y="14"/>
                  </a:cubicBezTo>
                  <a:cubicBezTo>
                    <a:pt x="78" y="13"/>
                    <a:pt x="78" y="12"/>
                    <a:pt x="79" y="12"/>
                  </a:cubicBezTo>
                  <a:cubicBezTo>
                    <a:pt x="79" y="11"/>
                    <a:pt x="79" y="10"/>
                    <a:pt x="79" y="9"/>
                  </a:cubicBezTo>
                  <a:cubicBezTo>
                    <a:pt x="78" y="9"/>
                    <a:pt x="76" y="9"/>
                    <a:pt x="75" y="9"/>
                  </a:cubicBezTo>
                  <a:cubicBezTo>
                    <a:pt x="75" y="8"/>
                    <a:pt x="75" y="7"/>
                    <a:pt x="75" y="7"/>
                  </a:cubicBezTo>
                  <a:cubicBezTo>
                    <a:pt x="74" y="6"/>
                    <a:pt x="73" y="6"/>
                    <a:pt x="73" y="5"/>
                  </a:cubicBezTo>
                  <a:cubicBezTo>
                    <a:pt x="72" y="5"/>
                    <a:pt x="71" y="4"/>
                    <a:pt x="70" y="3"/>
                  </a:cubicBezTo>
                  <a:cubicBezTo>
                    <a:pt x="69" y="4"/>
                    <a:pt x="67" y="5"/>
                    <a:pt x="65" y="5"/>
                  </a:cubicBezTo>
                  <a:cubicBezTo>
                    <a:pt x="63" y="4"/>
                    <a:pt x="63" y="1"/>
                    <a:pt x="61" y="0"/>
                  </a:cubicBezTo>
                  <a:cubicBezTo>
                    <a:pt x="60" y="0"/>
                    <a:pt x="59" y="1"/>
                    <a:pt x="57" y="1"/>
                  </a:cubicBezTo>
                  <a:cubicBezTo>
                    <a:pt x="55" y="1"/>
                    <a:pt x="53" y="0"/>
                    <a:pt x="51" y="1"/>
                  </a:cubicBezTo>
                  <a:cubicBezTo>
                    <a:pt x="49" y="1"/>
                    <a:pt x="49" y="4"/>
                    <a:pt x="48" y="5"/>
                  </a:cubicBezTo>
                  <a:cubicBezTo>
                    <a:pt x="47" y="6"/>
                    <a:pt x="45" y="7"/>
                    <a:pt x="44" y="8"/>
                  </a:cubicBezTo>
                  <a:cubicBezTo>
                    <a:pt x="42" y="8"/>
                    <a:pt x="41" y="6"/>
                    <a:pt x="39" y="6"/>
                  </a:cubicBezTo>
                  <a:cubicBezTo>
                    <a:pt x="38" y="6"/>
                    <a:pt x="39" y="9"/>
                    <a:pt x="38" y="10"/>
                  </a:cubicBezTo>
                  <a:cubicBezTo>
                    <a:pt x="36" y="10"/>
                    <a:pt x="34" y="9"/>
                    <a:pt x="32" y="10"/>
                  </a:cubicBezTo>
                  <a:cubicBezTo>
                    <a:pt x="31" y="10"/>
                    <a:pt x="29" y="9"/>
                    <a:pt x="29" y="10"/>
                  </a:cubicBezTo>
                  <a:cubicBezTo>
                    <a:pt x="29" y="11"/>
                    <a:pt x="31" y="12"/>
                    <a:pt x="30" y="13"/>
                  </a:cubicBezTo>
                  <a:cubicBezTo>
                    <a:pt x="30" y="14"/>
                    <a:pt x="29" y="15"/>
                    <a:pt x="28" y="15"/>
                  </a:cubicBezTo>
                  <a:cubicBezTo>
                    <a:pt x="24" y="15"/>
                    <a:pt x="19" y="15"/>
                    <a:pt x="15" y="14"/>
                  </a:cubicBezTo>
                  <a:cubicBezTo>
                    <a:pt x="13" y="13"/>
                    <a:pt x="12" y="11"/>
                    <a:pt x="10" y="10"/>
                  </a:cubicBezTo>
                  <a:cubicBezTo>
                    <a:pt x="10" y="11"/>
                    <a:pt x="10" y="13"/>
                    <a:pt x="9" y="15"/>
                  </a:cubicBezTo>
                  <a:cubicBezTo>
                    <a:pt x="9" y="15"/>
                    <a:pt x="7" y="15"/>
                    <a:pt x="7" y="16"/>
                  </a:cubicBezTo>
                  <a:cubicBezTo>
                    <a:pt x="6" y="16"/>
                    <a:pt x="6" y="18"/>
                    <a:pt x="5" y="19"/>
                  </a:cubicBezTo>
                  <a:cubicBezTo>
                    <a:pt x="4" y="20"/>
                    <a:pt x="2" y="20"/>
                    <a:pt x="1" y="22"/>
                  </a:cubicBezTo>
                  <a:cubicBezTo>
                    <a:pt x="1" y="24"/>
                    <a:pt x="3" y="26"/>
                    <a:pt x="3" y="28"/>
                  </a:cubicBezTo>
                  <a:cubicBezTo>
                    <a:pt x="3" y="28"/>
                    <a:pt x="1" y="27"/>
                    <a:pt x="1" y="28"/>
                  </a:cubicBezTo>
                  <a:cubicBezTo>
                    <a:pt x="0" y="28"/>
                    <a:pt x="0" y="29"/>
                    <a:pt x="0" y="30"/>
                  </a:cubicBezTo>
                  <a:cubicBezTo>
                    <a:pt x="0" y="31"/>
                    <a:pt x="1" y="32"/>
                    <a:pt x="1" y="34"/>
                  </a:cubicBezTo>
                  <a:cubicBezTo>
                    <a:pt x="2" y="35"/>
                    <a:pt x="3" y="36"/>
                    <a:pt x="3" y="3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" name="Freeform 86"/>
            <p:cNvSpPr>
              <a:spLocks noChangeAspect="1"/>
            </p:cNvSpPr>
            <p:nvPr/>
          </p:nvSpPr>
          <p:spPr bwMode="auto">
            <a:xfrm>
              <a:off x="4919663" y="2736850"/>
              <a:ext cx="131762" cy="63500"/>
            </a:xfrm>
            <a:custGeom>
              <a:avLst/>
              <a:gdLst>
                <a:gd name="T0" fmla="*/ 122214 w 69"/>
                <a:gd name="T1" fmla="*/ 40409 h 33"/>
                <a:gd name="T2" fmla="*/ 122214 w 69"/>
                <a:gd name="T3" fmla="*/ 34636 h 33"/>
                <a:gd name="T4" fmla="*/ 126033 w 69"/>
                <a:gd name="T5" fmla="*/ 28864 h 33"/>
                <a:gd name="T6" fmla="*/ 127943 w 69"/>
                <a:gd name="T7" fmla="*/ 21167 h 33"/>
                <a:gd name="T8" fmla="*/ 131762 w 69"/>
                <a:gd name="T9" fmla="*/ 17318 h 33"/>
                <a:gd name="T10" fmla="*/ 120304 w 69"/>
                <a:gd name="T11" fmla="*/ 15394 h 33"/>
                <a:gd name="T12" fmla="*/ 112666 w 69"/>
                <a:gd name="T13" fmla="*/ 7697 h 33"/>
                <a:gd name="T14" fmla="*/ 101208 w 69"/>
                <a:gd name="T15" fmla="*/ 5773 h 33"/>
                <a:gd name="T16" fmla="*/ 93570 w 69"/>
                <a:gd name="T17" fmla="*/ 11545 h 33"/>
                <a:gd name="T18" fmla="*/ 89751 w 69"/>
                <a:gd name="T19" fmla="*/ 7697 h 33"/>
                <a:gd name="T20" fmla="*/ 78293 w 69"/>
                <a:gd name="T21" fmla="*/ 7697 h 33"/>
                <a:gd name="T22" fmla="*/ 72565 w 69"/>
                <a:gd name="T23" fmla="*/ 13470 h 33"/>
                <a:gd name="T24" fmla="*/ 66836 w 69"/>
                <a:gd name="T25" fmla="*/ 15394 h 33"/>
                <a:gd name="T26" fmla="*/ 66836 w 69"/>
                <a:gd name="T27" fmla="*/ 9621 h 33"/>
                <a:gd name="T28" fmla="*/ 59197 w 69"/>
                <a:gd name="T29" fmla="*/ 0 h 33"/>
                <a:gd name="T30" fmla="*/ 51559 w 69"/>
                <a:gd name="T31" fmla="*/ 7697 h 33"/>
                <a:gd name="T32" fmla="*/ 45830 w 69"/>
                <a:gd name="T33" fmla="*/ 3848 h 33"/>
                <a:gd name="T34" fmla="*/ 38192 w 69"/>
                <a:gd name="T35" fmla="*/ 5773 h 33"/>
                <a:gd name="T36" fmla="*/ 30554 w 69"/>
                <a:gd name="T37" fmla="*/ 9621 h 33"/>
                <a:gd name="T38" fmla="*/ 28644 w 69"/>
                <a:gd name="T39" fmla="*/ 17318 h 33"/>
                <a:gd name="T40" fmla="*/ 17186 w 69"/>
                <a:gd name="T41" fmla="*/ 25015 h 33"/>
                <a:gd name="T42" fmla="*/ 7638 w 69"/>
                <a:gd name="T43" fmla="*/ 25015 h 33"/>
                <a:gd name="T44" fmla="*/ 1910 w 69"/>
                <a:gd name="T45" fmla="*/ 30788 h 33"/>
                <a:gd name="T46" fmla="*/ 1910 w 69"/>
                <a:gd name="T47" fmla="*/ 38485 h 33"/>
                <a:gd name="T48" fmla="*/ 1910 w 69"/>
                <a:gd name="T49" fmla="*/ 46182 h 33"/>
                <a:gd name="T50" fmla="*/ 7638 w 69"/>
                <a:gd name="T51" fmla="*/ 53879 h 33"/>
                <a:gd name="T52" fmla="*/ 17186 w 69"/>
                <a:gd name="T53" fmla="*/ 61576 h 33"/>
                <a:gd name="T54" fmla="*/ 42011 w 69"/>
                <a:gd name="T55" fmla="*/ 63500 h 33"/>
                <a:gd name="T56" fmla="*/ 45830 w 69"/>
                <a:gd name="T57" fmla="*/ 59652 h 33"/>
                <a:gd name="T58" fmla="*/ 43921 w 69"/>
                <a:gd name="T59" fmla="*/ 53879 h 33"/>
                <a:gd name="T60" fmla="*/ 49649 w 69"/>
                <a:gd name="T61" fmla="*/ 53879 h 33"/>
                <a:gd name="T62" fmla="*/ 61107 w 69"/>
                <a:gd name="T63" fmla="*/ 53879 h 33"/>
                <a:gd name="T64" fmla="*/ 63017 w 69"/>
                <a:gd name="T65" fmla="*/ 46182 h 33"/>
                <a:gd name="T66" fmla="*/ 72565 w 69"/>
                <a:gd name="T67" fmla="*/ 50030 h 33"/>
                <a:gd name="T68" fmla="*/ 80203 w 69"/>
                <a:gd name="T69" fmla="*/ 44258 h 33"/>
                <a:gd name="T70" fmla="*/ 85932 w 69"/>
                <a:gd name="T71" fmla="*/ 36561 h 33"/>
                <a:gd name="T72" fmla="*/ 97389 w 69"/>
                <a:gd name="T73" fmla="*/ 36561 h 33"/>
                <a:gd name="T74" fmla="*/ 105028 w 69"/>
                <a:gd name="T75" fmla="*/ 34636 h 33"/>
                <a:gd name="T76" fmla="*/ 112666 w 69"/>
                <a:gd name="T77" fmla="*/ 44258 h 33"/>
                <a:gd name="T78" fmla="*/ 122214 w 69"/>
                <a:gd name="T79" fmla="*/ 40409 h 3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9"/>
                <a:gd name="T121" fmla="*/ 0 h 33"/>
                <a:gd name="T122" fmla="*/ 69 w 69"/>
                <a:gd name="T123" fmla="*/ 33 h 3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9" h="33">
                  <a:moveTo>
                    <a:pt x="64" y="21"/>
                  </a:moveTo>
                  <a:cubicBezTo>
                    <a:pt x="64" y="20"/>
                    <a:pt x="64" y="19"/>
                    <a:pt x="64" y="18"/>
                  </a:cubicBezTo>
                  <a:cubicBezTo>
                    <a:pt x="64" y="17"/>
                    <a:pt x="65" y="16"/>
                    <a:pt x="66" y="15"/>
                  </a:cubicBezTo>
                  <a:cubicBezTo>
                    <a:pt x="66" y="14"/>
                    <a:pt x="66" y="12"/>
                    <a:pt x="67" y="11"/>
                  </a:cubicBezTo>
                  <a:cubicBezTo>
                    <a:pt x="67" y="11"/>
                    <a:pt x="68" y="10"/>
                    <a:pt x="69" y="9"/>
                  </a:cubicBezTo>
                  <a:cubicBezTo>
                    <a:pt x="67" y="9"/>
                    <a:pt x="65" y="9"/>
                    <a:pt x="63" y="8"/>
                  </a:cubicBezTo>
                  <a:cubicBezTo>
                    <a:pt x="62" y="7"/>
                    <a:pt x="61" y="5"/>
                    <a:pt x="59" y="4"/>
                  </a:cubicBezTo>
                  <a:cubicBezTo>
                    <a:pt x="57" y="3"/>
                    <a:pt x="55" y="3"/>
                    <a:pt x="53" y="3"/>
                  </a:cubicBezTo>
                  <a:cubicBezTo>
                    <a:pt x="51" y="3"/>
                    <a:pt x="51" y="5"/>
                    <a:pt x="49" y="6"/>
                  </a:cubicBezTo>
                  <a:cubicBezTo>
                    <a:pt x="49" y="6"/>
                    <a:pt x="48" y="5"/>
                    <a:pt x="47" y="4"/>
                  </a:cubicBezTo>
                  <a:cubicBezTo>
                    <a:pt x="45" y="4"/>
                    <a:pt x="43" y="3"/>
                    <a:pt x="41" y="4"/>
                  </a:cubicBezTo>
                  <a:cubicBezTo>
                    <a:pt x="40" y="4"/>
                    <a:pt x="40" y="6"/>
                    <a:pt x="38" y="7"/>
                  </a:cubicBezTo>
                  <a:cubicBezTo>
                    <a:pt x="37" y="8"/>
                    <a:pt x="36" y="8"/>
                    <a:pt x="35" y="8"/>
                  </a:cubicBezTo>
                  <a:cubicBezTo>
                    <a:pt x="34" y="7"/>
                    <a:pt x="36" y="6"/>
                    <a:pt x="35" y="5"/>
                  </a:cubicBezTo>
                  <a:cubicBezTo>
                    <a:pt x="34" y="3"/>
                    <a:pt x="33" y="1"/>
                    <a:pt x="31" y="0"/>
                  </a:cubicBezTo>
                  <a:cubicBezTo>
                    <a:pt x="29" y="0"/>
                    <a:pt x="29" y="4"/>
                    <a:pt x="27" y="4"/>
                  </a:cubicBezTo>
                  <a:cubicBezTo>
                    <a:pt x="26" y="4"/>
                    <a:pt x="25" y="3"/>
                    <a:pt x="24" y="2"/>
                  </a:cubicBezTo>
                  <a:cubicBezTo>
                    <a:pt x="23" y="2"/>
                    <a:pt x="21" y="3"/>
                    <a:pt x="20" y="3"/>
                  </a:cubicBezTo>
                  <a:cubicBezTo>
                    <a:pt x="19" y="3"/>
                    <a:pt x="17" y="4"/>
                    <a:pt x="16" y="5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3" y="10"/>
                    <a:pt x="11" y="12"/>
                    <a:pt x="9" y="13"/>
                  </a:cubicBezTo>
                  <a:cubicBezTo>
                    <a:pt x="7" y="14"/>
                    <a:pt x="6" y="12"/>
                    <a:pt x="4" y="13"/>
                  </a:cubicBezTo>
                  <a:cubicBezTo>
                    <a:pt x="3" y="13"/>
                    <a:pt x="2" y="15"/>
                    <a:pt x="1" y="16"/>
                  </a:cubicBezTo>
                  <a:cubicBezTo>
                    <a:pt x="1" y="17"/>
                    <a:pt x="1" y="19"/>
                    <a:pt x="1" y="20"/>
                  </a:cubicBezTo>
                  <a:cubicBezTo>
                    <a:pt x="1" y="21"/>
                    <a:pt x="0" y="23"/>
                    <a:pt x="1" y="24"/>
                  </a:cubicBezTo>
                  <a:cubicBezTo>
                    <a:pt x="1" y="25"/>
                    <a:pt x="3" y="26"/>
                    <a:pt x="4" y="28"/>
                  </a:cubicBezTo>
                  <a:cubicBezTo>
                    <a:pt x="6" y="29"/>
                    <a:pt x="7" y="31"/>
                    <a:pt x="9" y="32"/>
                  </a:cubicBezTo>
                  <a:cubicBezTo>
                    <a:pt x="13" y="33"/>
                    <a:pt x="18" y="33"/>
                    <a:pt x="22" y="33"/>
                  </a:cubicBezTo>
                  <a:cubicBezTo>
                    <a:pt x="23" y="33"/>
                    <a:pt x="24" y="32"/>
                    <a:pt x="24" y="31"/>
                  </a:cubicBezTo>
                  <a:cubicBezTo>
                    <a:pt x="25" y="30"/>
                    <a:pt x="23" y="29"/>
                    <a:pt x="23" y="28"/>
                  </a:cubicBezTo>
                  <a:cubicBezTo>
                    <a:pt x="23" y="27"/>
                    <a:pt x="25" y="28"/>
                    <a:pt x="26" y="28"/>
                  </a:cubicBezTo>
                  <a:cubicBezTo>
                    <a:pt x="28" y="27"/>
                    <a:pt x="30" y="28"/>
                    <a:pt x="32" y="28"/>
                  </a:cubicBezTo>
                  <a:cubicBezTo>
                    <a:pt x="33" y="27"/>
                    <a:pt x="32" y="24"/>
                    <a:pt x="33" y="24"/>
                  </a:cubicBezTo>
                  <a:cubicBezTo>
                    <a:pt x="35" y="24"/>
                    <a:pt x="36" y="26"/>
                    <a:pt x="38" y="26"/>
                  </a:cubicBezTo>
                  <a:cubicBezTo>
                    <a:pt x="39" y="25"/>
                    <a:pt x="41" y="24"/>
                    <a:pt x="42" y="23"/>
                  </a:cubicBezTo>
                  <a:cubicBezTo>
                    <a:pt x="43" y="22"/>
                    <a:pt x="43" y="19"/>
                    <a:pt x="45" y="19"/>
                  </a:cubicBezTo>
                  <a:cubicBezTo>
                    <a:pt x="47" y="18"/>
                    <a:pt x="49" y="19"/>
                    <a:pt x="51" y="19"/>
                  </a:cubicBezTo>
                  <a:cubicBezTo>
                    <a:pt x="53" y="19"/>
                    <a:pt x="54" y="18"/>
                    <a:pt x="55" y="18"/>
                  </a:cubicBezTo>
                  <a:cubicBezTo>
                    <a:pt x="57" y="19"/>
                    <a:pt x="57" y="22"/>
                    <a:pt x="59" y="23"/>
                  </a:cubicBezTo>
                  <a:cubicBezTo>
                    <a:pt x="61" y="23"/>
                    <a:pt x="63" y="22"/>
                    <a:pt x="64" y="2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" name="Freeform 87"/>
            <p:cNvSpPr>
              <a:spLocks noChangeAspect="1"/>
            </p:cNvSpPr>
            <p:nvPr/>
          </p:nvSpPr>
          <p:spPr bwMode="auto">
            <a:xfrm>
              <a:off x="4846638" y="2840038"/>
              <a:ext cx="134937" cy="115887"/>
            </a:xfrm>
            <a:custGeom>
              <a:avLst/>
              <a:gdLst>
                <a:gd name="T0" fmla="*/ 129235 w 71"/>
                <a:gd name="T1" fmla="*/ 47495 h 61"/>
                <a:gd name="T2" fmla="*/ 129235 w 71"/>
                <a:gd name="T3" fmla="*/ 41795 h 61"/>
                <a:gd name="T4" fmla="*/ 127335 w 71"/>
                <a:gd name="T5" fmla="*/ 30397 h 61"/>
                <a:gd name="T6" fmla="*/ 119733 w 71"/>
                <a:gd name="T7" fmla="*/ 22797 h 61"/>
                <a:gd name="T8" fmla="*/ 100728 w 71"/>
                <a:gd name="T9" fmla="*/ 24697 h 61"/>
                <a:gd name="T10" fmla="*/ 81722 w 71"/>
                <a:gd name="T11" fmla="*/ 13299 h 61"/>
                <a:gd name="T12" fmla="*/ 77921 w 71"/>
                <a:gd name="T13" fmla="*/ 7599 h 61"/>
                <a:gd name="T14" fmla="*/ 68419 w 71"/>
                <a:gd name="T15" fmla="*/ 1900 h 61"/>
                <a:gd name="T16" fmla="*/ 62717 w 71"/>
                <a:gd name="T17" fmla="*/ 5699 h 61"/>
                <a:gd name="T18" fmla="*/ 49414 w 71"/>
                <a:gd name="T19" fmla="*/ 24697 h 61"/>
                <a:gd name="T20" fmla="*/ 41811 w 71"/>
                <a:gd name="T21" fmla="*/ 37996 h 61"/>
                <a:gd name="T22" fmla="*/ 28508 w 71"/>
                <a:gd name="T23" fmla="*/ 36096 h 61"/>
                <a:gd name="T24" fmla="*/ 19005 w 71"/>
                <a:gd name="T25" fmla="*/ 36096 h 61"/>
                <a:gd name="T26" fmla="*/ 9503 w 71"/>
                <a:gd name="T27" fmla="*/ 37996 h 61"/>
                <a:gd name="T28" fmla="*/ 0 w 71"/>
                <a:gd name="T29" fmla="*/ 36096 h 61"/>
                <a:gd name="T30" fmla="*/ 11403 w 71"/>
                <a:gd name="T31" fmla="*/ 58893 h 61"/>
                <a:gd name="T32" fmla="*/ 19005 w 71"/>
                <a:gd name="T33" fmla="*/ 39896 h 61"/>
                <a:gd name="T34" fmla="*/ 32309 w 71"/>
                <a:gd name="T35" fmla="*/ 49394 h 61"/>
                <a:gd name="T36" fmla="*/ 38010 w 71"/>
                <a:gd name="T37" fmla="*/ 66493 h 61"/>
                <a:gd name="T38" fmla="*/ 43712 w 71"/>
                <a:gd name="T39" fmla="*/ 81691 h 61"/>
                <a:gd name="T40" fmla="*/ 57016 w 71"/>
                <a:gd name="T41" fmla="*/ 93090 h 61"/>
                <a:gd name="T42" fmla="*/ 72220 w 71"/>
                <a:gd name="T43" fmla="*/ 100689 h 61"/>
                <a:gd name="T44" fmla="*/ 98827 w 71"/>
                <a:gd name="T45" fmla="*/ 115887 h 61"/>
                <a:gd name="T46" fmla="*/ 83623 w 71"/>
                <a:gd name="T47" fmla="*/ 96889 h 61"/>
                <a:gd name="T48" fmla="*/ 66518 w 71"/>
                <a:gd name="T49" fmla="*/ 77891 h 61"/>
                <a:gd name="T50" fmla="*/ 57016 w 71"/>
                <a:gd name="T51" fmla="*/ 58893 h 61"/>
                <a:gd name="T52" fmla="*/ 53215 w 71"/>
                <a:gd name="T53" fmla="*/ 47495 h 61"/>
                <a:gd name="T54" fmla="*/ 66518 w 71"/>
                <a:gd name="T55" fmla="*/ 51294 h 61"/>
                <a:gd name="T56" fmla="*/ 74120 w 71"/>
                <a:gd name="T57" fmla="*/ 43695 h 61"/>
                <a:gd name="T58" fmla="*/ 87424 w 71"/>
                <a:gd name="T59" fmla="*/ 45595 h 61"/>
                <a:gd name="T60" fmla="*/ 100728 w 71"/>
                <a:gd name="T61" fmla="*/ 51294 h 61"/>
                <a:gd name="T62" fmla="*/ 117832 w 71"/>
                <a:gd name="T63" fmla="*/ 49394 h 61"/>
                <a:gd name="T64" fmla="*/ 125434 w 71"/>
                <a:gd name="T65" fmla="*/ 56994 h 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1"/>
                <a:gd name="T100" fmla="*/ 0 h 61"/>
                <a:gd name="T101" fmla="*/ 71 w 71"/>
                <a:gd name="T102" fmla="*/ 61 h 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1" h="61">
                  <a:moveTo>
                    <a:pt x="69" y="29"/>
                  </a:moveTo>
                  <a:cubicBezTo>
                    <a:pt x="69" y="28"/>
                    <a:pt x="68" y="27"/>
                    <a:pt x="68" y="25"/>
                  </a:cubicBezTo>
                  <a:cubicBezTo>
                    <a:pt x="69" y="24"/>
                    <a:pt x="71" y="25"/>
                    <a:pt x="71" y="23"/>
                  </a:cubicBezTo>
                  <a:cubicBezTo>
                    <a:pt x="71" y="22"/>
                    <a:pt x="69" y="23"/>
                    <a:pt x="68" y="22"/>
                  </a:cubicBezTo>
                  <a:cubicBezTo>
                    <a:pt x="67" y="21"/>
                    <a:pt x="67" y="20"/>
                    <a:pt x="67" y="19"/>
                  </a:cubicBezTo>
                  <a:cubicBezTo>
                    <a:pt x="67" y="18"/>
                    <a:pt x="67" y="17"/>
                    <a:pt x="67" y="16"/>
                  </a:cubicBezTo>
                  <a:cubicBezTo>
                    <a:pt x="67" y="14"/>
                    <a:pt x="66" y="13"/>
                    <a:pt x="65" y="12"/>
                  </a:cubicBezTo>
                  <a:cubicBezTo>
                    <a:pt x="64" y="12"/>
                    <a:pt x="63" y="11"/>
                    <a:pt x="63" y="12"/>
                  </a:cubicBezTo>
                  <a:cubicBezTo>
                    <a:pt x="62" y="12"/>
                    <a:pt x="61" y="14"/>
                    <a:pt x="60" y="14"/>
                  </a:cubicBezTo>
                  <a:cubicBezTo>
                    <a:pt x="58" y="14"/>
                    <a:pt x="55" y="14"/>
                    <a:pt x="53" y="13"/>
                  </a:cubicBezTo>
                  <a:cubicBezTo>
                    <a:pt x="51" y="13"/>
                    <a:pt x="48" y="12"/>
                    <a:pt x="46" y="11"/>
                  </a:cubicBezTo>
                  <a:cubicBezTo>
                    <a:pt x="45" y="10"/>
                    <a:pt x="45" y="8"/>
                    <a:pt x="43" y="7"/>
                  </a:cubicBezTo>
                  <a:cubicBezTo>
                    <a:pt x="43" y="7"/>
                    <a:pt x="42" y="7"/>
                    <a:pt x="42" y="7"/>
                  </a:cubicBezTo>
                  <a:cubicBezTo>
                    <a:pt x="41" y="6"/>
                    <a:pt x="42" y="4"/>
                    <a:pt x="41" y="4"/>
                  </a:cubicBezTo>
                  <a:cubicBezTo>
                    <a:pt x="40" y="3"/>
                    <a:pt x="39" y="4"/>
                    <a:pt x="38" y="4"/>
                  </a:cubicBezTo>
                  <a:cubicBezTo>
                    <a:pt x="37" y="3"/>
                    <a:pt x="37" y="2"/>
                    <a:pt x="36" y="1"/>
                  </a:cubicBezTo>
                  <a:cubicBezTo>
                    <a:pt x="35" y="1"/>
                    <a:pt x="34" y="0"/>
                    <a:pt x="33" y="0"/>
                  </a:cubicBezTo>
                  <a:cubicBezTo>
                    <a:pt x="32" y="1"/>
                    <a:pt x="34" y="3"/>
                    <a:pt x="33" y="3"/>
                  </a:cubicBezTo>
                  <a:cubicBezTo>
                    <a:pt x="31" y="5"/>
                    <a:pt x="27" y="4"/>
                    <a:pt x="26" y="6"/>
                  </a:cubicBezTo>
                  <a:cubicBezTo>
                    <a:pt x="25" y="8"/>
                    <a:pt x="27" y="11"/>
                    <a:pt x="26" y="13"/>
                  </a:cubicBezTo>
                  <a:cubicBezTo>
                    <a:pt x="26" y="14"/>
                    <a:pt x="23" y="12"/>
                    <a:pt x="22" y="13"/>
                  </a:cubicBezTo>
                  <a:cubicBezTo>
                    <a:pt x="21" y="15"/>
                    <a:pt x="23" y="18"/>
                    <a:pt x="22" y="20"/>
                  </a:cubicBezTo>
                  <a:cubicBezTo>
                    <a:pt x="21" y="21"/>
                    <a:pt x="20" y="20"/>
                    <a:pt x="18" y="19"/>
                  </a:cubicBezTo>
                  <a:cubicBezTo>
                    <a:pt x="17" y="19"/>
                    <a:pt x="16" y="19"/>
                    <a:pt x="15" y="19"/>
                  </a:cubicBezTo>
                  <a:cubicBezTo>
                    <a:pt x="14" y="18"/>
                    <a:pt x="14" y="17"/>
                    <a:pt x="13" y="17"/>
                  </a:cubicBezTo>
                  <a:cubicBezTo>
                    <a:pt x="12" y="17"/>
                    <a:pt x="11" y="19"/>
                    <a:pt x="10" y="19"/>
                  </a:cubicBezTo>
                  <a:cubicBezTo>
                    <a:pt x="9" y="19"/>
                    <a:pt x="8" y="18"/>
                    <a:pt x="7" y="18"/>
                  </a:cubicBezTo>
                  <a:cubicBezTo>
                    <a:pt x="6" y="19"/>
                    <a:pt x="6" y="19"/>
                    <a:pt x="5" y="20"/>
                  </a:cubicBezTo>
                  <a:cubicBezTo>
                    <a:pt x="4" y="20"/>
                    <a:pt x="3" y="20"/>
                    <a:pt x="2" y="20"/>
                  </a:cubicBezTo>
                  <a:cubicBezTo>
                    <a:pt x="1" y="19"/>
                    <a:pt x="0" y="18"/>
                    <a:pt x="0" y="19"/>
                  </a:cubicBezTo>
                  <a:cubicBezTo>
                    <a:pt x="0" y="21"/>
                    <a:pt x="1" y="23"/>
                    <a:pt x="2" y="26"/>
                  </a:cubicBezTo>
                  <a:cubicBezTo>
                    <a:pt x="3" y="28"/>
                    <a:pt x="3" y="31"/>
                    <a:pt x="6" y="31"/>
                  </a:cubicBezTo>
                  <a:cubicBezTo>
                    <a:pt x="7" y="31"/>
                    <a:pt x="7" y="28"/>
                    <a:pt x="8" y="26"/>
                  </a:cubicBezTo>
                  <a:cubicBezTo>
                    <a:pt x="9" y="24"/>
                    <a:pt x="9" y="22"/>
                    <a:pt x="10" y="21"/>
                  </a:cubicBezTo>
                  <a:cubicBezTo>
                    <a:pt x="11" y="21"/>
                    <a:pt x="13" y="21"/>
                    <a:pt x="13" y="22"/>
                  </a:cubicBezTo>
                  <a:cubicBezTo>
                    <a:pt x="15" y="23"/>
                    <a:pt x="16" y="24"/>
                    <a:pt x="17" y="26"/>
                  </a:cubicBezTo>
                  <a:cubicBezTo>
                    <a:pt x="17" y="28"/>
                    <a:pt x="17" y="29"/>
                    <a:pt x="17" y="31"/>
                  </a:cubicBezTo>
                  <a:cubicBezTo>
                    <a:pt x="18" y="33"/>
                    <a:pt x="19" y="34"/>
                    <a:pt x="20" y="35"/>
                  </a:cubicBezTo>
                  <a:cubicBezTo>
                    <a:pt x="21" y="37"/>
                    <a:pt x="25" y="38"/>
                    <a:pt x="25" y="39"/>
                  </a:cubicBezTo>
                  <a:cubicBezTo>
                    <a:pt x="26" y="40"/>
                    <a:pt x="22" y="42"/>
                    <a:pt x="23" y="43"/>
                  </a:cubicBezTo>
                  <a:cubicBezTo>
                    <a:pt x="24" y="44"/>
                    <a:pt x="26" y="45"/>
                    <a:pt x="27" y="47"/>
                  </a:cubicBezTo>
                  <a:cubicBezTo>
                    <a:pt x="28" y="48"/>
                    <a:pt x="29" y="48"/>
                    <a:pt x="30" y="49"/>
                  </a:cubicBezTo>
                  <a:cubicBezTo>
                    <a:pt x="31" y="50"/>
                    <a:pt x="31" y="52"/>
                    <a:pt x="33" y="53"/>
                  </a:cubicBezTo>
                  <a:cubicBezTo>
                    <a:pt x="34" y="54"/>
                    <a:pt x="37" y="52"/>
                    <a:pt x="38" y="53"/>
                  </a:cubicBezTo>
                  <a:cubicBezTo>
                    <a:pt x="41" y="53"/>
                    <a:pt x="43" y="55"/>
                    <a:pt x="44" y="56"/>
                  </a:cubicBezTo>
                  <a:cubicBezTo>
                    <a:pt x="47" y="57"/>
                    <a:pt x="50" y="59"/>
                    <a:pt x="52" y="61"/>
                  </a:cubicBezTo>
                  <a:cubicBezTo>
                    <a:pt x="51" y="60"/>
                    <a:pt x="50" y="58"/>
                    <a:pt x="49" y="57"/>
                  </a:cubicBezTo>
                  <a:cubicBezTo>
                    <a:pt x="47" y="55"/>
                    <a:pt x="45" y="53"/>
                    <a:pt x="44" y="51"/>
                  </a:cubicBezTo>
                  <a:cubicBezTo>
                    <a:pt x="42" y="49"/>
                    <a:pt x="40" y="47"/>
                    <a:pt x="39" y="45"/>
                  </a:cubicBezTo>
                  <a:cubicBezTo>
                    <a:pt x="37" y="43"/>
                    <a:pt x="36" y="43"/>
                    <a:pt x="35" y="41"/>
                  </a:cubicBezTo>
                  <a:cubicBezTo>
                    <a:pt x="34" y="40"/>
                    <a:pt x="34" y="38"/>
                    <a:pt x="33" y="36"/>
                  </a:cubicBezTo>
                  <a:cubicBezTo>
                    <a:pt x="32" y="34"/>
                    <a:pt x="31" y="33"/>
                    <a:pt x="30" y="31"/>
                  </a:cubicBezTo>
                  <a:cubicBezTo>
                    <a:pt x="29" y="31"/>
                    <a:pt x="28" y="32"/>
                    <a:pt x="28" y="31"/>
                  </a:cubicBezTo>
                  <a:cubicBezTo>
                    <a:pt x="27" y="30"/>
                    <a:pt x="27" y="27"/>
                    <a:pt x="28" y="25"/>
                  </a:cubicBezTo>
                  <a:cubicBezTo>
                    <a:pt x="28" y="25"/>
                    <a:pt x="29" y="23"/>
                    <a:pt x="30" y="24"/>
                  </a:cubicBezTo>
                  <a:cubicBezTo>
                    <a:pt x="32" y="24"/>
                    <a:pt x="33" y="27"/>
                    <a:pt x="35" y="27"/>
                  </a:cubicBezTo>
                  <a:cubicBezTo>
                    <a:pt x="36" y="28"/>
                    <a:pt x="36" y="25"/>
                    <a:pt x="37" y="25"/>
                  </a:cubicBezTo>
                  <a:cubicBezTo>
                    <a:pt x="37" y="24"/>
                    <a:pt x="38" y="23"/>
                    <a:pt x="39" y="23"/>
                  </a:cubicBezTo>
                  <a:cubicBezTo>
                    <a:pt x="40" y="23"/>
                    <a:pt x="40" y="25"/>
                    <a:pt x="41" y="25"/>
                  </a:cubicBezTo>
                  <a:cubicBezTo>
                    <a:pt x="43" y="25"/>
                    <a:pt x="44" y="24"/>
                    <a:pt x="46" y="24"/>
                  </a:cubicBezTo>
                  <a:cubicBezTo>
                    <a:pt x="48" y="24"/>
                    <a:pt x="51" y="24"/>
                    <a:pt x="53" y="25"/>
                  </a:cubicBezTo>
                  <a:cubicBezTo>
                    <a:pt x="53" y="25"/>
                    <a:pt x="53" y="27"/>
                    <a:pt x="53" y="27"/>
                  </a:cubicBezTo>
                  <a:cubicBezTo>
                    <a:pt x="54" y="27"/>
                    <a:pt x="54" y="26"/>
                    <a:pt x="55" y="26"/>
                  </a:cubicBezTo>
                  <a:cubicBezTo>
                    <a:pt x="57" y="25"/>
                    <a:pt x="60" y="26"/>
                    <a:pt x="62" y="26"/>
                  </a:cubicBezTo>
                  <a:cubicBezTo>
                    <a:pt x="63" y="26"/>
                    <a:pt x="64" y="26"/>
                    <a:pt x="65" y="27"/>
                  </a:cubicBezTo>
                  <a:cubicBezTo>
                    <a:pt x="66" y="28"/>
                    <a:pt x="65" y="29"/>
                    <a:pt x="66" y="30"/>
                  </a:cubicBezTo>
                  <a:cubicBezTo>
                    <a:pt x="67" y="31"/>
                    <a:pt x="68" y="29"/>
                    <a:pt x="69" y="2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" name="Freeform 88"/>
            <p:cNvSpPr>
              <a:spLocks noChangeAspect="1"/>
            </p:cNvSpPr>
            <p:nvPr/>
          </p:nvSpPr>
          <p:spPr bwMode="auto">
            <a:xfrm>
              <a:off x="4897438" y="2882900"/>
              <a:ext cx="93662" cy="88900"/>
            </a:xfrm>
            <a:custGeom>
              <a:avLst/>
              <a:gdLst>
                <a:gd name="T0" fmla="*/ 47787 w 49"/>
                <a:gd name="T1" fmla="*/ 73439 h 46"/>
                <a:gd name="T2" fmla="*/ 42052 w 49"/>
                <a:gd name="T3" fmla="*/ 65709 h 46"/>
                <a:gd name="T4" fmla="*/ 32495 w 49"/>
                <a:gd name="T5" fmla="*/ 54113 h 46"/>
                <a:gd name="T6" fmla="*/ 22938 w 49"/>
                <a:gd name="T7" fmla="*/ 42517 h 46"/>
                <a:gd name="T8" fmla="*/ 15292 w 49"/>
                <a:gd name="T9" fmla="*/ 34787 h 46"/>
                <a:gd name="T10" fmla="*/ 11469 w 49"/>
                <a:gd name="T11" fmla="*/ 25124 h 46"/>
                <a:gd name="T12" fmla="*/ 5734 w 49"/>
                <a:gd name="T13" fmla="*/ 15461 h 46"/>
                <a:gd name="T14" fmla="*/ 1911 w 49"/>
                <a:gd name="T15" fmla="*/ 15461 h 46"/>
                <a:gd name="T16" fmla="*/ 1911 w 49"/>
                <a:gd name="T17" fmla="*/ 3865 h 46"/>
                <a:gd name="T18" fmla="*/ 5734 w 49"/>
                <a:gd name="T19" fmla="*/ 1933 h 46"/>
                <a:gd name="T20" fmla="*/ 15292 w 49"/>
                <a:gd name="T21" fmla="*/ 7730 h 46"/>
                <a:gd name="T22" fmla="*/ 19115 w 49"/>
                <a:gd name="T23" fmla="*/ 3865 h 46"/>
                <a:gd name="T24" fmla="*/ 22938 w 49"/>
                <a:gd name="T25" fmla="*/ 0 h 46"/>
                <a:gd name="T26" fmla="*/ 26761 w 49"/>
                <a:gd name="T27" fmla="*/ 3865 h 46"/>
                <a:gd name="T28" fmla="*/ 36318 w 49"/>
                <a:gd name="T29" fmla="*/ 1933 h 46"/>
                <a:gd name="T30" fmla="*/ 49698 w 49"/>
                <a:gd name="T31" fmla="*/ 3865 h 46"/>
                <a:gd name="T32" fmla="*/ 49698 w 49"/>
                <a:gd name="T33" fmla="*/ 7730 h 46"/>
                <a:gd name="T34" fmla="*/ 53521 w 49"/>
                <a:gd name="T35" fmla="*/ 5798 h 46"/>
                <a:gd name="T36" fmla="*/ 66901 w 49"/>
                <a:gd name="T37" fmla="*/ 5798 h 46"/>
                <a:gd name="T38" fmla="*/ 72636 w 49"/>
                <a:gd name="T39" fmla="*/ 7730 h 46"/>
                <a:gd name="T40" fmla="*/ 74547 w 49"/>
                <a:gd name="T41" fmla="*/ 13528 h 46"/>
                <a:gd name="T42" fmla="*/ 80282 w 49"/>
                <a:gd name="T43" fmla="*/ 11596 h 46"/>
                <a:gd name="T44" fmla="*/ 86016 w 49"/>
                <a:gd name="T45" fmla="*/ 11596 h 46"/>
                <a:gd name="T46" fmla="*/ 80282 w 49"/>
                <a:gd name="T47" fmla="*/ 28989 h 46"/>
                <a:gd name="T48" fmla="*/ 91751 w 49"/>
                <a:gd name="T49" fmla="*/ 40585 h 46"/>
                <a:gd name="T50" fmla="*/ 84105 w 49"/>
                <a:gd name="T51" fmla="*/ 40585 h 46"/>
                <a:gd name="T52" fmla="*/ 91751 w 49"/>
                <a:gd name="T53" fmla="*/ 54113 h 46"/>
                <a:gd name="T54" fmla="*/ 84105 w 49"/>
                <a:gd name="T55" fmla="*/ 54113 h 46"/>
                <a:gd name="T56" fmla="*/ 78370 w 49"/>
                <a:gd name="T57" fmla="*/ 56046 h 46"/>
                <a:gd name="T58" fmla="*/ 78370 w 49"/>
                <a:gd name="T59" fmla="*/ 63776 h 46"/>
                <a:gd name="T60" fmla="*/ 70724 w 49"/>
                <a:gd name="T61" fmla="*/ 71507 h 46"/>
                <a:gd name="T62" fmla="*/ 64990 w 49"/>
                <a:gd name="T63" fmla="*/ 77304 h 46"/>
                <a:gd name="T64" fmla="*/ 66901 w 49"/>
                <a:gd name="T65" fmla="*/ 88900 h 46"/>
                <a:gd name="T66" fmla="*/ 53521 w 49"/>
                <a:gd name="T67" fmla="*/ 77304 h 46"/>
                <a:gd name="T68" fmla="*/ 47787 w 49"/>
                <a:gd name="T69" fmla="*/ 73439 h 4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9"/>
                <a:gd name="T106" fmla="*/ 0 h 46"/>
                <a:gd name="T107" fmla="*/ 49 w 49"/>
                <a:gd name="T108" fmla="*/ 46 h 4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9" h="46">
                  <a:moveTo>
                    <a:pt x="25" y="38"/>
                  </a:moveTo>
                  <a:cubicBezTo>
                    <a:pt x="24" y="37"/>
                    <a:pt x="23" y="35"/>
                    <a:pt x="22" y="34"/>
                  </a:cubicBezTo>
                  <a:cubicBezTo>
                    <a:pt x="20" y="32"/>
                    <a:pt x="18" y="30"/>
                    <a:pt x="17" y="28"/>
                  </a:cubicBezTo>
                  <a:cubicBezTo>
                    <a:pt x="15" y="26"/>
                    <a:pt x="13" y="24"/>
                    <a:pt x="12" y="22"/>
                  </a:cubicBezTo>
                  <a:cubicBezTo>
                    <a:pt x="10" y="20"/>
                    <a:pt x="9" y="20"/>
                    <a:pt x="8" y="18"/>
                  </a:cubicBezTo>
                  <a:cubicBezTo>
                    <a:pt x="7" y="17"/>
                    <a:pt x="7" y="15"/>
                    <a:pt x="6" y="13"/>
                  </a:cubicBezTo>
                  <a:cubicBezTo>
                    <a:pt x="5" y="11"/>
                    <a:pt x="4" y="10"/>
                    <a:pt x="3" y="8"/>
                  </a:cubicBezTo>
                  <a:cubicBezTo>
                    <a:pt x="2" y="8"/>
                    <a:pt x="1" y="9"/>
                    <a:pt x="1" y="8"/>
                  </a:cubicBezTo>
                  <a:cubicBezTo>
                    <a:pt x="0" y="7"/>
                    <a:pt x="0" y="4"/>
                    <a:pt x="1" y="2"/>
                  </a:cubicBezTo>
                  <a:cubicBezTo>
                    <a:pt x="1" y="2"/>
                    <a:pt x="2" y="0"/>
                    <a:pt x="3" y="1"/>
                  </a:cubicBezTo>
                  <a:cubicBezTo>
                    <a:pt x="5" y="1"/>
                    <a:pt x="6" y="4"/>
                    <a:pt x="8" y="4"/>
                  </a:cubicBezTo>
                  <a:cubicBezTo>
                    <a:pt x="9" y="5"/>
                    <a:pt x="9" y="2"/>
                    <a:pt x="10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3" y="2"/>
                    <a:pt x="14" y="2"/>
                  </a:cubicBezTo>
                  <a:cubicBezTo>
                    <a:pt x="16" y="2"/>
                    <a:pt x="17" y="1"/>
                    <a:pt x="19" y="1"/>
                  </a:cubicBezTo>
                  <a:cubicBezTo>
                    <a:pt x="21" y="1"/>
                    <a:pt x="24" y="1"/>
                    <a:pt x="26" y="2"/>
                  </a:cubicBezTo>
                  <a:cubicBezTo>
                    <a:pt x="26" y="2"/>
                    <a:pt x="26" y="4"/>
                    <a:pt x="26" y="4"/>
                  </a:cubicBezTo>
                  <a:cubicBezTo>
                    <a:pt x="27" y="4"/>
                    <a:pt x="27" y="3"/>
                    <a:pt x="28" y="3"/>
                  </a:cubicBezTo>
                  <a:cubicBezTo>
                    <a:pt x="30" y="2"/>
                    <a:pt x="33" y="3"/>
                    <a:pt x="35" y="3"/>
                  </a:cubicBezTo>
                  <a:cubicBezTo>
                    <a:pt x="36" y="3"/>
                    <a:pt x="37" y="3"/>
                    <a:pt x="38" y="4"/>
                  </a:cubicBezTo>
                  <a:cubicBezTo>
                    <a:pt x="39" y="5"/>
                    <a:pt x="38" y="6"/>
                    <a:pt x="39" y="7"/>
                  </a:cubicBezTo>
                  <a:cubicBezTo>
                    <a:pt x="40" y="8"/>
                    <a:pt x="41" y="6"/>
                    <a:pt x="42" y="6"/>
                  </a:cubicBezTo>
                  <a:cubicBezTo>
                    <a:pt x="43" y="6"/>
                    <a:pt x="45" y="5"/>
                    <a:pt x="45" y="6"/>
                  </a:cubicBezTo>
                  <a:cubicBezTo>
                    <a:pt x="45" y="9"/>
                    <a:pt x="41" y="12"/>
                    <a:pt x="42" y="15"/>
                  </a:cubicBezTo>
                  <a:cubicBezTo>
                    <a:pt x="43" y="18"/>
                    <a:pt x="47" y="18"/>
                    <a:pt x="48" y="21"/>
                  </a:cubicBezTo>
                  <a:cubicBezTo>
                    <a:pt x="49" y="22"/>
                    <a:pt x="44" y="20"/>
                    <a:pt x="44" y="21"/>
                  </a:cubicBezTo>
                  <a:cubicBezTo>
                    <a:pt x="44" y="24"/>
                    <a:pt x="48" y="25"/>
                    <a:pt x="48" y="28"/>
                  </a:cubicBezTo>
                  <a:cubicBezTo>
                    <a:pt x="48" y="30"/>
                    <a:pt x="45" y="28"/>
                    <a:pt x="44" y="28"/>
                  </a:cubicBezTo>
                  <a:cubicBezTo>
                    <a:pt x="42" y="28"/>
                    <a:pt x="41" y="29"/>
                    <a:pt x="41" y="29"/>
                  </a:cubicBezTo>
                  <a:cubicBezTo>
                    <a:pt x="40" y="30"/>
                    <a:pt x="42" y="32"/>
                    <a:pt x="41" y="33"/>
                  </a:cubicBezTo>
                  <a:cubicBezTo>
                    <a:pt x="38" y="33"/>
                    <a:pt x="37" y="35"/>
                    <a:pt x="37" y="37"/>
                  </a:cubicBezTo>
                  <a:cubicBezTo>
                    <a:pt x="37" y="38"/>
                    <a:pt x="35" y="39"/>
                    <a:pt x="34" y="40"/>
                  </a:cubicBezTo>
                  <a:cubicBezTo>
                    <a:pt x="34" y="42"/>
                    <a:pt x="35" y="44"/>
                    <a:pt x="35" y="46"/>
                  </a:cubicBezTo>
                  <a:cubicBezTo>
                    <a:pt x="33" y="44"/>
                    <a:pt x="30" y="42"/>
                    <a:pt x="28" y="40"/>
                  </a:cubicBezTo>
                  <a:cubicBezTo>
                    <a:pt x="27" y="40"/>
                    <a:pt x="26" y="39"/>
                    <a:pt x="25" y="3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" name="Freeform 89"/>
            <p:cNvSpPr>
              <a:spLocks noChangeAspect="1"/>
            </p:cNvSpPr>
            <p:nvPr/>
          </p:nvSpPr>
          <p:spPr bwMode="auto">
            <a:xfrm>
              <a:off x="4962525" y="2851150"/>
              <a:ext cx="104775" cy="141288"/>
            </a:xfrm>
            <a:custGeom>
              <a:avLst/>
              <a:gdLst>
                <a:gd name="T0" fmla="*/ 40005 w 55"/>
                <a:gd name="T1" fmla="*/ 1909 h 74"/>
                <a:gd name="T2" fmla="*/ 45720 w 55"/>
                <a:gd name="T3" fmla="*/ 11456 h 74"/>
                <a:gd name="T4" fmla="*/ 51435 w 55"/>
                <a:gd name="T5" fmla="*/ 19093 h 74"/>
                <a:gd name="T6" fmla="*/ 55245 w 55"/>
                <a:gd name="T7" fmla="*/ 28639 h 74"/>
                <a:gd name="T8" fmla="*/ 68580 w 55"/>
                <a:gd name="T9" fmla="*/ 36277 h 74"/>
                <a:gd name="T10" fmla="*/ 68580 w 55"/>
                <a:gd name="T11" fmla="*/ 47732 h 74"/>
                <a:gd name="T12" fmla="*/ 80010 w 55"/>
                <a:gd name="T13" fmla="*/ 53460 h 74"/>
                <a:gd name="T14" fmla="*/ 87630 w 55"/>
                <a:gd name="T15" fmla="*/ 57279 h 74"/>
                <a:gd name="T16" fmla="*/ 89535 w 55"/>
                <a:gd name="T17" fmla="*/ 51551 h 74"/>
                <a:gd name="T18" fmla="*/ 95250 w 55"/>
                <a:gd name="T19" fmla="*/ 55370 h 74"/>
                <a:gd name="T20" fmla="*/ 91440 w 55"/>
                <a:gd name="T21" fmla="*/ 59188 h 74"/>
                <a:gd name="T22" fmla="*/ 93345 w 55"/>
                <a:gd name="T23" fmla="*/ 63007 h 74"/>
                <a:gd name="T24" fmla="*/ 87630 w 55"/>
                <a:gd name="T25" fmla="*/ 72553 h 74"/>
                <a:gd name="T26" fmla="*/ 87630 w 55"/>
                <a:gd name="T27" fmla="*/ 87828 h 74"/>
                <a:gd name="T28" fmla="*/ 97155 w 55"/>
                <a:gd name="T29" fmla="*/ 97374 h 74"/>
                <a:gd name="T30" fmla="*/ 102870 w 55"/>
                <a:gd name="T31" fmla="*/ 103102 h 74"/>
                <a:gd name="T32" fmla="*/ 91440 w 55"/>
                <a:gd name="T33" fmla="*/ 108830 h 74"/>
                <a:gd name="T34" fmla="*/ 91440 w 55"/>
                <a:gd name="T35" fmla="*/ 124104 h 74"/>
                <a:gd name="T36" fmla="*/ 85725 w 55"/>
                <a:gd name="T37" fmla="*/ 127923 h 74"/>
                <a:gd name="T38" fmla="*/ 72390 w 55"/>
                <a:gd name="T39" fmla="*/ 126014 h 74"/>
                <a:gd name="T40" fmla="*/ 66675 w 55"/>
                <a:gd name="T41" fmla="*/ 131742 h 74"/>
                <a:gd name="T42" fmla="*/ 60960 w 55"/>
                <a:gd name="T43" fmla="*/ 129832 h 74"/>
                <a:gd name="T44" fmla="*/ 55245 w 55"/>
                <a:gd name="T45" fmla="*/ 135560 h 74"/>
                <a:gd name="T46" fmla="*/ 55245 w 55"/>
                <a:gd name="T47" fmla="*/ 141288 h 74"/>
                <a:gd name="T48" fmla="*/ 51435 w 55"/>
                <a:gd name="T49" fmla="*/ 141288 h 74"/>
                <a:gd name="T50" fmla="*/ 51435 w 55"/>
                <a:gd name="T51" fmla="*/ 129832 h 74"/>
                <a:gd name="T52" fmla="*/ 43815 w 55"/>
                <a:gd name="T53" fmla="*/ 122195 h 74"/>
                <a:gd name="T54" fmla="*/ 34290 w 55"/>
                <a:gd name="T55" fmla="*/ 118376 h 74"/>
                <a:gd name="T56" fmla="*/ 28575 w 55"/>
                <a:gd name="T57" fmla="*/ 118376 h 74"/>
                <a:gd name="T58" fmla="*/ 24765 w 55"/>
                <a:gd name="T59" fmla="*/ 126014 h 74"/>
                <a:gd name="T60" fmla="*/ 17145 w 55"/>
                <a:gd name="T61" fmla="*/ 127923 h 74"/>
                <a:gd name="T62" fmla="*/ 24765 w 55"/>
                <a:gd name="T63" fmla="*/ 133651 h 74"/>
                <a:gd name="T64" fmla="*/ 24765 w 55"/>
                <a:gd name="T65" fmla="*/ 141288 h 74"/>
                <a:gd name="T66" fmla="*/ 13335 w 55"/>
                <a:gd name="T67" fmla="*/ 129832 h 74"/>
                <a:gd name="T68" fmla="*/ 5715 w 55"/>
                <a:gd name="T69" fmla="*/ 126014 h 74"/>
                <a:gd name="T70" fmla="*/ 9525 w 55"/>
                <a:gd name="T71" fmla="*/ 122195 h 74"/>
                <a:gd name="T72" fmla="*/ 7620 w 55"/>
                <a:gd name="T73" fmla="*/ 120286 h 74"/>
                <a:gd name="T74" fmla="*/ 1905 w 55"/>
                <a:gd name="T75" fmla="*/ 120286 h 74"/>
                <a:gd name="T76" fmla="*/ 0 w 55"/>
                <a:gd name="T77" fmla="*/ 108830 h 74"/>
                <a:gd name="T78" fmla="*/ 5715 w 55"/>
                <a:gd name="T79" fmla="*/ 103102 h 74"/>
                <a:gd name="T80" fmla="*/ 13335 w 55"/>
                <a:gd name="T81" fmla="*/ 95465 h 74"/>
                <a:gd name="T82" fmla="*/ 13335 w 55"/>
                <a:gd name="T83" fmla="*/ 87828 h 74"/>
                <a:gd name="T84" fmla="*/ 19050 w 55"/>
                <a:gd name="T85" fmla="*/ 85918 h 74"/>
                <a:gd name="T86" fmla="*/ 26670 w 55"/>
                <a:gd name="T87" fmla="*/ 85918 h 74"/>
                <a:gd name="T88" fmla="*/ 19050 w 55"/>
                <a:gd name="T89" fmla="*/ 72553 h 74"/>
                <a:gd name="T90" fmla="*/ 26670 w 55"/>
                <a:gd name="T91" fmla="*/ 72553 h 74"/>
                <a:gd name="T92" fmla="*/ 15240 w 55"/>
                <a:gd name="T93" fmla="*/ 61098 h 74"/>
                <a:gd name="T94" fmla="*/ 20955 w 55"/>
                <a:gd name="T95" fmla="*/ 43914 h 74"/>
                <a:gd name="T96" fmla="*/ 15240 w 55"/>
                <a:gd name="T97" fmla="*/ 43914 h 74"/>
                <a:gd name="T98" fmla="*/ 13335 w 55"/>
                <a:gd name="T99" fmla="*/ 36277 h 74"/>
                <a:gd name="T100" fmla="*/ 19050 w 55"/>
                <a:gd name="T101" fmla="*/ 32458 h 74"/>
                <a:gd name="T102" fmla="*/ 13335 w 55"/>
                <a:gd name="T103" fmla="*/ 30549 h 74"/>
                <a:gd name="T104" fmla="*/ 11430 w 55"/>
                <a:gd name="T105" fmla="*/ 24821 h 74"/>
                <a:gd name="T106" fmla="*/ 11430 w 55"/>
                <a:gd name="T107" fmla="*/ 19093 h 74"/>
                <a:gd name="T108" fmla="*/ 7620 w 55"/>
                <a:gd name="T109" fmla="*/ 11456 h 74"/>
                <a:gd name="T110" fmla="*/ 13335 w 55"/>
                <a:gd name="T111" fmla="*/ 5728 h 74"/>
                <a:gd name="T112" fmla="*/ 22860 w 55"/>
                <a:gd name="T113" fmla="*/ 3819 h 74"/>
                <a:gd name="T114" fmla="*/ 28575 w 55"/>
                <a:gd name="T115" fmla="*/ 0 h 74"/>
                <a:gd name="T116" fmla="*/ 40005 w 55"/>
                <a:gd name="T117" fmla="*/ 1909 h 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5"/>
                <a:gd name="T178" fmla="*/ 0 h 74"/>
                <a:gd name="T179" fmla="*/ 55 w 55"/>
                <a:gd name="T180" fmla="*/ 74 h 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55" h="74">
                  <a:moveTo>
                    <a:pt x="21" y="1"/>
                  </a:moveTo>
                  <a:cubicBezTo>
                    <a:pt x="22" y="3"/>
                    <a:pt x="23" y="5"/>
                    <a:pt x="24" y="6"/>
                  </a:cubicBezTo>
                  <a:cubicBezTo>
                    <a:pt x="25" y="8"/>
                    <a:pt x="26" y="8"/>
                    <a:pt x="27" y="10"/>
                  </a:cubicBezTo>
                  <a:cubicBezTo>
                    <a:pt x="28" y="11"/>
                    <a:pt x="28" y="13"/>
                    <a:pt x="29" y="15"/>
                  </a:cubicBezTo>
                  <a:cubicBezTo>
                    <a:pt x="31" y="17"/>
                    <a:pt x="34" y="17"/>
                    <a:pt x="36" y="19"/>
                  </a:cubicBezTo>
                  <a:cubicBezTo>
                    <a:pt x="37" y="20"/>
                    <a:pt x="34" y="23"/>
                    <a:pt x="36" y="25"/>
                  </a:cubicBezTo>
                  <a:cubicBezTo>
                    <a:pt x="37" y="27"/>
                    <a:pt x="40" y="27"/>
                    <a:pt x="42" y="28"/>
                  </a:cubicBezTo>
                  <a:cubicBezTo>
                    <a:pt x="43" y="28"/>
                    <a:pt x="44" y="30"/>
                    <a:pt x="46" y="30"/>
                  </a:cubicBezTo>
                  <a:cubicBezTo>
                    <a:pt x="47" y="30"/>
                    <a:pt x="46" y="27"/>
                    <a:pt x="47" y="27"/>
                  </a:cubicBezTo>
                  <a:cubicBezTo>
                    <a:pt x="49" y="27"/>
                    <a:pt x="50" y="28"/>
                    <a:pt x="50" y="29"/>
                  </a:cubicBezTo>
                  <a:cubicBezTo>
                    <a:pt x="51" y="30"/>
                    <a:pt x="49" y="30"/>
                    <a:pt x="48" y="31"/>
                  </a:cubicBezTo>
                  <a:cubicBezTo>
                    <a:pt x="48" y="32"/>
                    <a:pt x="49" y="32"/>
                    <a:pt x="49" y="33"/>
                  </a:cubicBezTo>
                  <a:cubicBezTo>
                    <a:pt x="48" y="35"/>
                    <a:pt x="46" y="36"/>
                    <a:pt x="46" y="38"/>
                  </a:cubicBezTo>
                  <a:cubicBezTo>
                    <a:pt x="45" y="40"/>
                    <a:pt x="45" y="43"/>
                    <a:pt x="46" y="46"/>
                  </a:cubicBezTo>
                  <a:cubicBezTo>
                    <a:pt x="47" y="48"/>
                    <a:pt x="50" y="49"/>
                    <a:pt x="51" y="51"/>
                  </a:cubicBezTo>
                  <a:cubicBezTo>
                    <a:pt x="52" y="52"/>
                    <a:pt x="55" y="53"/>
                    <a:pt x="54" y="54"/>
                  </a:cubicBezTo>
                  <a:cubicBezTo>
                    <a:pt x="53" y="56"/>
                    <a:pt x="49" y="55"/>
                    <a:pt x="48" y="57"/>
                  </a:cubicBezTo>
                  <a:cubicBezTo>
                    <a:pt x="47" y="60"/>
                    <a:pt x="48" y="63"/>
                    <a:pt x="48" y="65"/>
                  </a:cubicBezTo>
                  <a:cubicBezTo>
                    <a:pt x="47" y="66"/>
                    <a:pt x="46" y="66"/>
                    <a:pt x="45" y="67"/>
                  </a:cubicBezTo>
                  <a:cubicBezTo>
                    <a:pt x="43" y="67"/>
                    <a:pt x="40" y="66"/>
                    <a:pt x="38" y="66"/>
                  </a:cubicBezTo>
                  <a:cubicBezTo>
                    <a:pt x="37" y="67"/>
                    <a:pt x="36" y="69"/>
                    <a:pt x="35" y="69"/>
                  </a:cubicBezTo>
                  <a:cubicBezTo>
                    <a:pt x="34" y="70"/>
                    <a:pt x="33" y="68"/>
                    <a:pt x="32" y="68"/>
                  </a:cubicBezTo>
                  <a:cubicBezTo>
                    <a:pt x="31" y="68"/>
                    <a:pt x="30" y="69"/>
                    <a:pt x="29" y="71"/>
                  </a:cubicBezTo>
                  <a:cubicBezTo>
                    <a:pt x="29" y="71"/>
                    <a:pt x="30" y="73"/>
                    <a:pt x="29" y="74"/>
                  </a:cubicBezTo>
                  <a:cubicBezTo>
                    <a:pt x="29" y="74"/>
                    <a:pt x="28" y="74"/>
                    <a:pt x="27" y="74"/>
                  </a:cubicBezTo>
                  <a:cubicBezTo>
                    <a:pt x="27" y="72"/>
                    <a:pt x="27" y="70"/>
                    <a:pt x="27" y="68"/>
                  </a:cubicBezTo>
                  <a:cubicBezTo>
                    <a:pt x="26" y="66"/>
                    <a:pt x="24" y="65"/>
                    <a:pt x="23" y="64"/>
                  </a:cubicBezTo>
                  <a:cubicBezTo>
                    <a:pt x="21" y="63"/>
                    <a:pt x="20" y="63"/>
                    <a:pt x="18" y="62"/>
                  </a:cubicBezTo>
                  <a:cubicBezTo>
                    <a:pt x="17" y="62"/>
                    <a:pt x="16" y="61"/>
                    <a:pt x="15" y="62"/>
                  </a:cubicBezTo>
                  <a:cubicBezTo>
                    <a:pt x="14" y="63"/>
                    <a:pt x="14" y="65"/>
                    <a:pt x="13" y="66"/>
                  </a:cubicBezTo>
                  <a:cubicBezTo>
                    <a:pt x="11" y="66"/>
                    <a:pt x="8" y="65"/>
                    <a:pt x="9" y="67"/>
                  </a:cubicBezTo>
                  <a:cubicBezTo>
                    <a:pt x="9" y="69"/>
                    <a:pt x="12" y="69"/>
                    <a:pt x="13" y="70"/>
                  </a:cubicBezTo>
                  <a:cubicBezTo>
                    <a:pt x="13" y="71"/>
                    <a:pt x="13" y="73"/>
                    <a:pt x="13" y="74"/>
                  </a:cubicBezTo>
                  <a:cubicBezTo>
                    <a:pt x="11" y="72"/>
                    <a:pt x="9" y="69"/>
                    <a:pt x="7" y="68"/>
                  </a:cubicBezTo>
                  <a:cubicBezTo>
                    <a:pt x="6" y="67"/>
                    <a:pt x="4" y="67"/>
                    <a:pt x="3" y="66"/>
                  </a:cubicBezTo>
                  <a:cubicBezTo>
                    <a:pt x="3" y="65"/>
                    <a:pt x="5" y="65"/>
                    <a:pt x="5" y="64"/>
                  </a:cubicBezTo>
                  <a:cubicBezTo>
                    <a:pt x="5" y="64"/>
                    <a:pt x="5" y="63"/>
                    <a:pt x="4" y="63"/>
                  </a:cubicBezTo>
                  <a:cubicBezTo>
                    <a:pt x="3" y="63"/>
                    <a:pt x="2" y="63"/>
                    <a:pt x="1" y="63"/>
                  </a:cubicBezTo>
                  <a:cubicBezTo>
                    <a:pt x="1" y="61"/>
                    <a:pt x="0" y="59"/>
                    <a:pt x="0" y="57"/>
                  </a:cubicBezTo>
                  <a:cubicBezTo>
                    <a:pt x="1" y="56"/>
                    <a:pt x="3" y="55"/>
                    <a:pt x="3" y="54"/>
                  </a:cubicBezTo>
                  <a:cubicBezTo>
                    <a:pt x="3" y="52"/>
                    <a:pt x="4" y="50"/>
                    <a:pt x="7" y="50"/>
                  </a:cubicBezTo>
                  <a:cubicBezTo>
                    <a:pt x="8" y="49"/>
                    <a:pt x="6" y="47"/>
                    <a:pt x="7" y="46"/>
                  </a:cubicBezTo>
                  <a:cubicBezTo>
                    <a:pt x="7" y="46"/>
                    <a:pt x="8" y="45"/>
                    <a:pt x="10" y="45"/>
                  </a:cubicBezTo>
                  <a:cubicBezTo>
                    <a:pt x="11" y="45"/>
                    <a:pt x="14" y="47"/>
                    <a:pt x="14" y="45"/>
                  </a:cubicBezTo>
                  <a:cubicBezTo>
                    <a:pt x="14" y="42"/>
                    <a:pt x="10" y="41"/>
                    <a:pt x="10" y="38"/>
                  </a:cubicBezTo>
                  <a:cubicBezTo>
                    <a:pt x="10" y="37"/>
                    <a:pt x="15" y="39"/>
                    <a:pt x="14" y="38"/>
                  </a:cubicBezTo>
                  <a:cubicBezTo>
                    <a:pt x="13" y="35"/>
                    <a:pt x="9" y="35"/>
                    <a:pt x="8" y="32"/>
                  </a:cubicBezTo>
                  <a:cubicBezTo>
                    <a:pt x="7" y="29"/>
                    <a:pt x="11" y="26"/>
                    <a:pt x="11" y="23"/>
                  </a:cubicBezTo>
                  <a:cubicBezTo>
                    <a:pt x="11" y="22"/>
                    <a:pt x="9" y="23"/>
                    <a:pt x="8" y="23"/>
                  </a:cubicBezTo>
                  <a:cubicBezTo>
                    <a:pt x="8" y="22"/>
                    <a:pt x="7" y="21"/>
                    <a:pt x="7" y="19"/>
                  </a:cubicBezTo>
                  <a:cubicBezTo>
                    <a:pt x="8" y="18"/>
                    <a:pt x="10" y="19"/>
                    <a:pt x="10" y="17"/>
                  </a:cubicBezTo>
                  <a:cubicBezTo>
                    <a:pt x="10" y="16"/>
                    <a:pt x="8" y="17"/>
                    <a:pt x="7" y="16"/>
                  </a:cubicBezTo>
                  <a:cubicBezTo>
                    <a:pt x="6" y="15"/>
                    <a:pt x="6" y="14"/>
                    <a:pt x="6" y="13"/>
                  </a:cubicBezTo>
                  <a:cubicBezTo>
                    <a:pt x="6" y="12"/>
                    <a:pt x="6" y="11"/>
                    <a:pt x="6" y="10"/>
                  </a:cubicBezTo>
                  <a:cubicBezTo>
                    <a:pt x="6" y="8"/>
                    <a:pt x="5" y="7"/>
                    <a:pt x="4" y="6"/>
                  </a:cubicBezTo>
                  <a:cubicBezTo>
                    <a:pt x="5" y="5"/>
                    <a:pt x="6" y="4"/>
                    <a:pt x="7" y="3"/>
                  </a:cubicBezTo>
                  <a:cubicBezTo>
                    <a:pt x="9" y="2"/>
                    <a:pt x="10" y="2"/>
                    <a:pt x="12" y="2"/>
                  </a:cubicBezTo>
                  <a:cubicBezTo>
                    <a:pt x="13" y="2"/>
                    <a:pt x="14" y="0"/>
                    <a:pt x="15" y="0"/>
                  </a:cubicBezTo>
                  <a:cubicBezTo>
                    <a:pt x="18" y="0"/>
                    <a:pt x="19" y="1"/>
                    <a:pt x="2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" name="Freeform 90"/>
            <p:cNvSpPr>
              <a:spLocks noChangeAspect="1"/>
            </p:cNvSpPr>
            <p:nvPr/>
          </p:nvSpPr>
          <p:spPr bwMode="auto">
            <a:xfrm>
              <a:off x="5011738" y="2974975"/>
              <a:ext cx="57150" cy="49213"/>
            </a:xfrm>
            <a:custGeom>
              <a:avLst/>
              <a:gdLst>
                <a:gd name="T0" fmla="*/ 55245 w 30"/>
                <a:gd name="T1" fmla="*/ 30285 h 26"/>
                <a:gd name="T2" fmla="*/ 49530 w 30"/>
                <a:gd name="T3" fmla="*/ 32178 h 26"/>
                <a:gd name="T4" fmla="*/ 34290 w 30"/>
                <a:gd name="T5" fmla="*/ 37856 h 26"/>
                <a:gd name="T6" fmla="*/ 26670 w 30"/>
                <a:gd name="T7" fmla="*/ 47320 h 26"/>
                <a:gd name="T8" fmla="*/ 13335 w 30"/>
                <a:gd name="T9" fmla="*/ 49213 h 26"/>
                <a:gd name="T10" fmla="*/ 7620 w 30"/>
                <a:gd name="T11" fmla="*/ 45427 h 26"/>
                <a:gd name="T12" fmla="*/ 1905 w 30"/>
                <a:gd name="T13" fmla="*/ 37856 h 26"/>
                <a:gd name="T14" fmla="*/ 1905 w 30"/>
                <a:gd name="T15" fmla="*/ 26499 h 26"/>
                <a:gd name="T16" fmla="*/ 1905 w 30"/>
                <a:gd name="T17" fmla="*/ 17035 h 26"/>
                <a:gd name="T18" fmla="*/ 5715 w 30"/>
                <a:gd name="T19" fmla="*/ 17035 h 26"/>
                <a:gd name="T20" fmla="*/ 5715 w 30"/>
                <a:gd name="T21" fmla="*/ 11357 h 26"/>
                <a:gd name="T22" fmla="*/ 11430 w 30"/>
                <a:gd name="T23" fmla="*/ 5678 h 26"/>
                <a:gd name="T24" fmla="*/ 17145 w 30"/>
                <a:gd name="T25" fmla="*/ 7571 h 26"/>
                <a:gd name="T26" fmla="*/ 22860 w 30"/>
                <a:gd name="T27" fmla="*/ 1893 h 26"/>
                <a:gd name="T28" fmla="*/ 36195 w 30"/>
                <a:gd name="T29" fmla="*/ 3786 h 26"/>
                <a:gd name="T30" fmla="*/ 41910 w 30"/>
                <a:gd name="T31" fmla="*/ 0 h 26"/>
                <a:gd name="T32" fmla="*/ 43815 w 30"/>
                <a:gd name="T33" fmla="*/ 7571 h 26"/>
                <a:gd name="T34" fmla="*/ 53340 w 30"/>
                <a:gd name="T35" fmla="*/ 11357 h 26"/>
                <a:gd name="T36" fmla="*/ 55245 w 30"/>
                <a:gd name="T37" fmla="*/ 20821 h 26"/>
                <a:gd name="T38" fmla="*/ 55245 w 30"/>
                <a:gd name="T39" fmla="*/ 30285 h 2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0"/>
                <a:gd name="T61" fmla="*/ 0 h 26"/>
                <a:gd name="T62" fmla="*/ 30 w 30"/>
                <a:gd name="T63" fmla="*/ 26 h 2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0" h="26">
                  <a:moveTo>
                    <a:pt x="29" y="16"/>
                  </a:moveTo>
                  <a:cubicBezTo>
                    <a:pt x="28" y="17"/>
                    <a:pt x="27" y="17"/>
                    <a:pt x="26" y="17"/>
                  </a:cubicBezTo>
                  <a:cubicBezTo>
                    <a:pt x="23" y="18"/>
                    <a:pt x="21" y="19"/>
                    <a:pt x="18" y="20"/>
                  </a:cubicBezTo>
                  <a:cubicBezTo>
                    <a:pt x="17" y="21"/>
                    <a:pt x="16" y="24"/>
                    <a:pt x="14" y="25"/>
                  </a:cubicBezTo>
                  <a:cubicBezTo>
                    <a:pt x="12" y="26"/>
                    <a:pt x="10" y="25"/>
                    <a:pt x="7" y="26"/>
                  </a:cubicBezTo>
                  <a:cubicBezTo>
                    <a:pt x="6" y="25"/>
                    <a:pt x="5" y="25"/>
                    <a:pt x="4" y="24"/>
                  </a:cubicBezTo>
                  <a:cubicBezTo>
                    <a:pt x="3" y="22"/>
                    <a:pt x="2" y="21"/>
                    <a:pt x="1" y="20"/>
                  </a:cubicBezTo>
                  <a:cubicBezTo>
                    <a:pt x="0" y="18"/>
                    <a:pt x="1" y="16"/>
                    <a:pt x="1" y="14"/>
                  </a:cubicBezTo>
                  <a:cubicBezTo>
                    <a:pt x="0" y="12"/>
                    <a:pt x="1" y="11"/>
                    <a:pt x="1" y="9"/>
                  </a:cubicBezTo>
                  <a:cubicBezTo>
                    <a:pt x="2" y="9"/>
                    <a:pt x="3" y="9"/>
                    <a:pt x="3" y="9"/>
                  </a:cubicBezTo>
                  <a:cubicBezTo>
                    <a:pt x="4" y="8"/>
                    <a:pt x="3" y="6"/>
                    <a:pt x="3" y="6"/>
                  </a:cubicBezTo>
                  <a:cubicBezTo>
                    <a:pt x="4" y="4"/>
                    <a:pt x="5" y="3"/>
                    <a:pt x="6" y="3"/>
                  </a:cubicBezTo>
                  <a:cubicBezTo>
                    <a:pt x="7" y="3"/>
                    <a:pt x="8" y="5"/>
                    <a:pt x="9" y="4"/>
                  </a:cubicBezTo>
                  <a:cubicBezTo>
                    <a:pt x="10" y="4"/>
                    <a:pt x="11" y="2"/>
                    <a:pt x="12" y="1"/>
                  </a:cubicBezTo>
                  <a:cubicBezTo>
                    <a:pt x="14" y="1"/>
                    <a:pt x="17" y="2"/>
                    <a:pt x="19" y="2"/>
                  </a:cubicBezTo>
                  <a:cubicBezTo>
                    <a:pt x="20" y="1"/>
                    <a:pt x="21" y="1"/>
                    <a:pt x="22" y="0"/>
                  </a:cubicBezTo>
                  <a:cubicBezTo>
                    <a:pt x="22" y="2"/>
                    <a:pt x="22" y="3"/>
                    <a:pt x="23" y="4"/>
                  </a:cubicBezTo>
                  <a:cubicBezTo>
                    <a:pt x="24" y="5"/>
                    <a:pt x="27" y="4"/>
                    <a:pt x="28" y="6"/>
                  </a:cubicBezTo>
                  <a:cubicBezTo>
                    <a:pt x="29" y="7"/>
                    <a:pt x="29" y="9"/>
                    <a:pt x="29" y="11"/>
                  </a:cubicBezTo>
                  <a:cubicBezTo>
                    <a:pt x="30" y="12"/>
                    <a:pt x="29" y="15"/>
                    <a:pt x="29" y="1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" name="Freeform 91"/>
            <p:cNvSpPr>
              <a:spLocks noChangeAspect="1"/>
            </p:cNvSpPr>
            <p:nvPr/>
          </p:nvSpPr>
          <p:spPr bwMode="auto">
            <a:xfrm>
              <a:off x="4984750" y="2967038"/>
              <a:ext cx="42863" cy="95250"/>
            </a:xfrm>
            <a:custGeom>
              <a:avLst/>
              <a:gdLst>
                <a:gd name="T0" fmla="*/ 21432 w 22"/>
                <a:gd name="T1" fmla="*/ 95250 h 50"/>
                <a:gd name="T2" fmla="*/ 13638 w 22"/>
                <a:gd name="T3" fmla="*/ 81915 h 50"/>
                <a:gd name="T4" fmla="*/ 1948 w 22"/>
                <a:gd name="T5" fmla="*/ 72390 h 50"/>
                <a:gd name="T6" fmla="*/ 3897 w 22"/>
                <a:gd name="T7" fmla="*/ 68580 h 50"/>
                <a:gd name="T8" fmla="*/ 0 w 22"/>
                <a:gd name="T9" fmla="*/ 62865 h 50"/>
                <a:gd name="T10" fmla="*/ 1948 w 22"/>
                <a:gd name="T11" fmla="*/ 60960 h 50"/>
                <a:gd name="T12" fmla="*/ 1948 w 22"/>
                <a:gd name="T13" fmla="*/ 51435 h 50"/>
                <a:gd name="T14" fmla="*/ 3897 w 22"/>
                <a:gd name="T15" fmla="*/ 38100 h 50"/>
                <a:gd name="T16" fmla="*/ 1948 w 22"/>
                <a:gd name="T17" fmla="*/ 26670 h 50"/>
                <a:gd name="T18" fmla="*/ 1948 w 22"/>
                <a:gd name="T19" fmla="*/ 19050 h 50"/>
                <a:gd name="T20" fmla="*/ 1948 w 22"/>
                <a:gd name="T21" fmla="*/ 9525 h 50"/>
                <a:gd name="T22" fmla="*/ 5845 w 22"/>
                <a:gd name="T23" fmla="*/ 1905 h 50"/>
                <a:gd name="T24" fmla="*/ 11690 w 22"/>
                <a:gd name="T25" fmla="*/ 1905 h 50"/>
                <a:gd name="T26" fmla="*/ 21432 w 22"/>
                <a:gd name="T27" fmla="*/ 5715 h 50"/>
                <a:gd name="T28" fmla="*/ 29225 w 22"/>
                <a:gd name="T29" fmla="*/ 13335 h 50"/>
                <a:gd name="T30" fmla="*/ 29225 w 22"/>
                <a:gd name="T31" fmla="*/ 24765 h 50"/>
                <a:gd name="T32" fmla="*/ 29225 w 22"/>
                <a:gd name="T33" fmla="*/ 34290 h 50"/>
                <a:gd name="T34" fmla="*/ 29225 w 22"/>
                <a:gd name="T35" fmla="*/ 45720 h 50"/>
                <a:gd name="T36" fmla="*/ 35070 w 22"/>
                <a:gd name="T37" fmla="*/ 53340 h 50"/>
                <a:gd name="T38" fmla="*/ 40915 w 22"/>
                <a:gd name="T39" fmla="*/ 57150 h 50"/>
                <a:gd name="T40" fmla="*/ 42863 w 22"/>
                <a:gd name="T41" fmla="*/ 64770 h 50"/>
                <a:gd name="T42" fmla="*/ 37018 w 22"/>
                <a:gd name="T43" fmla="*/ 68580 h 50"/>
                <a:gd name="T44" fmla="*/ 35070 w 22"/>
                <a:gd name="T45" fmla="*/ 80010 h 50"/>
                <a:gd name="T46" fmla="*/ 27276 w 22"/>
                <a:gd name="T47" fmla="*/ 81915 h 50"/>
                <a:gd name="T48" fmla="*/ 27276 w 22"/>
                <a:gd name="T49" fmla="*/ 89535 h 50"/>
                <a:gd name="T50" fmla="*/ 21432 w 22"/>
                <a:gd name="T51" fmla="*/ 95250 h 5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"/>
                <a:gd name="T79" fmla="*/ 0 h 50"/>
                <a:gd name="T80" fmla="*/ 22 w 22"/>
                <a:gd name="T81" fmla="*/ 50 h 5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" h="50">
                  <a:moveTo>
                    <a:pt x="11" y="50"/>
                  </a:moveTo>
                  <a:cubicBezTo>
                    <a:pt x="10" y="48"/>
                    <a:pt x="8" y="44"/>
                    <a:pt x="7" y="43"/>
                  </a:cubicBezTo>
                  <a:cubicBezTo>
                    <a:pt x="5" y="41"/>
                    <a:pt x="2" y="40"/>
                    <a:pt x="1" y="38"/>
                  </a:cubicBezTo>
                  <a:cubicBezTo>
                    <a:pt x="0" y="37"/>
                    <a:pt x="3" y="37"/>
                    <a:pt x="2" y="36"/>
                  </a:cubicBezTo>
                  <a:cubicBezTo>
                    <a:pt x="2" y="35"/>
                    <a:pt x="0" y="35"/>
                    <a:pt x="0" y="33"/>
                  </a:cubicBezTo>
                  <a:cubicBezTo>
                    <a:pt x="0" y="33"/>
                    <a:pt x="1" y="33"/>
                    <a:pt x="1" y="32"/>
                  </a:cubicBezTo>
                  <a:cubicBezTo>
                    <a:pt x="2" y="30"/>
                    <a:pt x="1" y="28"/>
                    <a:pt x="1" y="27"/>
                  </a:cubicBezTo>
                  <a:cubicBezTo>
                    <a:pt x="1" y="24"/>
                    <a:pt x="2" y="22"/>
                    <a:pt x="2" y="20"/>
                  </a:cubicBezTo>
                  <a:cubicBezTo>
                    <a:pt x="2" y="18"/>
                    <a:pt x="1" y="16"/>
                    <a:pt x="1" y="14"/>
                  </a:cubicBezTo>
                  <a:lnTo>
                    <a:pt x="1" y="10"/>
                  </a:lnTo>
                  <a:cubicBezTo>
                    <a:pt x="2" y="8"/>
                    <a:pt x="1" y="7"/>
                    <a:pt x="1" y="5"/>
                  </a:cubicBezTo>
                  <a:cubicBezTo>
                    <a:pt x="2" y="4"/>
                    <a:pt x="2" y="2"/>
                    <a:pt x="3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8" y="2"/>
                    <a:pt x="9" y="2"/>
                    <a:pt x="11" y="3"/>
                  </a:cubicBezTo>
                  <a:cubicBezTo>
                    <a:pt x="12" y="4"/>
                    <a:pt x="14" y="5"/>
                    <a:pt x="15" y="7"/>
                  </a:cubicBezTo>
                  <a:cubicBezTo>
                    <a:pt x="15" y="9"/>
                    <a:pt x="15" y="11"/>
                    <a:pt x="15" y="13"/>
                  </a:cubicBezTo>
                  <a:cubicBezTo>
                    <a:pt x="15" y="15"/>
                    <a:pt x="14" y="16"/>
                    <a:pt x="15" y="18"/>
                  </a:cubicBezTo>
                  <a:cubicBezTo>
                    <a:pt x="15" y="20"/>
                    <a:pt x="14" y="22"/>
                    <a:pt x="15" y="24"/>
                  </a:cubicBezTo>
                  <a:cubicBezTo>
                    <a:pt x="16" y="25"/>
                    <a:pt x="17" y="26"/>
                    <a:pt x="18" y="28"/>
                  </a:cubicBezTo>
                  <a:cubicBezTo>
                    <a:pt x="19" y="29"/>
                    <a:pt x="20" y="29"/>
                    <a:pt x="21" y="30"/>
                  </a:cubicBezTo>
                  <a:cubicBezTo>
                    <a:pt x="22" y="31"/>
                    <a:pt x="22" y="32"/>
                    <a:pt x="22" y="34"/>
                  </a:cubicBezTo>
                  <a:cubicBezTo>
                    <a:pt x="21" y="35"/>
                    <a:pt x="19" y="35"/>
                    <a:pt x="19" y="36"/>
                  </a:cubicBezTo>
                  <a:cubicBezTo>
                    <a:pt x="18" y="38"/>
                    <a:pt x="19" y="40"/>
                    <a:pt x="18" y="42"/>
                  </a:cubicBezTo>
                  <a:cubicBezTo>
                    <a:pt x="17" y="43"/>
                    <a:pt x="15" y="42"/>
                    <a:pt x="14" y="43"/>
                  </a:cubicBezTo>
                  <a:cubicBezTo>
                    <a:pt x="14" y="44"/>
                    <a:pt x="15" y="46"/>
                    <a:pt x="14" y="47"/>
                  </a:cubicBezTo>
                  <a:cubicBezTo>
                    <a:pt x="13" y="48"/>
                    <a:pt x="13" y="49"/>
                    <a:pt x="11" y="5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" name="Freeform 92"/>
            <p:cNvSpPr>
              <a:spLocks noChangeAspect="1"/>
            </p:cNvSpPr>
            <p:nvPr/>
          </p:nvSpPr>
          <p:spPr bwMode="auto">
            <a:xfrm>
              <a:off x="5005388" y="2997200"/>
              <a:ext cx="146050" cy="165100"/>
            </a:xfrm>
            <a:custGeom>
              <a:avLst/>
              <a:gdLst>
                <a:gd name="T0" fmla="*/ 138363 w 76"/>
                <a:gd name="T1" fmla="*/ 23037 h 86"/>
                <a:gd name="T2" fmla="*/ 146050 w 76"/>
                <a:gd name="T3" fmla="*/ 9599 h 86"/>
                <a:gd name="T4" fmla="*/ 138363 w 76"/>
                <a:gd name="T5" fmla="*/ 0 h 86"/>
                <a:gd name="T6" fmla="*/ 121068 w 76"/>
                <a:gd name="T7" fmla="*/ 11519 h 86"/>
                <a:gd name="T8" fmla="*/ 101851 w 76"/>
                <a:gd name="T9" fmla="*/ 7679 h 86"/>
                <a:gd name="T10" fmla="*/ 88399 w 76"/>
                <a:gd name="T11" fmla="*/ 3840 h 86"/>
                <a:gd name="T12" fmla="*/ 69182 w 76"/>
                <a:gd name="T13" fmla="*/ 7679 h 86"/>
                <a:gd name="T14" fmla="*/ 55730 w 76"/>
                <a:gd name="T15" fmla="*/ 9599 h 86"/>
                <a:gd name="T16" fmla="*/ 32669 w 76"/>
                <a:gd name="T17" fmla="*/ 24957 h 86"/>
                <a:gd name="T18" fmla="*/ 21139 w 76"/>
                <a:gd name="T19" fmla="*/ 34556 h 86"/>
                <a:gd name="T20" fmla="*/ 13452 w 76"/>
                <a:gd name="T21" fmla="*/ 49914 h 86"/>
                <a:gd name="T22" fmla="*/ 5765 w 76"/>
                <a:gd name="T23" fmla="*/ 59513 h 86"/>
                <a:gd name="T24" fmla="*/ 5765 w 76"/>
                <a:gd name="T25" fmla="*/ 74871 h 86"/>
                <a:gd name="T26" fmla="*/ 23061 w 76"/>
                <a:gd name="T27" fmla="*/ 84470 h 86"/>
                <a:gd name="T28" fmla="*/ 19217 w 76"/>
                <a:gd name="T29" fmla="*/ 94069 h 86"/>
                <a:gd name="T30" fmla="*/ 24982 w 76"/>
                <a:gd name="T31" fmla="*/ 105587 h 86"/>
                <a:gd name="T32" fmla="*/ 34591 w 76"/>
                <a:gd name="T33" fmla="*/ 105587 h 86"/>
                <a:gd name="T34" fmla="*/ 53808 w 76"/>
                <a:gd name="T35" fmla="*/ 103667 h 86"/>
                <a:gd name="T36" fmla="*/ 74947 w 76"/>
                <a:gd name="T37" fmla="*/ 111347 h 86"/>
                <a:gd name="T38" fmla="*/ 63416 w 76"/>
                <a:gd name="T39" fmla="*/ 115186 h 86"/>
                <a:gd name="T40" fmla="*/ 38434 w 76"/>
                <a:gd name="T41" fmla="*/ 111347 h 86"/>
                <a:gd name="T42" fmla="*/ 24982 w 76"/>
                <a:gd name="T43" fmla="*/ 119026 h 86"/>
                <a:gd name="T44" fmla="*/ 38434 w 76"/>
                <a:gd name="T45" fmla="*/ 138223 h 86"/>
                <a:gd name="T46" fmla="*/ 44199 w 76"/>
                <a:gd name="T47" fmla="*/ 155501 h 86"/>
                <a:gd name="T48" fmla="*/ 55730 w 76"/>
                <a:gd name="T49" fmla="*/ 155501 h 86"/>
                <a:gd name="T50" fmla="*/ 59573 w 76"/>
                <a:gd name="T51" fmla="*/ 165100 h 86"/>
                <a:gd name="T52" fmla="*/ 65338 w 76"/>
                <a:gd name="T53" fmla="*/ 153581 h 86"/>
                <a:gd name="T54" fmla="*/ 74947 w 76"/>
                <a:gd name="T55" fmla="*/ 163180 h 86"/>
                <a:gd name="T56" fmla="*/ 71103 w 76"/>
                <a:gd name="T57" fmla="*/ 149742 h 86"/>
                <a:gd name="T58" fmla="*/ 71103 w 76"/>
                <a:gd name="T59" fmla="*/ 132464 h 86"/>
                <a:gd name="T60" fmla="*/ 80712 w 76"/>
                <a:gd name="T61" fmla="*/ 132464 h 86"/>
                <a:gd name="T62" fmla="*/ 73025 w 76"/>
                <a:gd name="T63" fmla="*/ 119026 h 86"/>
                <a:gd name="T64" fmla="*/ 88399 w 76"/>
                <a:gd name="T65" fmla="*/ 119026 h 86"/>
                <a:gd name="T66" fmla="*/ 94164 w 76"/>
                <a:gd name="T67" fmla="*/ 120945 h 86"/>
                <a:gd name="T68" fmla="*/ 80712 w 76"/>
                <a:gd name="T69" fmla="*/ 103667 h 86"/>
                <a:gd name="T70" fmla="*/ 57651 w 76"/>
                <a:gd name="T71" fmla="*/ 88309 h 86"/>
                <a:gd name="T72" fmla="*/ 63416 w 76"/>
                <a:gd name="T73" fmla="*/ 74871 h 86"/>
                <a:gd name="T74" fmla="*/ 73025 w 76"/>
                <a:gd name="T75" fmla="*/ 78710 h 86"/>
                <a:gd name="T76" fmla="*/ 65338 w 76"/>
                <a:gd name="T77" fmla="*/ 63352 h 86"/>
                <a:gd name="T78" fmla="*/ 55730 w 76"/>
                <a:gd name="T79" fmla="*/ 40315 h 86"/>
                <a:gd name="T80" fmla="*/ 71103 w 76"/>
                <a:gd name="T81" fmla="*/ 44155 h 86"/>
                <a:gd name="T82" fmla="*/ 82634 w 76"/>
                <a:gd name="T83" fmla="*/ 53753 h 86"/>
                <a:gd name="T84" fmla="*/ 80712 w 76"/>
                <a:gd name="T85" fmla="*/ 46074 h 86"/>
                <a:gd name="T86" fmla="*/ 90320 w 76"/>
                <a:gd name="T87" fmla="*/ 51834 h 86"/>
                <a:gd name="T88" fmla="*/ 88399 w 76"/>
                <a:gd name="T89" fmla="*/ 42235 h 86"/>
                <a:gd name="T90" fmla="*/ 98007 w 76"/>
                <a:gd name="T91" fmla="*/ 44155 h 86"/>
                <a:gd name="T92" fmla="*/ 82634 w 76"/>
                <a:gd name="T93" fmla="*/ 28797 h 86"/>
                <a:gd name="T94" fmla="*/ 90320 w 76"/>
                <a:gd name="T95" fmla="*/ 30716 h 86"/>
                <a:gd name="T96" fmla="*/ 107616 w 76"/>
                <a:gd name="T97" fmla="*/ 26877 h 86"/>
                <a:gd name="T98" fmla="*/ 126833 w 76"/>
                <a:gd name="T99" fmla="*/ 24957 h 8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"/>
                <a:gd name="T151" fmla="*/ 0 h 86"/>
                <a:gd name="T152" fmla="*/ 76 w 76"/>
                <a:gd name="T153" fmla="*/ 86 h 8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" h="86">
                  <a:moveTo>
                    <a:pt x="71" y="15"/>
                  </a:moveTo>
                  <a:cubicBezTo>
                    <a:pt x="71" y="14"/>
                    <a:pt x="72" y="13"/>
                    <a:pt x="72" y="12"/>
                  </a:cubicBezTo>
                  <a:cubicBezTo>
                    <a:pt x="72" y="10"/>
                    <a:pt x="71" y="9"/>
                    <a:pt x="72" y="7"/>
                  </a:cubicBezTo>
                  <a:cubicBezTo>
                    <a:pt x="73" y="6"/>
                    <a:pt x="75" y="7"/>
                    <a:pt x="76" y="5"/>
                  </a:cubicBezTo>
                  <a:cubicBezTo>
                    <a:pt x="76" y="4"/>
                    <a:pt x="76" y="3"/>
                    <a:pt x="76" y="2"/>
                  </a:cubicBezTo>
                  <a:cubicBezTo>
                    <a:pt x="75" y="0"/>
                    <a:pt x="73" y="0"/>
                    <a:pt x="72" y="0"/>
                  </a:cubicBezTo>
                  <a:cubicBezTo>
                    <a:pt x="72" y="1"/>
                    <a:pt x="72" y="3"/>
                    <a:pt x="71" y="3"/>
                  </a:cubicBezTo>
                  <a:cubicBezTo>
                    <a:pt x="69" y="5"/>
                    <a:pt x="66" y="6"/>
                    <a:pt x="63" y="6"/>
                  </a:cubicBezTo>
                  <a:cubicBezTo>
                    <a:pt x="62" y="7"/>
                    <a:pt x="60" y="6"/>
                    <a:pt x="58" y="5"/>
                  </a:cubicBezTo>
                  <a:cubicBezTo>
                    <a:pt x="57" y="5"/>
                    <a:pt x="55" y="5"/>
                    <a:pt x="53" y="4"/>
                  </a:cubicBezTo>
                  <a:cubicBezTo>
                    <a:pt x="52" y="4"/>
                    <a:pt x="52" y="2"/>
                    <a:pt x="51" y="2"/>
                  </a:cubicBezTo>
                  <a:cubicBezTo>
                    <a:pt x="50" y="1"/>
                    <a:pt x="48" y="1"/>
                    <a:pt x="46" y="2"/>
                  </a:cubicBezTo>
                  <a:cubicBezTo>
                    <a:pt x="44" y="2"/>
                    <a:pt x="44" y="4"/>
                    <a:pt x="43" y="4"/>
                  </a:cubicBezTo>
                  <a:cubicBezTo>
                    <a:pt x="41" y="5"/>
                    <a:pt x="39" y="4"/>
                    <a:pt x="36" y="4"/>
                  </a:cubicBezTo>
                  <a:cubicBezTo>
                    <a:pt x="35" y="4"/>
                    <a:pt x="33" y="4"/>
                    <a:pt x="32" y="4"/>
                  </a:cubicBezTo>
                  <a:cubicBezTo>
                    <a:pt x="31" y="5"/>
                    <a:pt x="30" y="5"/>
                    <a:pt x="29" y="5"/>
                  </a:cubicBezTo>
                  <a:cubicBezTo>
                    <a:pt x="26" y="6"/>
                    <a:pt x="24" y="7"/>
                    <a:pt x="21" y="8"/>
                  </a:cubicBezTo>
                  <a:cubicBezTo>
                    <a:pt x="20" y="9"/>
                    <a:pt x="19" y="12"/>
                    <a:pt x="17" y="13"/>
                  </a:cubicBezTo>
                  <a:cubicBezTo>
                    <a:pt x="15" y="14"/>
                    <a:pt x="13" y="13"/>
                    <a:pt x="10" y="14"/>
                  </a:cubicBezTo>
                  <a:cubicBezTo>
                    <a:pt x="11" y="15"/>
                    <a:pt x="11" y="16"/>
                    <a:pt x="11" y="18"/>
                  </a:cubicBezTo>
                  <a:cubicBezTo>
                    <a:pt x="10" y="19"/>
                    <a:pt x="8" y="19"/>
                    <a:pt x="8" y="20"/>
                  </a:cubicBezTo>
                  <a:cubicBezTo>
                    <a:pt x="7" y="22"/>
                    <a:pt x="8" y="24"/>
                    <a:pt x="7" y="26"/>
                  </a:cubicBezTo>
                  <a:cubicBezTo>
                    <a:pt x="6" y="27"/>
                    <a:pt x="4" y="26"/>
                    <a:pt x="3" y="27"/>
                  </a:cubicBezTo>
                  <a:cubicBezTo>
                    <a:pt x="3" y="28"/>
                    <a:pt x="4" y="30"/>
                    <a:pt x="3" y="31"/>
                  </a:cubicBezTo>
                  <a:cubicBezTo>
                    <a:pt x="2" y="32"/>
                    <a:pt x="2" y="33"/>
                    <a:pt x="0" y="34"/>
                  </a:cubicBezTo>
                  <a:cubicBezTo>
                    <a:pt x="1" y="35"/>
                    <a:pt x="2" y="37"/>
                    <a:pt x="3" y="39"/>
                  </a:cubicBezTo>
                  <a:cubicBezTo>
                    <a:pt x="4" y="40"/>
                    <a:pt x="5" y="41"/>
                    <a:pt x="7" y="42"/>
                  </a:cubicBezTo>
                  <a:cubicBezTo>
                    <a:pt x="8" y="43"/>
                    <a:pt x="11" y="42"/>
                    <a:pt x="12" y="44"/>
                  </a:cubicBezTo>
                  <a:cubicBezTo>
                    <a:pt x="13" y="45"/>
                    <a:pt x="9" y="44"/>
                    <a:pt x="9" y="45"/>
                  </a:cubicBezTo>
                  <a:cubicBezTo>
                    <a:pt x="8" y="47"/>
                    <a:pt x="9" y="48"/>
                    <a:pt x="10" y="49"/>
                  </a:cubicBezTo>
                  <a:cubicBezTo>
                    <a:pt x="10" y="50"/>
                    <a:pt x="11" y="51"/>
                    <a:pt x="12" y="52"/>
                  </a:cubicBezTo>
                  <a:cubicBezTo>
                    <a:pt x="13" y="53"/>
                    <a:pt x="12" y="55"/>
                    <a:pt x="13" y="55"/>
                  </a:cubicBezTo>
                  <a:cubicBezTo>
                    <a:pt x="14" y="55"/>
                    <a:pt x="15" y="54"/>
                    <a:pt x="16" y="54"/>
                  </a:cubicBezTo>
                  <a:cubicBezTo>
                    <a:pt x="17" y="54"/>
                    <a:pt x="17" y="55"/>
                    <a:pt x="18" y="55"/>
                  </a:cubicBezTo>
                  <a:cubicBezTo>
                    <a:pt x="20" y="55"/>
                    <a:pt x="21" y="54"/>
                    <a:pt x="23" y="54"/>
                  </a:cubicBezTo>
                  <a:cubicBezTo>
                    <a:pt x="25" y="54"/>
                    <a:pt x="26" y="54"/>
                    <a:pt x="28" y="54"/>
                  </a:cubicBezTo>
                  <a:cubicBezTo>
                    <a:pt x="29" y="54"/>
                    <a:pt x="30" y="55"/>
                    <a:pt x="32" y="55"/>
                  </a:cubicBezTo>
                  <a:cubicBezTo>
                    <a:pt x="34" y="56"/>
                    <a:pt x="37" y="56"/>
                    <a:pt x="39" y="58"/>
                  </a:cubicBezTo>
                  <a:cubicBezTo>
                    <a:pt x="40" y="60"/>
                    <a:pt x="36" y="60"/>
                    <a:pt x="35" y="60"/>
                  </a:cubicBezTo>
                  <a:cubicBezTo>
                    <a:pt x="34" y="60"/>
                    <a:pt x="33" y="60"/>
                    <a:pt x="33" y="60"/>
                  </a:cubicBezTo>
                  <a:cubicBezTo>
                    <a:pt x="29" y="59"/>
                    <a:pt x="27" y="57"/>
                    <a:pt x="23" y="56"/>
                  </a:cubicBezTo>
                  <a:cubicBezTo>
                    <a:pt x="22" y="56"/>
                    <a:pt x="21" y="58"/>
                    <a:pt x="20" y="58"/>
                  </a:cubicBezTo>
                  <a:cubicBezTo>
                    <a:pt x="19" y="58"/>
                    <a:pt x="17" y="57"/>
                    <a:pt x="16" y="58"/>
                  </a:cubicBezTo>
                  <a:cubicBezTo>
                    <a:pt x="15" y="59"/>
                    <a:pt x="13" y="60"/>
                    <a:pt x="13" y="62"/>
                  </a:cubicBezTo>
                  <a:cubicBezTo>
                    <a:pt x="13" y="64"/>
                    <a:pt x="16" y="66"/>
                    <a:pt x="18" y="68"/>
                  </a:cubicBezTo>
                  <a:cubicBezTo>
                    <a:pt x="19" y="69"/>
                    <a:pt x="20" y="71"/>
                    <a:pt x="20" y="72"/>
                  </a:cubicBezTo>
                  <a:cubicBezTo>
                    <a:pt x="20" y="74"/>
                    <a:pt x="19" y="75"/>
                    <a:pt x="19" y="77"/>
                  </a:cubicBezTo>
                  <a:cubicBezTo>
                    <a:pt x="20" y="79"/>
                    <a:pt x="21" y="82"/>
                    <a:pt x="23" y="81"/>
                  </a:cubicBezTo>
                  <a:cubicBezTo>
                    <a:pt x="25" y="81"/>
                    <a:pt x="23" y="77"/>
                    <a:pt x="25" y="76"/>
                  </a:cubicBezTo>
                  <a:cubicBezTo>
                    <a:pt x="27" y="76"/>
                    <a:pt x="28" y="79"/>
                    <a:pt x="29" y="81"/>
                  </a:cubicBezTo>
                  <a:cubicBezTo>
                    <a:pt x="29" y="81"/>
                    <a:pt x="28" y="83"/>
                    <a:pt x="29" y="84"/>
                  </a:cubicBezTo>
                  <a:cubicBezTo>
                    <a:pt x="29" y="84"/>
                    <a:pt x="30" y="86"/>
                    <a:pt x="31" y="86"/>
                  </a:cubicBezTo>
                  <a:cubicBezTo>
                    <a:pt x="32" y="84"/>
                    <a:pt x="30" y="81"/>
                    <a:pt x="31" y="80"/>
                  </a:cubicBezTo>
                  <a:cubicBezTo>
                    <a:pt x="32" y="79"/>
                    <a:pt x="33" y="80"/>
                    <a:pt x="34" y="80"/>
                  </a:cubicBezTo>
                  <a:cubicBezTo>
                    <a:pt x="35" y="82"/>
                    <a:pt x="36" y="84"/>
                    <a:pt x="37" y="86"/>
                  </a:cubicBezTo>
                  <a:cubicBezTo>
                    <a:pt x="38" y="86"/>
                    <a:pt x="39" y="86"/>
                    <a:pt x="39" y="85"/>
                  </a:cubicBezTo>
                  <a:cubicBezTo>
                    <a:pt x="39" y="84"/>
                    <a:pt x="38" y="82"/>
                    <a:pt x="37" y="81"/>
                  </a:cubicBezTo>
                  <a:cubicBezTo>
                    <a:pt x="37" y="80"/>
                    <a:pt x="38" y="79"/>
                    <a:pt x="37" y="78"/>
                  </a:cubicBezTo>
                  <a:cubicBezTo>
                    <a:pt x="36" y="75"/>
                    <a:pt x="33" y="72"/>
                    <a:pt x="33" y="69"/>
                  </a:cubicBezTo>
                  <a:cubicBezTo>
                    <a:pt x="33" y="67"/>
                    <a:pt x="36" y="68"/>
                    <a:pt x="37" y="69"/>
                  </a:cubicBezTo>
                  <a:cubicBezTo>
                    <a:pt x="38" y="69"/>
                    <a:pt x="37" y="72"/>
                    <a:pt x="38" y="72"/>
                  </a:cubicBezTo>
                  <a:cubicBezTo>
                    <a:pt x="40" y="72"/>
                    <a:pt x="42" y="71"/>
                    <a:pt x="42" y="69"/>
                  </a:cubicBezTo>
                  <a:cubicBezTo>
                    <a:pt x="42" y="67"/>
                    <a:pt x="39" y="68"/>
                    <a:pt x="38" y="66"/>
                  </a:cubicBezTo>
                  <a:cubicBezTo>
                    <a:pt x="37" y="65"/>
                    <a:pt x="38" y="63"/>
                    <a:pt x="38" y="62"/>
                  </a:cubicBezTo>
                  <a:cubicBezTo>
                    <a:pt x="38" y="61"/>
                    <a:pt x="39" y="60"/>
                    <a:pt x="41" y="60"/>
                  </a:cubicBezTo>
                  <a:cubicBezTo>
                    <a:pt x="42" y="60"/>
                    <a:pt x="44" y="61"/>
                    <a:pt x="46" y="62"/>
                  </a:cubicBezTo>
                  <a:cubicBezTo>
                    <a:pt x="47" y="63"/>
                    <a:pt x="47" y="65"/>
                    <a:pt x="48" y="65"/>
                  </a:cubicBezTo>
                  <a:cubicBezTo>
                    <a:pt x="49" y="66"/>
                    <a:pt x="49" y="64"/>
                    <a:pt x="49" y="63"/>
                  </a:cubicBezTo>
                  <a:cubicBezTo>
                    <a:pt x="49" y="62"/>
                    <a:pt x="49" y="59"/>
                    <a:pt x="48" y="58"/>
                  </a:cubicBezTo>
                  <a:cubicBezTo>
                    <a:pt x="47" y="56"/>
                    <a:pt x="44" y="55"/>
                    <a:pt x="42" y="54"/>
                  </a:cubicBezTo>
                  <a:cubicBezTo>
                    <a:pt x="40" y="52"/>
                    <a:pt x="39" y="51"/>
                    <a:pt x="37" y="50"/>
                  </a:cubicBezTo>
                  <a:cubicBezTo>
                    <a:pt x="35" y="48"/>
                    <a:pt x="31" y="49"/>
                    <a:pt x="30" y="46"/>
                  </a:cubicBezTo>
                  <a:cubicBezTo>
                    <a:pt x="29" y="45"/>
                    <a:pt x="34" y="46"/>
                    <a:pt x="35" y="44"/>
                  </a:cubicBezTo>
                  <a:cubicBezTo>
                    <a:pt x="35" y="42"/>
                    <a:pt x="33" y="41"/>
                    <a:pt x="33" y="39"/>
                  </a:cubicBezTo>
                  <a:cubicBezTo>
                    <a:pt x="33" y="38"/>
                    <a:pt x="35" y="38"/>
                    <a:pt x="36" y="38"/>
                  </a:cubicBezTo>
                  <a:cubicBezTo>
                    <a:pt x="37" y="39"/>
                    <a:pt x="37" y="40"/>
                    <a:pt x="38" y="41"/>
                  </a:cubicBezTo>
                  <a:cubicBezTo>
                    <a:pt x="38" y="41"/>
                    <a:pt x="39" y="40"/>
                    <a:pt x="39" y="40"/>
                  </a:cubicBezTo>
                  <a:cubicBezTo>
                    <a:pt x="37" y="37"/>
                    <a:pt x="35" y="35"/>
                    <a:pt x="34" y="33"/>
                  </a:cubicBezTo>
                  <a:cubicBezTo>
                    <a:pt x="33" y="31"/>
                    <a:pt x="31" y="29"/>
                    <a:pt x="30" y="27"/>
                  </a:cubicBezTo>
                  <a:cubicBezTo>
                    <a:pt x="29" y="25"/>
                    <a:pt x="29" y="23"/>
                    <a:pt x="29" y="21"/>
                  </a:cubicBezTo>
                  <a:cubicBezTo>
                    <a:pt x="29" y="21"/>
                    <a:pt x="30" y="19"/>
                    <a:pt x="31" y="19"/>
                  </a:cubicBezTo>
                  <a:cubicBezTo>
                    <a:pt x="33" y="20"/>
                    <a:pt x="35" y="22"/>
                    <a:pt x="37" y="23"/>
                  </a:cubicBezTo>
                  <a:cubicBezTo>
                    <a:pt x="39" y="25"/>
                    <a:pt x="40" y="28"/>
                    <a:pt x="42" y="29"/>
                  </a:cubicBezTo>
                  <a:cubicBezTo>
                    <a:pt x="42" y="30"/>
                    <a:pt x="43" y="29"/>
                    <a:pt x="43" y="28"/>
                  </a:cubicBezTo>
                  <a:cubicBezTo>
                    <a:pt x="43" y="26"/>
                    <a:pt x="40" y="25"/>
                    <a:pt x="40" y="23"/>
                  </a:cubicBezTo>
                  <a:cubicBezTo>
                    <a:pt x="40" y="23"/>
                    <a:pt x="42" y="23"/>
                    <a:pt x="42" y="24"/>
                  </a:cubicBezTo>
                  <a:cubicBezTo>
                    <a:pt x="44" y="25"/>
                    <a:pt x="44" y="27"/>
                    <a:pt x="46" y="28"/>
                  </a:cubicBezTo>
                  <a:cubicBezTo>
                    <a:pt x="46" y="29"/>
                    <a:pt x="47" y="27"/>
                    <a:pt x="47" y="27"/>
                  </a:cubicBezTo>
                  <a:cubicBezTo>
                    <a:pt x="46" y="25"/>
                    <a:pt x="44" y="24"/>
                    <a:pt x="43" y="22"/>
                  </a:cubicBezTo>
                  <a:cubicBezTo>
                    <a:pt x="43" y="22"/>
                    <a:pt x="45" y="22"/>
                    <a:pt x="46" y="22"/>
                  </a:cubicBezTo>
                  <a:cubicBezTo>
                    <a:pt x="48" y="23"/>
                    <a:pt x="49" y="25"/>
                    <a:pt x="51" y="25"/>
                  </a:cubicBezTo>
                  <a:cubicBezTo>
                    <a:pt x="52" y="25"/>
                    <a:pt x="51" y="24"/>
                    <a:pt x="51" y="23"/>
                  </a:cubicBezTo>
                  <a:cubicBezTo>
                    <a:pt x="49" y="22"/>
                    <a:pt x="47" y="21"/>
                    <a:pt x="45" y="20"/>
                  </a:cubicBezTo>
                  <a:cubicBezTo>
                    <a:pt x="44" y="18"/>
                    <a:pt x="43" y="17"/>
                    <a:pt x="43" y="15"/>
                  </a:cubicBezTo>
                  <a:cubicBezTo>
                    <a:pt x="43" y="14"/>
                    <a:pt x="44" y="14"/>
                    <a:pt x="45" y="14"/>
                  </a:cubicBezTo>
                  <a:cubicBezTo>
                    <a:pt x="46" y="15"/>
                    <a:pt x="47" y="16"/>
                    <a:pt x="47" y="16"/>
                  </a:cubicBezTo>
                  <a:cubicBezTo>
                    <a:pt x="49" y="15"/>
                    <a:pt x="49" y="12"/>
                    <a:pt x="51" y="12"/>
                  </a:cubicBezTo>
                  <a:cubicBezTo>
                    <a:pt x="52" y="11"/>
                    <a:pt x="54" y="14"/>
                    <a:pt x="56" y="14"/>
                  </a:cubicBezTo>
                  <a:cubicBezTo>
                    <a:pt x="57" y="14"/>
                    <a:pt x="58" y="11"/>
                    <a:pt x="59" y="11"/>
                  </a:cubicBezTo>
                  <a:cubicBezTo>
                    <a:pt x="61" y="11"/>
                    <a:pt x="64" y="12"/>
                    <a:pt x="66" y="13"/>
                  </a:cubicBezTo>
                  <a:cubicBezTo>
                    <a:pt x="67" y="14"/>
                    <a:pt x="69" y="14"/>
                    <a:pt x="71" y="1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" name="Freeform 93"/>
            <p:cNvSpPr>
              <a:spLocks noChangeAspect="1"/>
            </p:cNvSpPr>
            <p:nvPr/>
          </p:nvSpPr>
          <p:spPr bwMode="auto">
            <a:xfrm>
              <a:off x="5138738" y="2982913"/>
              <a:ext cx="66675" cy="50800"/>
            </a:xfrm>
            <a:custGeom>
              <a:avLst/>
              <a:gdLst>
                <a:gd name="T0" fmla="*/ 41910 w 35"/>
                <a:gd name="T1" fmla="*/ 3763 h 27"/>
                <a:gd name="T2" fmla="*/ 47625 w 35"/>
                <a:gd name="T3" fmla="*/ 3763 h 27"/>
                <a:gd name="T4" fmla="*/ 47625 w 35"/>
                <a:gd name="T5" fmla="*/ 9407 h 27"/>
                <a:gd name="T6" fmla="*/ 51435 w 35"/>
                <a:gd name="T7" fmla="*/ 22578 h 27"/>
                <a:gd name="T8" fmla="*/ 64770 w 35"/>
                <a:gd name="T9" fmla="*/ 26341 h 27"/>
                <a:gd name="T10" fmla="*/ 60960 w 35"/>
                <a:gd name="T11" fmla="*/ 33867 h 27"/>
                <a:gd name="T12" fmla="*/ 53340 w 35"/>
                <a:gd name="T13" fmla="*/ 31985 h 27"/>
                <a:gd name="T14" fmla="*/ 45720 w 35"/>
                <a:gd name="T15" fmla="*/ 33867 h 27"/>
                <a:gd name="T16" fmla="*/ 36195 w 35"/>
                <a:gd name="T17" fmla="*/ 33867 h 27"/>
                <a:gd name="T18" fmla="*/ 28575 w 35"/>
                <a:gd name="T19" fmla="*/ 43274 h 27"/>
                <a:gd name="T20" fmla="*/ 19050 w 35"/>
                <a:gd name="T21" fmla="*/ 50800 h 27"/>
                <a:gd name="T22" fmla="*/ 19050 w 35"/>
                <a:gd name="T23" fmla="*/ 45156 h 27"/>
                <a:gd name="T24" fmla="*/ 1905 w 35"/>
                <a:gd name="T25" fmla="*/ 47037 h 27"/>
                <a:gd name="T26" fmla="*/ 1905 w 35"/>
                <a:gd name="T27" fmla="*/ 43274 h 27"/>
                <a:gd name="T28" fmla="*/ 3810 w 35"/>
                <a:gd name="T29" fmla="*/ 37630 h 27"/>
                <a:gd name="T30" fmla="*/ 3810 w 35"/>
                <a:gd name="T31" fmla="*/ 28222 h 27"/>
                <a:gd name="T32" fmla="*/ 11430 w 35"/>
                <a:gd name="T33" fmla="*/ 24459 h 27"/>
                <a:gd name="T34" fmla="*/ 11430 w 35"/>
                <a:gd name="T35" fmla="*/ 18815 h 27"/>
                <a:gd name="T36" fmla="*/ 3810 w 35"/>
                <a:gd name="T37" fmla="*/ 15052 h 27"/>
                <a:gd name="T38" fmla="*/ 3810 w 35"/>
                <a:gd name="T39" fmla="*/ 7526 h 27"/>
                <a:gd name="T40" fmla="*/ 11430 w 35"/>
                <a:gd name="T41" fmla="*/ 5644 h 27"/>
                <a:gd name="T42" fmla="*/ 20955 w 35"/>
                <a:gd name="T43" fmla="*/ 7526 h 27"/>
                <a:gd name="T44" fmla="*/ 26670 w 35"/>
                <a:gd name="T45" fmla="*/ 1881 h 27"/>
                <a:gd name="T46" fmla="*/ 34290 w 35"/>
                <a:gd name="T47" fmla="*/ 1881 h 27"/>
                <a:gd name="T48" fmla="*/ 40005 w 35"/>
                <a:gd name="T49" fmla="*/ 5644 h 27"/>
                <a:gd name="T50" fmla="*/ 41910 w 35"/>
                <a:gd name="T51" fmla="*/ 3763 h 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5"/>
                <a:gd name="T79" fmla="*/ 0 h 27"/>
                <a:gd name="T80" fmla="*/ 35 w 35"/>
                <a:gd name="T81" fmla="*/ 27 h 2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5" h="27">
                  <a:moveTo>
                    <a:pt x="22" y="2"/>
                  </a:moveTo>
                  <a:cubicBezTo>
                    <a:pt x="23" y="2"/>
                    <a:pt x="24" y="1"/>
                    <a:pt x="25" y="2"/>
                  </a:cubicBezTo>
                  <a:cubicBezTo>
                    <a:pt x="26" y="2"/>
                    <a:pt x="25" y="4"/>
                    <a:pt x="25" y="5"/>
                  </a:cubicBezTo>
                  <a:cubicBezTo>
                    <a:pt x="25" y="7"/>
                    <a:pt x="25" y="10"/>
                    <a:pt x="27" y="12"/>
                  </a:cubicBezTo>
                  <a:cubicBezTo>
                    <a:pt x="29" y="14"/>
                    <a:pt x="32" y="12"/>
                    <a:pt x="34" y="14"/>
                  </a:cubicBezTo>
                  <a:cubicBezTo>
                    <a:pt x="35" y="15"/>
                    <a:pt x="33" y="17"/>
                    <a:pt x="32" y="18"/>
                  </a:cubicBezTo>
                  <a:cubicBezTo>
                    <a:pt x="31" y="18"/>
                    <a:pt x="29" y="17"/>
                    <a:pt x="28" y="17"/>
                  </a:cubicBezTo>
                  <a:cubicBezTo>
                    <a:pt x="27" y="17"/>
                    <a:pt x="25" y="18"/>
                    <a:pt x="24" y="18"/>
                  </a:cubicBezTo>
                  <a:cubicBezTo>
                    <a:pt x="22" y="18"/>
                    <a:pt x="21" y="18"/>
                    <a:pt x="19" y="18"/>
                  </a:cubicBezTo>
                  <a:cubicBezTo>
                    <a:pt x="17" y="19"/>
                    <a:pt x="16" y="21"/>
                    <a:pt x="15" y="23"/>
                  </a:cubicBezTo>
                  <a:cubicBezTo>
                    <a:pt x="13" y="24"/>
                    <a:pt x="12" y="26"/>
                    <a:pt x="10" y="27"/>
                  </a:cubicBezTo>
                  <a:cubicBezTo>
                    <a:pt x="9" y="27"/>
                    <a:pt x="11" y="24"/>
                    <a:pt x="10" y="24"/>
                  </a:cubicBezTo>
                  <a:cubicBezTo>
                    <a:pt x="7" y="23"/>
                    <a:pt x="4" y="25"/>
                    <a:pt x="1" y="25"/>
                  </a:cubicBezTo>
                  <a:cubicBezTo>
                    <a:pt x="0" y="25"/>
                    <a:pt x="0" y="23"/>
                    <a:pt x="1" y="23"/>
                  </a:cubicBezTo>
                  <a:cubicBezTo>
                    <a:pt x="1" y="22"/>
                    <a:pt x="2" y="21"/>
                    <a:pt x="2" y="20"/>
                  </a:cubicBezTo>
                  <a:cubicBezTo>
                    <a:pt x="2" y="18"/>
                    <a:pt x="1" y="17"/>
                    <a:pt x="2" y="15"/>
                  </a:cubicBezTo>
                  <a:cubicBezTo>
                    <a:pt x="3" y="14"/>
                    <a:pt x="5" y="15"/>
                    <a:pt x="6" y="13"/>
                  </a:cubicBezTo>
                  <a:cubicBezTo>
                    <a:pt x="6" y="12"/>
                    <a:pt x="6" y="11"/>
                    <a:pt x="6" y="10"/>
                  </a:cubicBezTo>
                  <a:cubicBezTo>
                    <a:pt x="5" y="8"/>
                    <a:pt x="3" y="8"/>
                    <a:pt x="2" y="8"/>
                  </a:cubicBezTo>
                  <a:cubicBezTo>
                    <a:pt x="2" y="7"/>
                    <a:pt x="1" y="5"/>
                    <a:pt x="2" y="4"/>
                  </a:cubicBezTo>
                  <a:cubicBezTo>
                    <a:pt x="3" y="3"/>
                    <a:pt x="5" y="3"/>
                    <a:pt x="6" y="3"/>
                  </a:cubicBezTo>
                  <a:cubicBezTo>
                    <a:pt x="8" y="3"/>
                    <a:pt x="9" y="4"/>
                    <a:pt x="11" y="4"/>
                  </a:cubicBezTo>
                  <a:cubicBezTo>
                    <a:pt x="12" y="3"/>
                    <a:pt x="12" y="1"/>
                    <a:pt x="14" y="1"/>
                  </a:cubicBezTo>
                  <a:cubicBezTo>
                    <a:pt x="15" y="0"/>
                    <a:pt x="17" y="1"/>
                    <a:pt x="18" y="1"/>
                  </a:cubicBezTo>
                  <a:cubicBezTo>
                    <a:pt x="19" y="2"/>
                    <a:pt x="20" y="3"/>
                    <a:pt x="21" y="3"/>
                  </a:cubicBezTo>
                  <a:cubicBezTo>
                    <a:pt x="21" y="3"/>
                    <a:pt x="22" y="2"/>
                    <a:pt x="2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" name="Freeform 94"/>
            <p:cNvSpPr>
              <a:spLocks noChangeAspect="1"/>
            </p:cNvSpPr>
            <p:nvPr/>
          </p:nvSpPr>
          <p:spPr bwMode="auto">
            <a:xfrm>
              <a:off x="5048250" y="2914650"/>
              <a:ext cx="147638" cy="96838"/>
            </a:xfrm>
            <a:custGeom>
              <a:avLst/>
              <a:gdLst>
                <a:gd name="T0" fmla="*/ 132496 w 78"/>
                <a:gd name="T1" fmla="*/ 72154 h 51"/>
                <a:gd name="T2" fmla="*/ 128710 w 78"/>
                <a:gd name="T3" fmla="*/ 62660 h 51"/>
                <a:gd name="T4" fmla="*/ 121139 w 78"/>
                <a:gd name="T5" fmla="*/ 56964 h 51"/>
                <a:gd name="T6" fmla="*/ 130603 w 78"/>
                <a:gd name="T7" fmla="*/ 49368 h 51"/>
                <a:gd name="T8" fmla="*/ 130603 w 78"/>
                <a:gd name="T9" fmla="*/ 37976 h 51"/>
                <a:gd name="T10" fmla="*/ 136281 w 78"/>
                <a:gd name="T11" fmla="*/ 26583 h 51"/>
                <a:gd name="T12" fmla="*/ 141960 w 78"/>
                <a:gd name="T13" fmla="*/ 26583 h 51"/>
                <a:gd name="T14" fmla="*/ 145745 w 78"/>
                <a:gd name="T15" fmla="*/ 26583 h 51"/>
                <a:gd name="T16" fmla="*/ 147638 w 78"/>
                <a:gd name="T17" fmla="*/ 15190 h 51"/>
                <a:gd name="T18" fmla="*/ 141960 w 78"/>
                <a:gd name="T19" fmla="*/ 15190 h 51"/>
                <a:gd name="T20" fmla="*/ 136281 w 78"/>
                <a:gd name="T21" fmla="*/ 11393 h 51"/>
                <a:gd name="T22" fmla="*/ 124924 w 78"/>
                <a:gd name="T23" fmla="*/ 9494 h 51"/>
                <a:gd name="T24" fmla="*/ 115460 w 78"/>
                <a:gd name="T25" fmla="*/ 5696 h 51"/>
                <a:gd name="T26" fmla="*/ 105997 w 78"/>
                <a:gd name="T27" fmla="*/ 5696 h 51"/>
                <a:gd name="T28" fmla="*/ 94640 w 78"/>
                <a:gd name="T29" fmla="*/ 7595 h 51"/>
                <a:gd name="T30" fmla="*/ 87069 w 78"/>
                <a:gd name="T31" fmla="*/ 13291 h 51"/>
                <a:gd name="T32" fmla="*/ 64355 w 78"/>
                <a:gd name="T33" fmla="*/ 17089 h 51"/>
                <a:gd name="T34" fmla="*/ 49213 w 78"/>
                <a:gd name="T35" fmla="*/ 15190 h 51"/>
                <a:gd name="T36" fmla="*/ 24606 w 78"/>
                <a:gd name="T37" fmla="*/ 13291 h 51"/>
                <a:gd name="T38" fmla="*/ 11357 w 78"/>
                <a:gd name="T39" fmla="*/ 15190 h 51"/>
                <a:gd name="T40" fmla="*/ 15142 w 78"/>
                <a:gd name="T41" fmla="*/ 7595 h 51"/>
                <a:gd name="T42" fmla="*/ 7571 w 78"/>
                <a:gd name="T43" fmla="*/ 0 h 51"/>
                <a:gd name="T44" fmla="*/ 1893 w 78"/>
                <a:gd name="T45" fmla="*/ 9494 h 51"/>
                <a:gd name="T46" fmla="*/ 1893 w 78"/>
                <a:gd name="T47" fmla="*/ 24684 h 51"/>
                <a:gd name="T48" fmla="*/ 11357 w 78"/>
                <a:gd name="T49" fmla="*/ 34178 h 51"/>
                <a:gd name="T50" fmla="*/ 17035 w 78"/>
                <a:gd name="T51" fmla="*/ 39874 h 51"/>
                <a:gd name="T52" fmla="*/ 5678 w 78"/>
                <a:gd name="T53" fmla="*/ 45571 h 51"/>
                <a:gd name="T54" fmla="*/ 5678 w 78"/>
                <a:gd name="T55" fmla="*/ 60761 h 51"/>
                <a:gd name="T56" fmla="*/ 7571 w 78"/>
                <a:gd name="T57" fmla="*/ 68356 h 51"/>
                <a:gd name="T58" fmla="*/ 17035 w 78"/>
                <a:gd name="T59" fmla="*/ 72154 h 51"/>
                <a:gd name="T60" fmla="*/ 18928 w 78"/>
                <a:gd name="T61" fmla="*/ 81648 h 51"/>
                <a:gd name="T62" fmla="*/ 18928 w 78"/>
                <a:gd name="T63" fmla="*/ 91142 h 51"/>
                <a:gd name="T64" fmla="*/ 26499 w 78"/>
                <a:gd name="T65" fmla="*/ 91142 h 51"/>
                <a:gd name="T66" fmla="*/ 39749 w 78"/>
                <a:gd name="T67" fmla="*/ 91142 h 51"/>
                <a:gd name="T68" fmla="*/ 45427 w 78"/>
                <a:gd name="T69" fmla="*/ 87344 h 51"/>
                <a:gd name="T70" fmla="*/ 54891 w 78"/>
                <a:gd name="T71" fmla="*/ 87344 h 51"/>
                <a:gd name="T72" fmla="*/ 58677 w 78"/>
                <a:gd name="T73" fmla="*/ 91142 h 51"/>
                <a:gd name="T74" fmla="*/ 68141 w 78"/>
                <a:gd name="T75" fmla="*/ 93040 h 51"/>
                <a:gd name="T76" fmla="*/ 77605 w 78"/>
                <a:gd name="T77" fmla="*/ 94939 h 51"/>
                <a:gd name="T78" fmla="*/ 92747 w 78"/>
                <a:gd name="T79" fmla="*/ 89243 h 51"/>
                <a:gd name="T80" fmla="*/ 94640 w 78"/>
                <a:gd name="T81" fmla="*/ 83547 h 51"/>
                <a:gd name="T82" fmla="*/ 94640 w 78"/>
                <a:gd name="T83" fmla="*/ 75951 h 51"/>
                <a:gd name="T84" fmla="*/ 102211 w 78"/>
                <a:gd name="T85" fmla="*/ 74053 h 51"/>
                <a:gd name="T86" fmla="*/ 111675 w 78"/>
                <a:gd name="T87" fmla="*/ 75951 h 51"/>
                <a:gd name="T88" fmla="*/ 117353 w 78"/>
                <a:gd name="T89" fmla="*/ 70255 h 51"/>
                <a:gd name="T90" fmla="*/ 124924 w 78"/>
                <a:gd name="T91" fmla="*/ 70255 h 51"/>
                <a:gd name="T92" fmla="*/ 130603 w 78"/>
                <a:gd name="T93" fmla="*/ 74053 h 51"/>
                <a:gd name="T94" fmla="*/ 132496 w 78"/>
                <a:gd name="T95" fmla="*/ 72154 h 5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8"/>
                <a:gd name="T145" fmla="*/ 0 h 51"/>
                <a:gd name="T146" fmla="*/ 78 w 78"/>
                <a:gd name="T147" fmla="*/ 51 h 5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8" h="51">
                  <a:moveTo>
                    <a:pt x="70" y="38"/>
                  </a:moveTo>
                  <a:cubicBezTo>
                    <a:pt x="70" y="36"/>
                    <a:pt x="69" y="34"/>
                    <a:pt x="68" y="33"/>
                  </a:cubicBezTo>
                  <a:cubicBezTo>
                    <a:pt x="67" y="32"/>
                    <a:pt x="63" y="32"/>
                    <a:pt x="64" y="30"/>
                  </a:cubicBezTo>
                  <a:cubicBezTo>
                    <a:pt x="64" y="28"/>
                    <a:pt x="68" y="28"/>
                    <a:pt x="69" y="26"/>
                  </a:cubicBezTo>
                  <a:cubicBezTo>
                    <a:pt x="70" y="24"/>
                    <a:pt x="68" y="22"/>
                    <a:pt x="69" y="20"/>
                  </a:cubicBezTo>
                  <a:cubicBezTo>
                    <a:pt x="69" y="18"/>
                    <a:pt x="70" y="16"/>
                    <a:pt x="72" y="14"/>
                  </a:cubicBezTo>
                  <a:cubicBezTo>
                    <a:pt x="72" y="13"/>
                    <a:pt x="74" y="14"/>
                    <a:pt x="75" y="14"/>
                  </a:cubicBezTo>
                  <a:cubicBezTo>
                    <a:pt x="75" y="14"/>
                    <a:pt x="76" y="14"/>
                    <a:pt x="77" y="14"/>
                  </a:cubicBezTo>
                  <a:cubicBezTo>
                    <a:pt x="78" y="12"/>
                    <a:pt x="78" y="10"/>
                    <a:pt x="78" y="8"/>
                  </a:cubicBezTo>
                  <a:cubicBezTo>
                    <a:pt x="77" y="8"/>
                    <a:pt x="76" y="8"/>
                    <a:pt x="75" y="8"/>
                  </a:cubicBezTo>
                  <a:cubicBezTo>
                    <a:pt x="74" y="7"/>
                    <a:pt x="73" y="6"/>
                    <a:pt x="72" y="6"/>
                  </a:cubicBezTo>
                  <a:cubicBezTo>
                    <a:pt x="70" y="5"/>
                    <a:pt x="68" y="5"/>
                    <a:pt x="66" y="5"/>
                  </a:cubicBezTo>
                  <a:cubicBezTo>
                    <a:pt x="64" y="4"/>
                    <a:pt x="63" y="3"/>
                    <a:pt x="61" y="3"/>
                  </a:cubicBezTo>
                  <a:cubicBezTo>
                    <a:pt x="60" y="3"/>
                    <a:pt x="58" y="3"/>
                    <a:pt x="56" y="3"/>
                  </a:cubicBezTo>
                  <a:cubicBezTo>
                    <a:pt x="54" y="3"/>
                    <a:pt x="52" y="3"/>
                    <a:pt x="50" y="4"/>
                  </a:cubicBezTo>
                  <a:cubicBezTo>
                    <a:pt x="48" y="4"/>
                    <a:pt x="48" y="6"/>
                    <a:pt x="46" y="7"/>
                  </a:cubicBezTo>
                  <a:cubicBezTo>
                    <a:pt x="42" y="8"/>
                    <a:pt x="38" y="9"/>
                    <a:pt x="34" y="9"/>
                  </a:cubicBezTo>
                  <a:cubicBezTo>
                    <a:pt x="31" y="9"/>
                    <a:pt x="28" y="9"/>
                    <a:pt x="26" y="8"/>
                  </a:cubicBezTo>
                  <a:cubicBezTo>
                    <a:pt x="22" y="8"/>
                    <a:pt x="18" y="7"/>
                    <a:pt x="13" y="7"/>
                  </a:cubicBezTo>
                  <a:cubicBezTo>
                    <a:pt x="11" y="7"/>
                    <a:pt x="8" y="9"/>
                    <a:pt x="6" y="8"/>
                  </a:cubicBezTo>
                  <a:cubicBezTo>
                    <a:pt x="5" y="7"/>
                    <a:pt x="8" y="5"/>
                    <a:pt x="8" y="4"/>
                  </a:cubicBezTo>
                  <a:cubicBezTo>
                    <a:pt x="7" y="2"/>
                    <a:pt x="6" y="2"/>
                    <a:pt x="4" y="0"/>
                  </a:cubicBezTo>
                  <a:cubicBezTo>
                    <a:pt x="3" y="2"/>
                    <a:pt x="1" y="3"/>
                    <a:pt x="1" y="5"/>
                  </a:cubicBezTo>
                  <a:cubicBezTo>
                    <a:pt x="0" y="7"/>
                    <a:pt x="0" y="10"/>
                    <a:pt x="1" y="13"/>
                  </a:cubicBezTo>
                  <a:cubicBezTo>
                    <a:pt x="2" y="15"/>
                    <a:pt x="5" y="16"/>
                    <a:pt x="6" y="18"/>
                  </a:cubicBezTo>
                  <a:cubicBezTo>
                    <a:pt x="7" y="19"/>
                    <a:pt x="10" y="20"/>
                    <a:pt x="9" y="21"/>
                  </a:cubicBezTo>
                  <a:cubicBezTo>
                    <a:pt x="8" y="23"/>
                    <a:pt x="4" y="22"/>
                    <a:pt x="3" y="24"/>
                  </a:cubicBezTo>
                  <a:cubicBezTo>
                    <a:pt x="2" y="27"/>
                    <a:pt x="3" y="30"/>
                    <a:pt x="3" y="32"/>
                  </a:cubicBezTo>
                  <a:cubicBezTo>
                    <a:pt x="3" y="34"/>
                    <a:pt x="3" y="35"/>
                    <a:pt x="4" y="36"/>
                  </a:cubicBezTo>
                  <a:cubicBezTo>
                    <a:pt x="5" y="37"/>
                    <a:pt x="8" y="36"/>
                    <a:pt x="9" y="38"/>
                  </a:cubicBezTo>
                  <a:cubicBezTo>
                    <a:pt x="10" y="39"/>
                    <a:pt x="10" y="41"/>
                    <a:pt x="10" y="43"/>
                  </a:cubicBezTo>
                  <a:cubicBezTo>
                    <a:pt x="11" y="44"/>
                    <a:pt x="10" y="47"/>
                    <a:pt x="10" y="48"/>
                  </a:cubicBezTo>
                  <a:cubicBezTo>
                    <a:pt x="11" y="48"/>
                    <a:pt x="13" y="48"/>
                    <a:pt x="14" y="48"/>
                  </a:cubicBezTo>
                  <a:cubicBezTo>
                    <a:pt x="17" y="48"/>
                    <a:pt x="19" y="49"/>
                    <a:pt x="21" y="48"/>
                  </a:cubicBezTo>
                  <a:cubicBezTo>
                    <a:pt x="22" y="48"/>
                    <a:pt x="22" y="46"/>
                    <a:pt x="24" y="46"/>
                  </a:cubicBezTo>
                  <a:cubicBezTo>
                    <a:pt x="26" y="45"/>
                    <a:pt x="28" y="45"/>
                    <a:pt x="29" y="46"/>
                  </a:cubicBezTo>
                  <a:cubicBezTo>
                    <a:pt x="30" y="46"/>
                    <a:pt x="30" y="48"/>
                    <a:pt x="31" y="48"/>
                  </a:cubicBezTo>
                  <a:cubicBezTo>
                    <a:pt x="33" y="49"/>
                    <a:pt x="35" y="49"/>
                    <a:pt x="36" y="49"/>
                  </a:cubicBezTo>
                  <a:cubicBezTo>
                    <a:pt x="38" y="50"/>
                    <a:pt x="40" y="51"/>
                    <a:pt x="41" y="50"/>
                  </a:cubicBezTo>
                  <a:cubicBezTo>
                    <a:pt x="44" y="50"/>
                    <a:pt x="47" y="49"/>
                    <a:pt x="49" y="47"/>
                  </a:cubicBezTo>
                  <a:cubicBezTo>
                    <a:pt x="50" y="47"/>
                    <a:pt x="50" y="45"/>
                    <a:pt x="50" y="44"/>
                  </a:cubicBezTo>
                  <a:cubicBezTo>
                    <a:pt x="50" y="43"/>
                    <a:pt x="49" y="41"/>
                    <a:pt x="50" y="40"/>
                  </a:cubicBezTo>
                  <a:cubicBezTo>
                    <a:pt x="51" y="39"/>
                    <a:pt x="53" y="39"/>
                    <a:pt x="54" y="39"/>
                  </a:cubicBezTo>
                  <a:cubicBezTo>
                    <a:pt x="56" y="39"/>
                    <a:pt x="57" y="40"/>
                    <a:pt x="59" y="40"/>
                  </a:cubicBezTo>
                  <a:cubicBezTo>
                    <a:pt x="60" y="39"/>
                    <a:pt x="60" y="37"/>
                    <a:pt x="62" y="37"/>
                  </a:cubicBezTo>
                  <a:cubicBezTo>
                    <a:pt x="63" y="36"/>
                    <a:pt x="65" y="37"/>
                    <a:pt x="66" y="37"/>
                  </a:cubicBezTo>
                  <a:cubicBezTo>
                    <a:pt x="67" y="38"/>
                    <a:pt x="68" y="39"/>
                    <a:pt x="69" y="39"/>
                  </a:cubicBezTo>
                  <a:cubicBezTo>
                    <a:pt x="69" y="39"/>
                    <a:pt x="70" y="38"/>
                    <a:pt x="70" y="3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" name="Freeform 95"/>
            <p:cNvSpPr>
              <a:spLocks noChangeAspect="1"/>
            </p:cNvSpPr>
            <p:nvPr/>
          </p:nvSpPr>
          <p:spPr bwMode="auto">
            <a:xfrm>
              <a:off x="5002213" y="2786063"/>
              <a:ext cx="220662" cy="144462"/>
            </a:xfrm>
            <a:custGeom>
              <a:avLst/>
              <a:gdLst>
                <a:gd name="T0" fmla="*/ 216857 w 116"/>
                <a:gd name="T1" fmla="*/ 100743 h 76"/>
                <a:gd name="T2" fmla="*/ 205444 w 116"/>
                <a:gd name="T3" fmla="*/ 93140 h 76"/>
                <a:gd name="T4" fmla="*/ 197835 w 116"/>
                <a:gd name="T5" fmla="*/ 98842 h 76"/>
                <a:gd name="T6" fmla="*/ 188324 w 116"/>
                <a:gd name="T7" fmla="*/ 100743 h 76"/>
                <a:gd name="T8" fmla="*/ 180715 w 116"/>
                <a:gd name="T9" fmla="*/ 96942 h 76"/>
                <a:gd name="T10" fmla="*/ 176910 w 116"/>
                <a:gd name="T11" fmla="*/ 74132 h 76"/>
                <a:gd name="T12" fmla="*/ 184519 w 116"/>
                <a:gd name="T13" fmla="*/ 57024 h 76"/>
                <a:gd name="T14" fmla="*/ 173106 w 116"/>
                <a:gd name="T15" fmla="*/ 39917 h 76"/>
                <a:gd name="T16" fmla="*/ 157887 w 116"/>
                <a:gd name="T17" fmla="*/ 22810 h 76"/>
                <a:gd name="T18" fmla="*/ 150278 w 116"/>
                <a:gd name="T19" fmla="*/ 3802 h 76"/>
                <a:gd name="T20" fmla="*/ 140767 w 116"/>
                <a:gd name="T21" fmla="*/ 0 h 76"/>
                <a:gd name="T22" fmla="*/ 133158 w 116"/>
                <a:gd name="T23" fmla="*/ 1901 h 76"/>
                <a:gd name="T24" fmla="*/ 125549 w 116"/>
                <a:gd name="T25" fmla="*/ 3802 h 76"/>
                <a:gd name="T26" fmla="*/ 110331 w 116"/>
                <a:gd name="T27" fmla="*/ 5702 h 76"/>
                <a:gd name="T28" fmla="*/ 102722 w 116"/>
                <a:gd name="T29" fmla="*/ 15207 h 76"/>
                <a:gd name="T30" fmla="*/ 95113 w 116"/>
                <a:gd name="T31" fmla="*/ 7603 h 76"/>
                <a:gd name="T32" fmla="*/ 87504 w 116"/>
                <a:gd name="T33" fmla="*/ 7603 h 76"/>
                <a:gd name="T34" fmla="*/ 72286 w 116"/>
                <a:gd name="T35" fmla="*/ 5702 h 76"/>
                <a:gd name="T36" fmla="*/ 62775 w 116"/>
                <a:gd name="T37" fmla="*/ 0 h 76"/>
                <a:gd name="T38" fmla="*/ 57068 w 116"/>
                <a:gd name="T39" fmla="*/ 7603 h 76"/>
                <a:gd name="T40" fmla="*/ 53263 w 116"/>
                <a:gd name="T41" fmla="*/ 11405 h 76"/>
                <a:gd name="T42" fmla="*/ 45654 w 116"/>
                <a:gd name="T43" fmla="*/ 13306 h 76"/>
                <a:gd name="T44" fmla="*/ 38045 w 116"/>
                <a:gd name="T45" fmla="*/ 22810 h 76"/>
                <a:gd name="T46" fmla="*/ 30436 w 116"/>
                <a:gd name="T47" fmla="*/ 36116 h 76"/>
                <a:gd name="T48" fmla="*/ 28534 w 116"/>
                <a:gd name="T49" fmla="*/ 49421 h 76"/>
                <a:gd name="T50" fmla="*/ 22827 w 116"/>
                <a:gd name="T51" fmla="*/ 51322 h 76"/>
                <a:gd name="T52" fmla="*/ 22827 w 116"/>
                <a:gd name="T53" fmla="*/ 58925 h 76"/>
                <a:gd name="T54" fmla="*/ 13316 w 116"/>
                <a:gd name="T55" fmla="*/ 62727 h 76"/>
                <a:gd name="T56" fmla="*/ 0 w 116"/>
                <a:gd name="T57" fmla="*/ 66529 h 76"/>
                <a:gd name="T58" fmla="*/ 5707 w 116"/>
                <a:gd name="T59" fmla="*/ 76033 h 76"/>
                <a:gd name="T60" fmla="*/ 11414 w 116"/>
                <a:gd name="T61" fmla="*/ 83636 h 76"/>
                <a:gd name="T62" fmla="*/ 15218 w 116"/>
                <a:gd name="T63" fmla="*/ 93140 h 76"/>
                <a:gd name="T64" fmla="*/ 28534 w 116"/>
                <a:gd name="T65" fmla="*/ 100743 h 76"/>
                <a:gd name="T66" fmla="*/ 28534 w 116"/>
                <a:gd name="T67" fmla="*/ 112148 h 76"/>
                <a:gd name="T68" fmla="*/ 39947 w 116"/>
                <a:gd name="T69" fmla="*/ 117851 h 76"/>
                <a:gd name="T70" fmla="*/ 47556 w 116"/>
                <a:gd name="T71" fmla="*/ 121652 h 76"/>
                <a:gd name="T72" fmla="*/ 49459 w 116"/>
                <a:gd name="T73" fmla="*/ 115950 h 76"/>
                <a:gd name="T74" fmla="*/ 55166 w 116"/>
                <a:gd name="T75" fmla="*/ 119751 h 76"/>
                <a:gd name="T76" fmla="*/ 51361 w 116"/>
                <a:gd name="T77" fmla="*/ 123553 h 76"/>
                <a:gd name="T78" fmla="*/ 53263 w 116"/>
                <a:gd name="T79" fmla="*/ 127355 h 76"/>
                <a:gd name="T80" fmla="*/ 60872 w 116"/>
                <a:gd name="T81" fmla="*/ 134958 h 76"/>
                <a:gd name="T82" fmla="*/ 57068 w 116"/>
                <a:gd name="T83" fmla="*/ 142561 h 76"/>
                <a:gd name="T84" fmla="*/ 70384 w 116"/>
                <a:gd name="T85" fmla="*/ 140660 h 76"/>
                <a:gd name="T86" fmla="*/ 95113 w 116"/>
                <a:gd name="T87" fmla="*/ 142561 h 76"/>
                <a:gd name="T88" fmla="*/ 110331 w 116"/>
                <a:gd name="T89" fmla="*/ 144462 h 76"/>
                <a:gd name="T90" fmla="*/ 133158 w 116"/>
                <a:gd name="T91" fmla="*/ 140660 h 76"/>
                <a:gd name="T92" fmla="*/ 140767 w 116"/>
                <a:gd name="T93" fmla="*/ 134958 h 76"/>
                <a:gd name="T94" fmla="*/ 152181 w 116"/>
                <a:gd name="T95" fmla="*/ 133057 h 76"/>
                <a:gd name="T96" fmla="*/ 161692 w 116"/>
                <a:gd name="T97" fmla="*/ 133057 h 76"/>
                <a:gd name="T98" fmla="*/ 171203 w 116"/>
                <a:gd name="T99" fmla="*/ 136859 h 76"/>
                <a:gd name="T100" fmla="*/ 182617 w 116"/>
                <a:gd name="T101" fmla="*/ 138760 h 76"/>
                <a:gd name="T102" fmla="*/ 188324 w 116"/>
                <a:gd name="T103" fmla="*/ 142561 h 76"/>
                <a:gd name="T104" fmla="*/ 194030 w 116"/>
                <a:gd name="T105" fmla="*/ 142561 h 76"/>
                <a:gd name="T106" fmla="*/ 194030 w 116"/>
                <a:gd name="T107" fmla="*/ 129255 h 76"/>
                <a:gd name="T108" fmla="*/ 197835 w 116"/>
                <a:gd name="T109" fmla="*/ 121652 h 76"/>
                <a:gd name="T110" fmla="*/ 192128 w 116"/>
                <a:gd name="T111" fmla="*/ 114049 h 76"/>
                <a:gd name="T112" fmla="*/ 199737 w 116"/>
                <a:gd name="T113" fmla="*/ 104545 h 76"/>
                <a:gd name="T114" fmla="*/ 205444 w 116"/>
                <a:gd name="T115" fmla="*/ 106446 h 76"/>
                <a:gd name="T116" fmla="*/ 203542 w 116"/>
                <a:gd name="T117" fmla="*/ 117851 h 76"/>
                <a:gd name="T118" fmla="*/ 216857 w 116"/>
                <a:gd name="T119" fmla="*/ 114049 h 76"/>
                <a:gd name="T120" fmla="*/ 216857 w 116"/>
                <a:gd name="T121" fmla="*/ 100743 h 7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6"/>
                <a:gd name="T184" fmla="*/ 0 h 76"/>
                <a:gd name="T185" fmla="*/ 116 w 116"/>
                <a:gd name="T186" fmla="*/ 76 h 7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6" h="76">
                  <a:moveTo>
                    <a:pt x="114" y="53"/>
                  </a:moveTo>
                  <a:cubicBezTo>
                    <a:pt x="112" y="52"/>
                    <a:pt x="111" y="49"/>
                    <a:pt x="108" y="49"/>
                  </a:cubicBezTo>
                  <a:cubicBezTo>
                    <a:pt x="106" y="49"/>
                    <a:pt x="106" y="52"/>
                    <a:pt x="104" y="52"/>
                  </a:cubicBezTo>
                  <a:cubicBezTo>
                    <a:pt x="102" y="53"/>
                    <a:pt x="101" y="53"/>
                    <a:pt x="99" y="53"/>
                  </a:cubicBezTo>
                  <a:cubicBezTo>
                    <a:pt x="97" y="53"/>
                    <a:pt x="96" y="51"/>
                    <a:pt x="95" y="51"/>
                  </a:cubicBezTo>
                  <a:cubicBezTo>
                    <a:pt x="94" y="46"/>
                    <a:pt x="93" y="43"/>
                    <a:pt x="93" y="39"/>
                  </a:cubicBezTo>
                  <a:cubicBezTo>
                    <a:pt x="94" y="36"/>
                    <a:pt x="97" y="33"/>
                    <a:pt x="97" y="30"/>
                  </a:cubicBezTo>
                  <a:cubicBezTo>
                    <a:pt x="96" y="27"/>
                    <a:pt x="93" y="24"/>
                    <a:pt x="91" y="21"/>
                  </a:cubicBezTo>
                  <a:cubicBezTo>
                    <a:pt x="89" y="18"/>
                    <a:pt x="85" y="15"/>
                    <a:pt x="83" y="12"/>
                  </a:cubicBezTo>
                  <a:cubicBezTo>
                    <a:pt x="81" y="9"/>
                    <a:pt x="81" y="5"/>
                    <a:pt x="79" y="2"/>
                  </a:cubicBezTo>
                  <a:cubicBezTo>
                    <a:pt x="78" y="0"/>
                    <a:pt x="76" y="0"/>
                    <a:pt x="74" y="0"/>
                  </a:cubicBezTo>
                  <a:cubicBezTo>
                    <a:pt x="73" y="0"/>
                    <a:pt x="71" y="0"/>
                    <a:pt x="70" y="1"/>
                  </a:cubicBezTo>
                  <a:cubicBezTo>
                    <a:pt x="68" y="1"/>
                    <a:pt x="67" y="2"/>
                    <a:pt x="66" y="2"/>
                  </a:cubicBezTo>
                  <a:cubicBezTo>
                    <a:pt x="63" y="3"/>
                    <a:pt x="60" y="2"/>
                    <a:pt x="58" y="3"/>
                  </a:cubicBezTo>
                  <a:cubicBezTo>
                    <a:pt x="56" y="4"/>
                    <a:pt x="56" y="7"/>
                    <a:pt x="54" y="8"/>
                  </a:cubicBezTo>
                  <a:cubicBezTo>
                    <a:pt x="53" y="8"/>
                    <a:pt x="52" y="5"/>
                    <a:pt x="50" y="4"/>
                  </a:cubicBezTo>
                  <a:cubicBezTo>
                    <a:pt x="49" y="3"/>
                    <a:pt x="47" y="4"/>
                    <a:pt x="46" y="4"/>
                  </a:cubicBezTo>
                  <a:cubicBezTo>
                    <a:pt x="43" y="4"/>
                    <a:pt x="41" y="3"/>
                    <a:pt x="38" y="3"/>
                  </a:cubicBezTo>
                  <a:cubicBezTo>
                    <a:pt x="36" y="2"/>
                    <a:pt x="35" y="0"/>
                    <a:pt x="33" y="0"/>
                  </a:cubicBezTo>
                  <a:cubicBezTo>
                    <a:pt x="31" y="0"/>
                    <a:pt x="31" y="3"/>
                    <a:pt x="30" y="4"/>
                  </a:cubicBezTo>
                  <a:cubicBezTo>
                    <a:pt x="29" y="4"/>
                    <a:pt x="29" y="5"/>
                    <a:pt x="28" y="6"/>
                  </a:cubicBezTo>
                  <a:cubicBezTo>
                    <a:pt x="27" y="7"/>
                    <a:pt x="25" y="6"/>
                    <a:pt x="24" y="7"/>
                  </a:cubicBezTo>
                  <a:cubicBezTo>
                    <a:pt x="22" y="9"/>
                    <a:pt x="21" y="11"/>
                    <a:pt x="20" y="12"/>
                  </a:cubicBezTo>
                  <a:cubicBezTo>
                    <a:pt x="18" y="14"/>
                    <a:pt x="17" y="16"/>
                    <a:pt x="16" y="19"/>
                  </a:cubicBezTo>
                  <a:cubicBezTo>
                    <a:pt x="15" y="21"/>
                    <a:pt x="16" y="24"/>
                    <a:pt x="15" y="26"/>
                  </a:cubicBezTo>
                  <a:cubicBezTo>
                    <a:pt x="14" y="27"/>
                    <a:pt x="12" y="26"/>
                    <a:pt x="12" y="27"/>
                  </a:cubicBezTo>
                  <a:cubicBezTo>
                    <a:pt x="11" y="28"/>
                    <a:pt x="13" y="30"/>
                    <a:pt x="12" y="31"/>
                  </a:cubicBezTo>
                  <a:cubicBezTo>
                    <a:pt x="11" y="33"/>
                    <a:pt x="8" y="33"/>
                    <a:pt x="7" y="33"/>
                  </a:cubicBezTo>
                  <a:cubicBezTo>
                    <a:pt x="5" y="34"/>
                    <a:pt x="2" y="34"/>
                    <a:pt x="0" y="35"/>
                  </a:cubicBezTo>
                  <a:cubicBezTo>
                    <a:pt x="1" y="37"/>
                    <a:pt x="2" y="39"/>
                    <a:pt x="3" y="40"/>
                  </a:cubicBezTo>
                  <a:cubicBezTo>
                    <a:pt x="4" y="42"/>
                    <a:pt x="5" y="42"/>
                    <a:pt x="6" y="44"/>
                  </a:cubicBezTo>
                  <a:cubicBezTo>
                    <a:pt x="7" y="45"/>
                    <a:pt x="7" y="47"/>
                    <a:pt x="8" y="49"/>
                  </a:cubicBezTo>
                  <a:cubicBezTo>
                    <a:pt x="10" y="51"/>
                    <a:pt x="13" y="51"/>
                    <a:pt x="15" y="53"/>
                  </a:cubicBezTo>
                  <a:cubicBezTo>
                    <a:pt x="16" y="54"/>
                    <a:pt x="13" y="57"/>
                    <a:pt x="15" y="59"/>
                  </a:cubicBezTo>
                  <a:cubicBezTo>
                    <a:pt x="16" y="61"/>
                    <a:pt x="19" y="61"/>
                    <a:pt x="21" y="62"/>
                  </a:cubicBezTo>
                  <a:cubicBezTo>
                    <a:pt x="22" y="62"/>
                    <a:pt x="23" y="64"/>
                    <a:pt x="25" y="64"/>
                  </a:cubicBezTo>
                  <a:cubicBezTo>
                    <a:pt x="26" y="64"/>
                    <a:pt x="25" y="61"/>
                    <a:pt x="26" y="61"/>
                  </a:cubicBezTo>
                  <a:cubicBezTo>
                    <a:pt x="28" y="61"/>
                    <a:pt x="29" y="62"/>
                    <a:pt x="29" y="63"/>
                  </a:cubicBezTo>
                  <a:cubicBezTo>
                    <a:pt x="30" y="64"/>
                    <a:pt x="28" y="64"/>
                    <a:pt x="27" y="65"/>
                  </a:cubicBezTo>
                  <a:cubicBezTo>
                    <a:pt x="27" y="66"/>
                    <a:pt x="28" y="66"/>
                    <a:pt x="28" y="67"/>
                  </a:cubicBezTo>
                  <a:cubicBezTo>
                    <a:pt x="30" y="69"/>
                    <a:pt x="31" y="69"/>
                    <a:pt x="32" y="71"/>
                  </a:cubicBezTo>
                  <a:cubicBezTo>
                    <a:pt x="32" y="72"/>
                    <a:pt x="29" y="74"/>
                    <a:pt x="30" y="75"/>
                  </a:cubicBezTo>
                  <a:cubicBezTo>
                    <a:pt x="32" y="76"/>
                    <a:pt x="35" y="74"/>
                    <a:pt x="37" y="74"/>
                  </a:cubicBezTo>
                  <a:cubicBezTo>
                    <a:pt x="42" y="74"/>
                    <a:pt x="46" y="75"/>
                    <a:pt x="50" y="75"/>
                  </a:cubicBezTo>
                  <a:cubicBezTo>
                    <a:pt x="52" y="76"/>
                    <a:pt x="55" y="76"/>
                    <a:pt x="58" y="76"/>
                  </a:cubicBezTo>
                  <a:cubicBezTo>
                    <a:pt x="62" y="76"/>
                    <a:pt x="66" y="75"/>
                    <a:pt x="70" y="74"/>
                  </a:cubicBezTo>
                  <a:cubicBezTo>
                    <a:pt x="72" y="73"/>
                    <a:pt x="72" y="71"/>
                    <a:pt x="74" y="71"/>
                  </a:cubicBezTo>
                  <a:cubicBezTo>
                    <a:pt x="76" y="70"/>
                    <a:pt x="78" y="70"/>
                    <a:pt x="80" y="70"/>
                  </a:cubicBezTo>
                  <a:cubicBezTo>
                    <a:pt x="82" y="70"/>
                    <a:pt x="84" y="70"/>
                    <a:pt x="85" y="70"/>
                  </a:cubicBezTo>
                  <a:cubicBezTo>
                    <a:pt x="87" y="70"/>
                    <a:pt x="88" y="71"/>
                    <a:pt x="90" y="72"/>
                  </a:cubicBezTo>
                  <a:cubicBezTo>
                    <a:pt x="92" y="72"/>
                    <a:pt x="94" y="72"/>
                    <a:pt x="96" y="73"/>
                  </a:cubicBezTo>
                  <a:cubicBezTo>
                    <a:pt x="97" y="73"/>
                    <a:pt x="98" y="74"/>
                    <a:pt x="99" y="75"/>
                  </a:cubicBezTo>
                  <a:cubicBezTo>
                    <a:pt x="100" y="75"/>
                    <a:pt x="101" y="75"/>
                    <a:pt x="102" y="75"/>
                  </a:cubicBezTo>
                  <a:cubicBezTo>
                    <a:pt x="102" y="72"/>
                    <a:pt x="102" y="70"/>
                    <a:pt x="102" y="68"/>
                  </a:cubicBezTo>
                  <a:cubicBezTo>
                    <a:pt x="102" y="66"/>
                    <a:pt x="105" y="65"/>
                    <a:pt x="104" y="64"/>
                  </a:cubicBezTo>
                  <a:cubicBezTo>
                    <a:pt x="104" y="62"/>
                    <a:pt x="101" y="62"/>
                    <a:pt x="101" y="60"/>
                  </a:cubicBezTo>
                  <a:cubicBezTo>
                    <a:pt x="101" y="58"/>
                    <a:pt x="103" y="56"/>
                    <a:pt x="105" y="55"/>
                  </a:cubicBezTo>
                  <a:cubicBezTo>
                    <a:pt x="106" y="55"/>
                    <a:pt x="108" y="55"/>
                    <a:pt x="108" y="56"/>
                  </a:cubicBezTo>
                  <a:cubicBezTo>
                    <a:pt x="109" y="58"/>
                    <a:pt x="105" y="61"/>
                    <a:pt x="107" y="62"/>
                  </a:cubicBezTo>
                  <a:cubicBezTo>
                    <a:pt x="109" y="63"/>
                    <a:pt x="113" y="62"/>
                    <a:pt x="114" y="60"/>
                  </a:cubicBezTo>
                  <a:cubicBezTo>
                    <a:pt x="116" y="58"/>
                    <a:pt x="114" y="55"/>
                    <a:pt x="114" y="5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" name="Freeform 96"/>
            <p:cNvSpPr>
              <a:spLocks noChangeAspect="1"/>
            </p:cNvSpPr>
            <p:nvPr/>
          </p:nvSpPr>
          <p:spPr bwMode="auto">
            <a:xfrm>
              <a:off x="5143500" y="2773363"/>
              <a:ext cx="80963" cy="109537"/>
            </a:xfrm>
            <a:custGeom>
              <a:avLst/>
              <a:gdLst>
                <a:gd name="T0" fmla="*/ 39540 w 43"/>
                <a:gd name="T1" fmla="*/ 109537 h 58"/>
                <a:gd name="T2" fmla="*/ 48954 w 43"/>
                <a:gd name="T3" fmla="*/ 98206 h 58"/>
                <a:gd name="T4" fmla="*/ 56486 w 43"/>
                <a:gd name="T5" fmla="*/ 83097 h 58"/>
                <a:gd name="T6" fmla="*/ 58369 w 43"/>
                <a:gd name="T7" fmla="*/ 69877 h 58"/>
                <a:gd name="T8" fmla="*/ 67783 w 43"/>
                <a:gd name="T9" fmla="*/ 71766 h 58"/>
                <a:gd name="T10" fmla="*/ 79080 w 43"/>
                <a:gd name="T11" fmla="*/ 71766 h 58"/>
                <a:gd name="T12" fmla="*/ 79080 w 43"/>
                <a:gd name="T13" fmla="*/ 58546 h 58"/>
                <a:gd name="T14" fmla="*/ 69666 w 43"/>
                <a:gd name="T15" fmla="*/ 54769 h 58"/>
                <a:gd name="T16" fmla="*/ 67783 w 43"/>
                <a:gd name="T17" fmla="*/ 41549 h 58"/>
                <a:gd name="T18" fmla="*/ 60252 w 43"/>
                <a:gd name="T19" fmla="*/ 32106 h 58"/>
                <a:gd name="T20" fmla="*/ 58369 w 43"/>
                <a:gd name="T21" fmla="*/ 18886 h 58"/>
                <a:gd name="T22" fmla="*/ 45189 w 43"/>
                <a:gd name="T23" fmla="*/ 15109 h 58"/>
                <a:gd name="T24" fmla="*/ 39540 w 43"/>
                <a:gd name="T25" fmla="*/ 15109 h 58"/>
                <a:gd name="T26" fmla="*/ 20711 w 43"/>
                <a:gd name="T27" fmla="*/ 1889 h 58"/>
                <a:gd name="T28" fmla="*/ 9414 w 43"/>
                <a:gd name="T29" fmla="*/ 3777 h 58"/>
                <a:gd name="T30" fmla="*/ 1883 w 43"/>
                <a:gd name="T31" fmla="*/ 3777 h 58"/>
                <a:gd name="T32" fmla="*/ 0 w 43"/>
                <a:gd name="T33" fmla="*/ 13220 h 58"/>
                <a:gd name="T34" fmla="*/ 9414 w 43"/>
                <a:gd name="T35" fmla="*/ 16997 h 58"/>
                <a:gd name="T36" fmla="*/ 16946 w 43"/>
                <a:gd name="T37" fmla="*/ 35883 h 58"/>
                <a:gd name="T38" fmla="*/ 32009 w 43"/>
                <a:gd name="T39" fmla="*/ 52880 h 58"/>
                <a:gd name="T40" fmla="*/ 43306 w 43"/>
                <a:gd name="T41" fmla="*/ 69877 h 58"/>
                <a:gd name="T42" fmla="*/ 35774 w 43"/>
                <a:gd name="T43" fmla="*/ 86874 h 58"/>
                <a:gd name="T44" fmla="*/ 39540 w 43"/>
                <a:gd name="T45" fmla="*/ 109537 h 5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3"/>
                <a:gd name="T70" fmla="*/ 0 h 58"/>
                <a:gd name="T71" fmla="*/ 43 w 43"/>
                <a:gd name="T72" fmla="*/ 58 h 5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3" h="58">
                  <a:moveTo>
                    <a:pt x="21" y="58"/>
                  </a:moveTo>
                  <a:cubicBezTo>
                    <a:pt x="23" y="56"/>
                    <a:pt x="25" y="54"/>
                    <a:pt x="26" y="52"/>
                  </a:cubicBezTo>
                  <a:cubicBezTo>
                    <a:pt x="28" y="49"/>
                    <a:pt x="29" y="47"/>
                    <a:pt x="30" y="44"/>
                  </a:cubicBezTo>
                  <a:cubicBezTo>
                    <a:pt x="31" y="41"/>
                    <a:pt x="29" y="38"/>
                    <a:pt x="31" y="37"/>
                  </a:cubicBezTo>
                  <a:cubicBezTo>
                    <a:pt x="32" y="35"/>
                    <a:pt x="35" y="38"/>
                    <a:pt x="36" y="38"/>
                  </a:cubicBezTo>
                  <a:cubicBezTo>
                    <a:pt x="38" y="38"/>
                    <a:pt x="41" y="39"/>
                    <a:pt x="42" y="38"/>
                  </a:cubicBezTo>
                  <a:cubicBezTo>
                    <a:pt x="43" y="36"/>
                    <a:pt x="43" y="33"/>
                    <a:pt x="42" y="31"/>
                  </a:cubicBezTo>
                  <a:cubicBezTo>
                    <a:pt x="41" y="30"/>
                    <a:pt x="38" y="30"/>
                    <a:pt x="37" y="29"/>
                  </a:cubicBezTo>
                  <a:cubicBezTo>
                    <a:pt x="36" y="27"/>
                    <a:pt x="37" y="24"/>
                    <a:pt x="36" y="22"/>
                  </a:cubicBezTo>
                  <a:cubicBezTo>
                    <a:pt x="35" y="20"/>
                    <a:pt x="33" y="19"/>
                    <a:pt x="32" y="17"/>
                  </a:cubicBezTo>
                  <a:cubicBezTo>
                    <a:pt x="31" y="15"/>
                    <a:pt x="32" y="12"/>
                    <a:pt x="31" y="10"/>
                  </a:cubicBezTo>
                  <a:cubicBezTo>
                    <a:pt x="29" y="8"/>
                    <a:pt x="26" y="8"/>
                    <a:pt x="24" y="8"/>
                  </a:cubicBezTo>
                  <a:cubicBezTo>
                    <a:pt x="23" y="7"/>
                    <a:pt x="22" y="8"/>
                    <a:pt x="21" y="8"/>
                  </a:cubicBezTo>
                  <a:cubicBezTo>
                    <a:pt x="17" y="6"/>
                    <a:pt x="15" y="2"/>
                    <a:pt x="11" y="1"/>
                  </a:cubicBezTo>
                  <a:cubicBezTo>
                    <a:pt x="9" y="0"/>
                    <a:pt x="7" y="2"/>
                    <a:pt x="5" y="2"/>
                  </a:cubicBezTo>
                  <a:cubicBezTo>
                    <a:pt x="3" y="3"/>
                    <a:pt x="2" y="2"/>
                    <a:pt x="1" y="2"/>
                  </a:cubicBezTo>
                  <a:cubicBezTo>
                    <a:pt x="0" y="3"/>
                    <a:pt x="1" y="5"/>
                    <a:pt x="0" y="7"/>
                  </a:cubicBezTo>
                  <a:cubicBezTo>
                    <a:pt x="2" y="7"/>
                    <a:pt x="4" y="7"/>
                    <a:pt x="5" y="9"/>
                  </a:cubicBezTo>
                  <a:cubicBezTo>
                    <a:pt x="7" y="12"/>
                    <a:pt x="7" y="16"/>
                    <a:pt x="9" y="19"/>
                  </a:cubicBezTo>
                  <a:cubicBezTo>
                    <a:pt x="11" y="22"/>
                    <a:pt x="15" y="25"/>
                    <a:pt x="17" y="28"/>
                  </a:cubicBezTo>
                  <a:cubicBezTo>
                    <a:pt x="19" y="31"/>
                    <a:pt x="22" y="34"/>
                    <a:pt x="23" y="37"/>
                  </a:cubicBezTo>
                  <a:cubicBezTo>
                    <a:pt x="23" y="40"/>
                    <a:pt x="20" y="43"/>
                    <a:pt x="19" y="46"/>
                  </a:cubicBezTo>
                  <a:cubicBezTo>
                    <a:pt x="19" y="50"/>
                    <a:pt x="20" y="53"/>
                    <a:pt x="21" y="5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" name="Freeform 97"/>
            <p:cNvSpPr>
              <a:spLocks noChangeAspect="1"/>
            </p:cNvSpPr>
            <p:nvPr/>
          </p:nvSpPr>
          <p:spPr bwMode="auto">
            <a:xfrm>
              <a:off x="5041900" y="2643188"/>
              <a:ext cx="407988" cy="266700"/>
            </a:xfrm>
            <a:custGeom>
              <a:avLst/>
              <a:gdLst>
                <a:gd name="T0" fmla="*/ 354606 w 214"/>
                <a:gd name="T1" fmla="*/ 179070 h 140"/>
                <a:gd name="T2" fmla="*/ 312664 w 214"/>
                <a:gd name="T3" fmla="*/ 194310 h 140"/>
                <a:gd name="T4" fmla="*/ 293599 w 214"/>
                <a:gd name="T5" fmla="*/ 205740 h 140"/>
                <a:gd name="T6" fmla="*/ 268815 w 214"/>
                <a:gd name="T7" fmla="*/ 203835 h 140"/>
                <a:gd name="T8" fmla="*/ 299318 w 214"/>
                <a:gd name="T9" fmla="*/ 230505 h 140"/>
                <a:gd name="T10" fmla="*/ 327916 w 214"/>
                <a:gd name="T11" fmla="*/ 234315 h 140"/>
                <a:gd name="T12" fmla="*/ 318383 w 214"/>
                <a:gd name="T13" fmla="*/ 249555 h 140"/>
                <a:gd name="T14" fmla="*/ 291692 w 214"/>
                <a:gd name="T15" fmla="*/ 255270 h 140"/>
                <a:gd name="T16" fmla="*/ 263095 w 214"/>
                <a:gd name="T17" fmla="*/ 241935 h 140"/>
                <a:gd name="T18" fmla="*/ 266908 w 214"/>
                <a:gd name="T19" fmla="*/ 213360 h 140"/>
                <a:gd name="T20" fmla="*/ 232591 w 214"/>
                <a:gd name="T21" fmla="*/ 207645 h 140"/>
                <a:gd name="T22" fmla="*/ 219246 w 214"/>
                <a:gd name="T23" fmla="*/ 198120 h 140"/>
                <a:gd name="T24" fmla="*/ 230685 w 214"/>
                <a:gd name="T25" fmla="*/ 198120 h 140"/>
                <a:gd name="T26" fmla="*/ 205900 w 214"/>
                <a:gd name="T27" fmla="*/ 188595 h 140"/>
                <a:gd name="T28" fmla="*/ 184929 w 214"/>
                <a:gd name="T29" fmla="*/ 201930 h 140"/>
                <a:gd name="T30" fmla="*/ 186836 w 214"/>
                <a:gd name="T31" fmla="*/ 213360 h 140"/>
                <a:gd name="T32" fmla="*/ 173490 w 214"/>
                <a:gd name="T33" fmla="*/ 222885 h 140"/>
                <a:gd name="T34" fmla="*/ 165864 w 214"/>
                <a:gd name="T35" fmla="*/ 236220 h 140"/>
                <a:gd name="T36" fmla="*/ 141080 w 214"/>
                <a:gd name="T37" fmla="*/ 240030 h 140"/>
                <a:gd name="T38" fmla="*/ 160145 w 214"/>
                <a:gd name="T39" fmla="*/ 200025 h 140"/>
                <a:gd name="T40" fmla="*/ 181116 w 214"/>
                <a:gd name="T41" fmla="*/ 188595 h 140"/>
                <a:gd name="T42" fmla="*/ 162051 w 214"/>
                <a:gd name="T43" fmla="*/ 161925 h 140"/>
                <a:gd name="T44" fmla="*/ 141080 w 214"/>
                <a:gd name="T45" fmla="*/ 144780 h 140"/>
                <a:gd name="T46" fmla="*/ 102950 w 214"/>
                <a:gd name="T47" fmla="*/ 133350 h 140"/>
                <a:gd name="T48" fmla="*/ 85792 w 214"/>
                <a:gd name="T49" fmla="*/ 146685 h 140"/>
                <a:gd name="T50" fmla="*/ 55288 w 214"/>
                <a:gd name="T51" fmla="*/ 150495 h 140"/>
                <a:gd name="T52" fmla="*/ 22878 w 214"/>
                <a:gd name="T53" fmla="*/ 142875 h 140"/>
                <a:gd name="T54" fmla="*/ 9532 w 214"/>
                <a:gd name="T55" fmla="*/ 144780 h 140"/>
                <a:gd name="T56" fmla="*/ 0 w 214"/>
                <a:gd name="T57" fmla="*/ 133350 h 140"/>
                <a:gd name="T58" fmla="*/ 5719 w 214"/>
                <a:gd name="T59" fmla="*/ 114300 h 140"/>
                <a:gd name="T60" fmla="*/ 15252 w 214"/>
                <a:gd name="T61" fmla="*/ 108585 h 140"/>
                <a:gd name="T62" fmla="*/ 9532 w 214"/>
                <a:gd name="T63" fmla="*/ 93345 h 140"/>
                <a:gd name="T64" fmla="*/ 38130 w 214"/>
                <a:gd name="T65" fmla="*/ 70485 h 140"/>
                <a:gd name="T66" fmla="*/ 40036 w 214"/>
                <a:gd name="T67" fmla="*/ 55245 h 140"/>
                <a:gd name="T68" fmla="*/ 41943 w 214"/>
                <a:gd name="T69" fmla="*/ 32385 h 140"/>
                <a:gd name="T70" fmla="*/ 78166 w 214"/>
                <a:gd name="T71" fmla="*/ 20955 h 140"/>
                <a:gd name="T72" fmla="*/ 116296 w 214"/>
                <a:gd name="T73" fmla="*/ 32385 h 140"/>
                <a:gd name="T74" fmla="*/ 142986 w 214"/>
                <a:gd name="T75" fmla="*/ 34290 h 140"/>
                <a:gd name="T76" fmla="*/ 171584 w 214"/>
                <a:gd name="T77" fmla="*/ 34290 h 140"/>
                <a:gd name="T78" fmla="*/ 192555 w 214"/>
                <a:gd name="T79" fmla="*/ 15240 h 140"/>
                <a:gd name="T80" fmla="*/ 224965 w 214"/>
                <a:gd name="T81" fmla="*/ 5715 h 140"/>
                <a:gd name="T82" fmla="*/ 265002 w 214"/>
                <a:gd name="T83" fmla="*/ 15240 h 140"/>
                <a:gd name="T84" fmla="*/ 266908 w 214"/>
                <a:gd name="T85" fmla="*/ 40005 h 140"/>
                <a:gd name="T86" fmla="*/ 318383 w 214"/>
                <a:gd name="T87" fmla="*/ 70485 h 140"/>
                <a:gd name="T88" fmla="*/ 350793 w 214"/>
                <a:gd name="T89" fmla="*/ 76200 h 140"/>
                <a:gd name="T90" fmla="*/ 387017 w 214"/>
                <a:gd name="T91" fmla="*/ 89535 h 140"/>
                <a:gd name="T92" fmla="*/ 406082 w 214"/>
                <a:gd name="T93" fmla="*/ 110490 h 140"/>
                <a:gd name="T94" fmla="*/ 396549 w 214"/>
                <a:gd name="T95" fmla="*/ 123825 h 140"/>
                <a:gd name="T96" fmla="*/ 404175 w 214"/>
                <a:gd name="T97" fmla="*/ 146685 h 140"/>
                <a:gd name="T98" fmla="*/ 367952 w 214"/>
                <a:gd name="T99" fmla="*/ 167640 h 14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14"/>
                <a:gd name="T151" fmla="*/ 0 h 140"/>
                <a:gd name="T152" fmla="*/ 214 w 214"/>
                <a:gd name="T153" fmla="*/ 140 h 14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14" h="140">
                  <a:moveTo>
                    <a:pt x="195" y="95"/>
                  </a:moveTo>
                  <a:cubicBezTo>
                    <a:pt x="194" y="94"/>
                    <a:pt x="193" y="93"/>
                    <a:pt x="191" y="92"/>
                  </a:cubicBezTo>
                  <a:cubicBezTo>
                    <a:pt x="190" y="92"/>
                    <a:pt x="188" y="93"/>
                    <a:pt x="186" y="94"/>
                  </a:cubicBezTo>
                  <a:cubicBezTo>
                    <a:pt x="184" y="95"/>
                    <a:pt x="183" y="96"/>
                    <a:pt x="181" y="97"/>
                  </a:cubicBezTo>
                  <a:cubicBezTo>
                    <a:pt x="178" y="99"/>
                    <a:pt x="176" y="100"/>
                    <a:pt x="173" y="101"/>
                  </a:cubicBezTo>
                  <a:cubicBezTo>
                    <a:pt x="170" y="102"/>
                    <a:pt x="167" y="101"/>
                    <a:pt x="164" y="102"/>
                  </a:cubicBezTo>
                  <a:cubicBezTo>
                    <a:pt x="163" y="102"/>
                    <a:pt x="162" y="105"/>
                    <a:pt x="160" y="106"/>
                  </a:cubicBezTo>
                  <a:cubicBezTo>
                    <a:pt x="159" y="106"/>
                    <a:pt x="159" y="103"/>
                    <a:pt x="158" y="103"/>
                  </a:cubicBezTo>
                  <a:cubicBezTo>
                    <a:pt x="156" y="104"/>
                    <a:pt x="154" y="106"/>
                    <a:pt x="154" y="108"/>
                  </a:cubicBezTo>
                  <a:cubicBezTo>
                    <a:pt x="153" y="110"/>
                    <a:pt x="156" y="112"/>
                    <a:pt x="155" y="114"/>
                  </a:cubicBezTo>
                  <a:cubicBezTo>
                    <a:pt x="154" y="116"/>
                    <a:pt x="153" y="111"/>
                    <a:pt x="152" y="111"/>
                  </a:cubicBezTo>
                  <a:cubicBezTo>
                    <a:pt x="148" y="109"/>
                    <a:pt x="145" y="107"/>
                    <a:pt x="141" y="107"/>
                  </a:cubicBezTo>
                  <a:cubicBezTo>
                    <a:pt x="140" y="107"/>
                    <a:pt x="142" y="110"/>
                    <a:pt x="143" y="111"/>
                  </a:cubicBezTo>
                  <a:cubicBezTo>
                    <a:pt x="145" y="113"/>
                    <a:pt x="148" y="114"/>
                    <a:pt x="151" y="116"/>
                  </a:cubicBezTo>
                  <a:cubicBezTo>
                    <a:pt x="153" y="117"/>
                    <a:pt x="155" y="119"/>
                    <a:pt x="157" y="121"/>
                  </a:cubicBezTo>
                  <a:cubicBezTo>
                    <a:pt x="158" y="123"/>
                    <a:pt x="160" y="125"/>
                    <a:pt x="162" y="126"/>
                  </a:cubicBezTo>
                  <a:cubicBezTo>
                    <a:pt x="164" y="126"/>
                    <a:pt x="166" y="124"/>
                    <a:pt x="167" y="123"/>
                  </a:cubicBezTo>
                  <a:cubicBezTo>
                    <a:pt x="169" y="123"/>
                    <a:pt x="171" y="123"/>
                    <a:pt x="172" y="123"/>
                  </a:cubicBezTo>
                  <a:cubicBezTo>
                    <a:pt x="174" y="123"/>
                    <a:pt x="176" y="123"/>
                    <a:pt x="176" y="125"/>
                  </a:cubicBezTo>
                  <a:cubicBezTo>
                    <a:pt x="177" y="126"/>
                    <a:pt x="176" y="127"/>
                    <a:pt x="175" y="128"/>
                  </a:cubicBezTo>
                  <a:cubicBezTo>
                    <a:pt x="172" y="130"/>
                    <a:pt x="170" y="131"/>
                    <a:pt x="167" y="131"/>
                  </a:cubicBezTo>
                  <a:cubicBezTo>
                    <a:pt x="166" y="131"/>
                    <a:pt x="164" y="128"/>
                    <a:pt x="163" y="128"/>
                  </a:cubicBezTo>
                  <a:cubicBezTo>
                    <a:pt x="161" y="129"/>
                    <a:pt x="161" y="131"/>
                    <a:pt x="160" y="132"/>
                  </a:cubicBezTo>
                  <a:cubicBezTo>
                    <a:pt x="158" y="133"/>
                    <a:pt x="155" y="133"/>
                    <a:pt x="153" y="134"/>
                  </a:cubicBezTo>
                  <a:cubicBezTo>
                    <a:pt x="150" y="135"/>
                    <a:pt x="149" y="139"/>
                    <a:pt x="146" y="139"/>
                  </a:cubicBezTo>
                  <a:cubicBezTo>
                    <a:pt x="144" y="140"/>
                    <a:pt x="140" y="139"/>
                    <a:pt x="139" y="137"/>
                  </a:cubicBezTo>
                  <a:cubicBezTo>
                    <a:pt x="137" y="134"/>
                    <a:pt x="140" y="130"/>
                    <a:pt x="138" y="127"/>
                  </a:cubicBezTo>
                  <a:cubicBezTo>
                    <a:pt x="135" y="124"/>
                    <a:pt x="126" y="128"/>
                    <a:pt x="126" y="123"/>
                  </a:cubicBezTo>
                  <a:cubicBezTo>
                    <a:pt x="127" y="118"/>
                    <a:pt x="136" y="119"/>
                    <a:pt x="140" y="115"/>
                  </a:cubicBezTo>
                  <a:cubicBezTo>
                    <a:pt x="141" y="115"/>
                    <a:pt x="141" y="113"/>
                    <a:pt x="140" y="112"/>
                  </a:cubicBezTo>
                  <a:cubicBezTo>
                    <a:pt x="139" y="111"/>
                    <a:pt x="137" y="110"/>
                    <a:pt x="135" y="110"/>
                  </a:cubicBezTo>
                  <a:cubicBezTo>
                    <a:pt x="133" y="110"/>
                    <a:pt x="130" y="111"/>
                    <a:pt x="127" y="111"/>
                  </a:cubicBezTo>
                  <a:cubicBezTo>
                    <a:pt x="126" y="111"/>
                    <a:pt x="124" y="110"/>
                    <a:pt x="122" y="109"/>
                  </a:cubicBezTo>
                  <a:cubicBezTo>
                    <a:pt x="120" y="109"/>
                    <a:pt x="117" y="110"/>
                    <a:pt x="116" y="108"/>
                  </a:cubicBezTo>
                  <a:cubicBezTo>
                    <a:pt x="115" y="106"/>
                    <a:pt x="120" y="106"/>
                    <a:pt x="120" y="105"/>
                  </a:cubicBezTo>
                  <a:cubicBezTo>
                    <a:pt x="119" y="103"/>
                    <a:pt x="117" y="105"/>
                    <a:pt x="115" y="104"/>
                  </a:cubicBezTo>
                  <a:cubicBezTo>
                    <a:pt x="114" y="104"/>
                    <a:pt x="111" y="103"/>
                    <a:pt x="112" y="102"/>
                  </a:cubicBezTo>
                  <a:cubicBezTo>
                    <a:pt x="113" y="101"/>
                    <a:pt x="115" y="102"/>
                    <a:pt x="117" y="102"/>
                  </a:cubicBezTo>
                  <a:cubicBezTo>
                    <a:pt x="118" y="102"/>
                    <a:pt x="119" y="104"/>
                    <a:pt x="121" y="104"/>
                  </a:cubicBezTo>
                  <a:cubicBezTo>
                    <a:pt x="122" y="104"/>
                    <a:pt x="124" y="103"/>
                    <a:pt x="124" y="102"/>
                  </a:cubicBezTo>
                  <a:cubicBezTo>
                    <a:pt x="123" y="100"/>
                    <a:pt x="121" y="100"/>
                    <a:pt x="119" y="100"/>
                  </a:cubicBezTo>
                  <a:cubicBezTo>
                    <a:pt x="115" y="99"/>
                    <a:pt x="112" y="99"/>
                    <a:pt x="108" y="99"/>
                  </a:cubicBezTo>
                  <a:cubicBezTo>
                    <a:pt x="106" y="99"/>
                    <a:pt x="104" y="100"/>
                    <a:pt x="103" y="101"/>
                  </a:cubicBezTo>
                  <a:cubicBezTo>
                    <a:pt x="101" y="102"/>
                    <a:pt x="102" y="105"/>
                    <a:pt x="101" y="106"/>
                  </a:cubicBezTo>
                  <a:cubicBezTo>
                    <a:pt x="100" y="107"/>
                    <a:pt x="98" y="105"/>
                    <a:pt x="97" y="106"/>
                  </a:cubicBezTo>
                  <a:cubicBezTo>
                    <a:pt x="96" y="106"/>
                    <a:pt x="96" y="107"/>
                    <a:pt x="96" y="107"/>
                  </a:cubicBezTo>
                  <a:cubicBezTo>
                    <a:pt x="97" y="108"/>
                    <a:pt x="98" y="108"/>
                    <a:pt x="98" y="109"/>
                  </a:cubicBezTo>
                  <a:cubicBezTo>
                    <a:pt x="99" y="110"/>
                    <a:pt x="98" y="111"/>
                    <a:pt x="98" y="112"/>
                  </a:cubicBezTo>
                  <a:cubicBezTo>
                    <a:pt x="97" y="114"/>
                    <a:pt x="96" y="115"/>
                    <a:pt x="95" y="117"/>
                  </a:cubicBezTo>
                  <a:cubicBezTo>
                    <a:pt x="94" y="118"/>
                    <a:pt x="95" y="121"/>
                    <a:pt x="93" y="121"/>
                  </a:cubicBezTo>
                  <a:cubicBezTo>
                    <a:pt x="92" y="121"/>
                    <a:pt x="93" y="117"/>
                    <a:pt x="91" y="117"/>
                  </a:cubicBezTo>
                  <a:cubicBezTo>
                    <a:pt x="90" y="117"/>
                    <a:pt x="91" y="120"/>
                    <a:pt x="91" y="122"/>
                  </a:cubicBezTo>
                  <a:cubicBezTo>
                    <a:pt x="91" y="124"/>
                    <a:pt x="92" y="126"/>
                    <a:pt x="93" y="128"/>
                  </a:cubicBezTo>
                  <a:cubicBezTo>
                    <a:pt x="91" y="127"/>
                    <a:pt x="90" y="124"/>
                    <a:pt x="87" y="124"/>
                  </a:cubicBezTo>
                  <a:cubicBezTo>
                    <a:pt x="85" y="124"/>
                    <a:pt x="85" y="127"/>
                    <a:pt x="83" y="127"/>
                  </a:cubicBezTo>
                  <a:cubicBezTo>
                    <a:pt x="81" y="128"/>
                    <a:pt x="80" y="128"/>
                    <a:pt x="78" y="128"/>
                  </a:cubicBezTo>
                  <a:cubicBezTo>
                    <a:pt x="76" y="128"/>
                    <a:pt x="75" y="126"/>
                    <a:pt x="74" y="126"/>
                  </a:cubicBezTo>
                  <a:cubicBezTo>
                    <a:pt x="76" y="124"/>
                    <a:pt x="78" y="122"/>
                    <a:pt x="79" y="120"/>
                  </a:cubicBezTo>
                  <a:cubicBezTo>
                    <a:pt x="81" y="117"/>
                    <a:pt x="82" y="115"/>
                    <a:pt x="83" y="112"/>
                  </a:cubicBezTo>
                  <a:cubicBezTo>
                    <a:pt x="84" y="109"/>
                    <a:pt x="82" y="106"/>
                    <a:pt x="84" y="105"/>
                  </a:cubicBezTo>
                  <a:cubicBezTo>
                    <a:pt x="85" y="103"/>
                    <a:pt x="88" y="106"/>
                    <a:pt x="89" y="106"/>
                  </a:cubicBezTo>
                  <a:cubicBezTo>
                    <a:pt x="91" y="106"/>
                    <a:pt x="94" y="107"/>
                    <a:pt x="95" y="106"/>
                  </a:cubicBezTo>
                  <a:cubicBezTo>
                    <a:pt x="96" y="104"/>
                    <a:pt x="96" y="101"/>
                    <a:pt x="95" y="99"/>
                  </a:cubicBezTo>
                  <a:cubicBezTo>
                    <a:pt x="94" y="98"/>
                    <a:pt x="91" y="98"/>
                    <a:pt x="90" y="97"/>
                  </a:cubicBezTo>
                  <a:cubicBezTo>
                    <a:pt x="89" y="95"/>
                    <a:pt x="90" y="92"/>
                    <a:pt x="89" y="90"/>
                  </a:cubicBezTo>
                  <a:cubicBezTo>
                    <a:pt x="88" y="88"/>
                    <a:pt x="86" y="87"/>
                    <a:pt x="85" y="85"/>
                  </a:cubicBezTo>
                  <a:cubicBezTo>
                    <a:pt x="84" y="83"/>
                    <a:pt x="85" y="80"/>
                    <a:pt x="84" y="78"/>
                  </a:cubicBezTo>
                  <a:cubicBezTo>
                    <a:pt x="82" y="76"/>
                    <a:pt x="79" y="76"/>
                    <a:pt x="77" y="76"/>
                  </a:cubicBezTo>
                  <a:cubicBezTo>
                    <a:pt x="76" y="75"/>
                    <a:pt x="75" y="76"/>
                    <a:pt x="74" y="76"/>
                  </a:cubicBezTo>
                  <a:cubicBezTo>
                    <a:pt x="70" y="74"/>
                    <a:pt x="68" y="70"/>
                    <a:pt x="64" y="69"/>
                  </a:cubicBezTo>
                  <a:cubicBezTo>
                    <a:pt x="62" y="68"/>
                    <a:pt x="60" y="70"/>
                    <a:pt x="58" y="70"/>
                  </a:cubicBezTo>
                  <a:cubicBezTo>
                    <a:pt x="56" y="71"/>
                    <a:pt x="55" y="70"/>
                    <a:pt x="54" y="70"/>
                  </a:cubicBezTo>
                  <a:cubicBezTo>
                    <a:pt x="53" y="71"/>
                    <a:pt x="54" y="73"/>
                    <a:pt x="53" y="75"/>
                  </a:cubicBezTo>
                  <a:cubicBezTo>
                    <a:pt x="52" y="75"/>
                    <a:pt x="50" y="75"/>
                    <a:pt x="49" y="76"/>
                  </a:cubicBezTo>
                  <a:cubicBezTo>
                    <a:pt x="47" y="76"/>
                    <a:pt x="46" y="77"/>
                    <a:pt x="45" y="77"/>
                  </a:cubicBezTo>
                  <a:cubicBezTo>
                    <a:pt x="42" y="78"/>
                    <a:pt x="39" y="77"/>
                    <a:pt x="37" y="78"/>
                  </a:cubicBezTo>
                  <a:cubicBezTo>
                    <a:pt x="35" y="79"/>
                    <a:pt x="35" y="82"/>
                    <a:pt x="33" y="83"/>
                  </a:cubicBezTo>
                  <a:cubicBezTo>
                    <a:pt x="32" y="83"/>
                    <a:pt x="31" y="80"/>
                    <a:pt x="29" y="79"/>
                  </a:cubicBezTo>
                  <a:cubicBezTo>
                    <a:pt x="28" y="78"/>
                    <a:pt x="26" y="79"/>
                    <a:pt x="25" y="79"/>
                  </a:cubicBezTo>
                  <a:cubicBezTo>
                    <a:pt x="22" y="79"/>
                    <a:pt x="20" y="78"/>
                    <a:pt x="17" y="78"/>
                  </a:cubicBezTo>
                  <a:cubicBezTo>
                    <a:pt x="15" y="77"/>
                    <a:pt x="14" y="75"/>
                    <a:pt x="12" y="75"/>
                  </a:cubicBezTo>
                  <a:cubicBezTo>
                    <a:pt x="10" y="75"/>
                    <a:pt x="10" y="78"/>
                    <a:pt x="9" y="79"/>
                  </a:cubicBezTo>
                  <a:cubicBezTo>
                    <a:pt x="9" y="78"/>
                    <a:pt x="9" y="77"/>
                    <a:pt x="9" y="76"/>
                  </a:cubicBezTo>
                  <a:cubicBezTo>
                    <a:pt x="8" y="76"/>
                    <a:pt x="6" y="76"/>
                    <a:pt x="5" y="76"/>
                  </a:cubicBezTo>
                  <a:cubicBezTo>
                    <a:pt x="5" y="75"/>
                    <a:pt x="5" y="74"/>
                    <a:pt x="5" y="74"/>
                  </a:cubicBezTo>
                  <a:cubicBezTo>
                    <a:pt x="4" y="73"/>
                    <a:pt x="3" y="73"/>
                    <a:pt x="3" y="72"/>
                  </a:cubicBezTo>
                  <a:cubicBezTo>
                    <a:pt x="2" y="72"/>
                    <a:pt x="1" y="71"/>
                    <a:pt x="0" y="70"/>
                  </a:cubicBezTo>
                  <a:cubicBezTo>
                    <a:pt x="0" y="69"/>
                    <a:pt x="0" y="68"/>
                    <a:pt x="0" y="67"/>
                  </a:cubicBezTo>
                  <a:cubicBezTo>
                    <a:pt x="0" y="66"/>
                    <a:pt x="1" y="65"/>
                    <a:pt x="2" y="64"/>
                  </a:cubicBezTo>
                  <a:cubicBezTo>
                    <a:pt x="2" y="63"/>
                    <a:pt x="2" y="61"/>
                    <a:pt x="3" y="60"/>
                  </a:cubicBezTo>
                  <a:cubicBezTo>
                    <a:pt x="3" y="60"/>
                    <a:pt x="4" y="59"/>
                    <a:pt x="5" y="58"/>
                  </a:cubicBezTo>
                  <a:cubicBezTo>
                    <a:pt x="6" y="59"/>
                    <a:pt x="7" y="60"/>
                    <a:pt x="8" y="59"/>
                  </a:cubicBezTo>
                  <a:cubicBezTo>
                    <a:pt x="9" y="59"/>
                    <a:pt x="9" y="58"/>
                    <a:pt x="8" y="57"/>
                  </a:cubicBezTo>
                  <a:cubicBezTo>
                    <a:pt x="8" y="57"/>
                    <a:pt x="6" y="57"/>
                    <a:pt x="6" y="56"/>
                  </a:cubicBezTo>
                  <a:cubicBezTo>
                    <a:pt x="5" y="55"/>
                    <a:pt x="7" y="53"/>
                    <a:pt x="6" y="52"/>
                  </a:cubicBezTo>
                  <a:cubicBezTo>
                    <a:pt x="6" y="51"/>
                    <a:pt x="5" y="50"/>
                    <a:pt x="5" y="49"/>
                  </a:cubicBezTo>
                  <a:cubicBezTo>
                    <a:pt x="7" y="46"/>
                    <a:pt x="9" y="43"/>
                    <a:pt x="11" y="41"/>
                  </a:cubicBezTo>
                  <a:cubicBezTo>
                    <a:pt x="13" y="39"/>
                    <a:pt x="15" y="40"/>
                    <a:pt x="17" y="39"/>
                  </a:cubicBezTo>
                  <a:cubicBezTo>
                    <a:pt x="18" y="38"/>
                    <a:pt x="19" y="38"/>
                    <a:pt x="20" y="37"/>
                  </a:cubicBezTo>
                  <a:cubicBezTo>
                    <a:pt x="21" y="36"/>
                    <a:pt x="22" y="35"/>
                    <a:pt x="22" y="34"/>
                  </a:cubicBezTo>
                  <a:cubicBezTo>
                    <a:pt x="22" y="32"/>
                    <a:pt x="19" y="31"/>
                    <a:pt x="18" y="29"/>
                  </a:cubicBezTo>
                  <a:cubicBezTo>
                    <a:pt x="18" y="29"/>
                    <a:pt x="22" y="30"/>
                    <a:pt x="21" y="29"/>
                  </a:cubicBezTo>
                  <a:cubicBezTo>
                    <a:pt x="20" y="27"/>
                    <a:pt x="17" y="26"/>
                    <a:pt x="16" y="24"/>
                  </a:cubicBezTo>
                  <a:cubicBezTo>
                    <a:pt x="15" y="22"/>
                    <a:pt x="16" y="19"/>
                    <a:pt x="16" y="16"/>
                  </a:cubicBezTo>
                  <a:cubicBezTo>
                    <a:pt x="18" y="16"/>
                    <a:pt x="21" y="18"/>
                    <a:pt x="22" y="17"/>
                  </a:cubicBezTo>
                  <a:cubicBezTo>
                    <a:pt x="24" y="16"/>
                    <a:pt x="22" y="12"/>
                    <a:pt x="24" y="11"/>
                  </a:cubicBezTo>
                  <a:cubicBezTo>
                    <a:pt x="26" y="9"/>
                    <a:pt x="28" y="10"/>
                    <a:pt x="31" y="11"/>
                  </a:cubicBezTo>
                  <a:cubicBezTo>
                    <a:pt x="34" y="11"/>
                    <a:pt x="38" y="11"/>
                    <a:pt x="41" y="11"/>
                  </a:cubicBezTo>
                  <a:cubicBezTo>
                    <a:pt x="43" y="12"/>
                    <a:pt x="45" y="13"/>
                    <a:pt x="47" y="13"/>
                  </a:cubicBezTo>
                  <a:cubicBezTo>
                    <a:pt x="49" y="13"/>
                    <a:pt x="51" y="12"/>
                    <a:pt x="53" y="13"/>
                  </a:cubicBezTo>
                  <a:cubicBezTo>
                    <a:pt x="56" y="14"/>
                    <a:pt x="59" y="15"/>
                    <a:pt x="61" y="17"/>
                  </a:cubicBezTo>
                  <a:cubicBezTo>
                    <a:pt x="62" y="17"/>
                    <a:pt x="63" y="19"/>
                    <a:pt x="64" y="19"/>
                  </a:cubicBezTo>
                  <a:cubicBezTo>
                    <a:pt x="66" y="19"/>
                    <a:pt x="68" y="17"/>
                    <a:pt x="70" y="17"/>
                  </a:cubicBezTo>
                  <a:cubicBezTo>
                    <a:pt x="72" y="17"/>
                    <a:pt x="73" y="18"/>
                    <a:pt x="75" y="18"/>
                  </a:cubicBezTo>
                  <a:cubicBezTo>
                    <a:pt x="77" y="18"/>
                    <a:pt x="78" y="17"/>
                    <a:pt x="80" y="17"/>
                  </a:cubicBezTo>
                  <a:cubicBezTo>
                    <a:pt x="82" y="17"/>
                    <a:pt x="83" y="18"/>
                    <a:pt x="85" y="18"/>
                  </a:cubicBezTo>
                  <a:cubicBezTo>
                    <a:pt x="87" y="18"/>
                    <a:pt x="88" y="17"/>
                    <a:pt x="90" y="18"/>
                  </a:cubicBezTo>
                  <a:cubicBezTo>
                    <a:pt x="92" y="18"/>
                    <a:pt x="94" y="21"/>
                    <a:pt x="95" y="20"/>
                  </a:cubicBezTo>
                  <a:cubicBezTo>
                    <a:pt x="97" y="19"/>
                    <a:pt x="97" y="16"/>
                    <a:pt x="98" y="14"/>
                  </a:cubicBezTo>
                  <a:cubicBezTo>
                    <a:pt x="99" y="12"/>
                    <a:pt x="99" y="10"/>
                    <a:pt x="101" y="8"/>
                  </a:cubicBezTo>
                  <a:cubicBezTo>
                    <a:pt x="103" y="6"/>
                    <a:pt x="107" y="6"/>
                    <a:pt x="109" y="5"/>
                  </a:cubicBezTo>
                  <a:cubicBezTo>
                    <a:pt x="112" y="6"/>
                    <a:pt x="113" y="8"/>
                    <a:pt x="116" y="7"/>
                  </a:cubicBezTo>
                  <a:cubicBezTo>
                    <a:pt x="117" y="7"/>
                    <a:pt x="117" y="4"/>
                    <a:pt x="118" y="3"/>
                  </a:cubicBezTo>
                  <a:cubicBezTo>
                    <a:pt x="122" y="2"/>
                    <a:pt x="125" y="2"/>
                    <a:pt x="129" y="2"/>
                  </a:cubicBezTo>
                  <a:cubicBezTo>
                    <a:pt x="132" y="2"/>
                    <a:pt x="136" y="0"/>
                    <a:pt x="138" y="2"/>
                  </a:cubicBezTo>
                  <a:cubicBezTo>
                    <a:pt x="140" y="3"/>
                    <a:pt x="138" y="6"/>
                    <a:pt x="139" y="8"/>
                  </a:cubicBezTo>
                  <a:cubicBezTo>
                    <a:pt x="140" y="10"/>
                    <a:pt x="144" y="12"/>
                    <a:pt x="144" y="14"/>
                  </a:cubicBezTo>
                  <a:cubicBezTo>
                    <a:pt x="144" y="16"/>
                    <a:pt x="141" y="16"/>
                    <a:pt x="140" y="17"/>
                  </a:cubicBezTo>
                  <a:cubicBezTo>
                    <a:pt x="140" y="18"/>
                    <a:pt x="139" y="21"/>
                    <a:pt x="140" y="21"/>
                  </a:cubicBezTo>
                  <a:cubicBezTo>
                    <a:pt x="144" y="23"/>
                    <a:pt x="150" y="20"/>
                    <a:pt x="154" y="23"/>
                  </a:cubicBezTo>
                  <a:cubicBezTo>
                    <a:pt x="157" y="26"/>
                    <a:pt x="155" y="33"/>
                    <a:pt x="158" y="37"/>
                  </a:cubicBezTo>
                  <a:cubicBezTo>
                    <a:pt x="160" y="39"/>
                    <a:pt x="164" y="37"/>
                    <a:pt x="167" y="37"/>
                  </a:cubicBezTo>
                  <a:cubicBezTo>
                    <a:pt x="170" y="37"/>
                    <a:pt x="174" y="37"/>
                    <a:pt x="177" y="36"/>
                  </a:cubicBezTo>
                  <a:cubicBezTo>
                    <a:pt x="178" y="35"/>
                    <a:pt x="178" y="31"/>
                    <a:pt x="179" y="32"/>
                  </a:cubicBezTo>
                  <a:cubicBezTo>
                    <a:pt x="182" y="34"/>
                    <a:pt x="182" y="38"/>
                    <a:pt x="184" y="40"/>
                  </a:cubicBezTo>
                  <a:cubicBezTo>
                    <a:pt x="186" y="42"/>
                    <a:pt x="188" y="44"/>
                    <a:pt x="191" y="44"/>
                  </a:cubicBezTo>
                  <a:cubicBezTo>
                    <a:pt x="192" y="44"/>
                    <a:pt x="192" y="41"/>
                    <a:pt x="193" y="42"/>
                  </a:cubicBezTo>
                  <a:cubicBezTo>
                    <a:pt x="197" y="43"/>
                    <a:pt x="199" y="45"/>
                    <a:pt x="203" y="47"/>
                  </a:cubicBezTo>
                  <a:cubicBezTo>
                    <a:pt x="205" y="48"/>
                    <a:pt x="207" y="51"/>
                    <a:pt x="210" y="51"/>
                  </a:cubicBezTo>
                  <a:cubicBezTo>
                    <a:pt x="211" y="52"/>
                    <a:pt x="213" y="49"/>
                    <a:pt x="213" y="50"/>
                  </a:cubicBezTo>
                  <a:cubicBezTo>
                    <a:pt x="214" y="53"/>
                    <a:pt x="214" y="56"/>
                    <a:pt x="213" y="58"/>
                  </a:cubicBezTo>
                  <a:cubicBezTo>
                    <a:pt x="212" y="60"/>
                    <a:pt x="209" y="59"/>
                    <a:pt x="208" y="61"/>
                  </a:cubicBezTo>
                  <a:cubicBezTo>
                    <a:pt x="208" y="63"/>
                    <a:pt x="212" y="63"/>
                    <a:pt x="212" y="64"/>
                  </a:cubicBezTo>
                  <a:cubicBezTo>
                    <a:pt x="212" y="66"/>
                    <a:pt x="209" y="64"/>
                    <a:pt x="208" y="65"/>
                  </a:cubicBezTo>
                  <a:cubicBezTo>
                    <a:pt x="207" y="66"/>
                    <a:pt x="207" y="69"/>
                    <a:pt x="208" y="70"/>
                  </a:cubicBezTo>
                  <a:cubicBezTo>
                    <a:pt x="209" y="71"/>
                    <a:pt x="211" y="69"/>
                    <a:pt x="211" y="70"/>
                  </a:cubicBezTo>
                  <a:cubicBezTo>
                    <a:pt x="213" y="72"/>
                    <a:pt x="213" y="75"/>
                    <a:pt x="212" y="77"/>
                  </a:cubicBezTo>
                  <a:cubicBezTo>
                    <a:pt x="212" y="79"/>
                    <a:pt x="211" y="81"/>
                    <a:pt x="209" y="81"/>
                  </a:cubicBezTo>
                  <a:cubicBezTo>
                    <a:pt x="205" y="82"/>
                    <a:pt x="201" y="80"/>
                    <a:pt x="198" y="81"/>
                  </a:cubicBezTo>
                  <a:cubicBezTo>
                    <a:pt x="195" y="82"/>
                    <a:pt x="193" y="85"/>
                    <a:pt x="193" y="88"/>
                  </a:cubicBezTo>
                  <a:cubicBezTo>
                    <a:pt x="192" y="90"/>
                    <a:pt x="194" y="91"/>
                    <a:pt x="195" y="93"/>
                  </a:cubicBezTo>
                  <a:cubicBezTo>
                    <a:pt x="195" y="94"/>
                    <a:pt x="195" y="95"/>
                    <a:pt x="195" y="9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" name="Freeform 98"/>
            <p:cNvSpPr>
              <a:spLocks noChangeAspect="1"/>
            </p:cNvSpPr>
            <p:nvPr/>
          </p:nvSpPr>
          <p:spPr bwMode="auto">
            <a:xfrm>
              <a:off x="5591175" y="2540000"/>
              <a:ext cx="930275" cy="488950"/>
            </a:xfrm>
            <a:custGeom>
              <a:avLst/>
              <a:gdLst>
                <a:gd name="T0" fmla="*/ 918837 w 488"/>
                <a:gd name="T1" fmla="*/ 242565 h 256"/>
                <a:gd name="T2" fmla="*/ 895962 w 488"/>
                <a:gd name="T3" fmla="*/ 290314 h 256"/>
                <a:gd name="T4" fmla="*/ 838773 w 488"/>
                <a:gd name="T5" fmla="*/ 338063 h 256"/>
                <a:gd name="T6" fmla="*/ 808272 w 488"/>
                <a:gd name="T7" fmla="*/ 351433 h 256"/>
                <a:gd name="T8" fmla="*/ 793021 w 488"/>
                <a:gd name="T9" fmla="*/ 368622 h 256"/>
                <a:gd name="T10" fmla="*/ 800647 w 488"/>
                <a:gd name="T11" fmla="*/ 439291 h 256"/>
                <a:gd name="T12" fmla="*/ 773958 w 488"/>
                <a:gd name="T13" fmla="*/ 425921 h 256"/>
                <a:gd name="T14" fmla="*/ 705332 w 488"/>
                <a:gd name="T15" fmla="*/ 420191 h 256"/>
                <a:gd name="T16" fmla="*/ 650049 w 488"/>
                <a:gd name="T17" fmla="*/ 412551 h 256"/>
                <a:gd name="T18" fmla="*/ 606204 w 488"/>
                <a:gd name="T19" fmla="*/ 427831 h 256"/>
                <a:gd name="T20" fmla="*/ 568078 w 488"/>
                <a:gd name="T21" fmla="*/ 448841 h 256"/>
                <a:gd name="T22" fmla="*/ 524233 w 488"/>
                <a:gd name="T23" fmla="*/ 473670 h 256"/>
                <a:gd name="T24" fmla="*/ 480388 w 488"/>
                <a:gd name="T25" fmla="*/ 462210 h 256"/>
                <a:gd name="T26" fmla="*/ 468950 w 488"/>
                <a:gd name="T27" fmla="*/ 425921 h 256"/>
                <a:gd name="T28" fmla="*/ 430824 w 488"/>
                <a:gd name="T29" fmla="*/ 403002 h 256"/>
                <a:gd name="T30" fmla="*/ 291664 w 488"/>
                <a:gd name="T31" fmla="*/ 330423 h 256"/>
                <a:gd name="T32" fmla="*/ 234475 w 488"/>
                <a:gd name="T33" fmla="*/ 471760 h 256"/>
                <a:gd name="T34" fmla="*/ 192536 w 488"/>
                <a:gd name="T35" fmla="*/ 437381 h 256"/>
                <a:gd name="T36" fmla="*/ 156317 w 488"/>
                <a:gd name="T37" fmla="*/ 441201 h 256"/>
                <a:gd name="T38" fmla="*/ 137254 w 488"/>
                <a:gd name="T39" fmla="*/ 412551 h 256"/>
                <a:gd name="T40" fmla="*/ 101034 w 488"/>
                <a:gd name="T41" fmla="*/ 370532 h 256"/>
                <a:gd name="T42" fmla="*/ 116284 w 488"/>
                <a:gd name="T43" fmla="*/ 355253 h 256"/>
                <a:gd name="T44" fmla="*/ 156317 w 488"/>
                <a:gd name="T45" fmla="*/ 330423 h 256"/>
                <a:gd name="T46" fmla="*/ 141066 w 488"/>
                <a:gd name="T47" fmla="*/ 294134 h 256"/>
                <a:gd name="T48" fmla="*/ 66721 w 488"/>
                <a:gd name="T49" fmla="*/ 309414 h 256"/>
                <a:gd name="T50" fmla="*/ 61002 w 488"/>
                <a:gd name="T51" fmla="*/ 292224 h 256"/>
                <a:gd name="T52" fmla="*/ 17157 w 488"/>
                <a:gd name="T53" fmla="*/ 259755 h 256"/>
                <a:gd name="T54" fmla="*/ 13344 w 488"/>
                <a:gd name="T55" fmla="*/ 215826 h 256"/>
                <a:gd name="T56" fmla="*/ 17157 w 488"/>
                <a:gd name="T57" fmla="*/ 168077 h 256"/>
                <a:gd name="T58" fmla="*/ 49564 w 488"/>
                <a:gd name="T59" fmla="*/ 181446 h 256"/>
                <a:gd name="T60" fmla="*/ 61002 w 488"/>
                <a:gd name="T61" fmla="*/ 147067 h 256"/>
                <a:gd name="T62" fmla="*/ 101034 w 488"/>
                <a:gd name="T63" fmla="*/ 135607 h 256"/>
                <a:gd name="T64" fmla="*/ 146785 w 488"/>
                <a:gd name="T65" fmla="*/ 133697 h 256"/>
                <a:gd name="T66" fmla="*/ 183005 w 488"/>
                <a:gd name="T67" fmla="*/ 166167 h 256"/>
                <a:gd name="T68" fmla="*/ 234475 w 488"/>
                <a:gd name="T69" fmla="*/ 148977 h 256"/>
                <a:gd name="T70" fmla="*/ 268789 w 488"/>
                <a:gd name="T71" fmla="*/ 160437 h 256"/>
                <a:gd name="T72" fmla="*/ 331696 w 488"/>
                <a:gd name="T73" fmla="*/ 150887 h 256"/>
                <a:gd name="T74" fmla="*/ 316446 w 488"/>
                <a:gd name="T75" fmla="*/ 108868 h 256"/>
                <a:gd name="T76" fmla="*/ 329790 w 488"/>
                <a:gd name="T77" fmla="*/ 80218 h 256"/>
                <a:gd name="T78" fmla="*/ 312633 w 488"/>
                <a:gd name="T79" fmla="*/ 55389 h 256"/>
                <a:gd name="T80" fmla="*/ 407948 w 488"/>
                <a:gd name="T81" fmla="*/ 42019 h 256"/>
                <a:gd name="T82" fmla="*/ 472763 w 488"/>
                <a:gd name="T83" fmla="*/ 5730 h 256"/>
                <a:gd name="T84" fmla="*/ 535671 w 488"/>
                <a:gd name="T85" fmla="*/ 26739 h 256"/>
                <a:gd name="T86" fmla="*/ 556640 w 488"/>
                <a:gd name="T87" fmla="*/ 42019 h 256"/>
                <a:gd name="T88" fmla="*/ 577609 w 488"/>
                <a:gd name="T89" fmla="*/ 53479 h 256"/>
                <a:gd name="T90" fmla="*/ 598579 w 488"/>
                <a:gd name="T91" fmla="*/ 66849 h 256"/>
                <a:gd name="T92" fmla="*/ 667205 w 488"/>
                <a:gd name="T93" fmla="*/ 40109 h 256"/>
                <a:gd name="T94" fmla="*/ 758708 w 488"/>
                <a:gd name="T95" fmla="*/ 160437 h 256"/>
                <a:gd name="T96" fmla="*/ 783490 w 488"/>
                <a:gd name="T97" fmla="*/ 154707 h 256"/>
                <a:gd name="T98" fmla="*/ 817803 w 488"/>
                <a:gd name="T99" fmla="*/ 164257 h 256"/>
                <a:gd name="T100" fmla="*/ 874992 w 488"/>
                <a:gd name="T101" fmla="*/ 183356 h 256"/>
                <a:gd name="T102" fmla="*/ 913118 w 488"/>
                <a:gd name="T103" fmla="*/ 192906 h 2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8"/>
                <a:gd name="T157" fmla="*/ 0 h 256"/>
                <a:gd name="T158" fmla="*/ 488 w 488"/>
                <a:gd name="T159" fmla="*/ 256 h 2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8" h="256">
                  <a:moveTo>
                    <a:pt x="488" y="114"/>
                  </a:moveTo>
                  <a:cubicBezTo>
                    <a:pt x="486" y="115"/>
                    <a:pt x="484" y="115"/>
                    <a:pt x="483" y="117"/>
                  </a:cubicBezTo>
                  <a:cubicBezTo>
                    <a:pt x="482" y="119"/>
                    <a:pt x="483" y="120"/>
                    <a:pt x="483" y="122"/>
                  </a:cubicBezTo>
                  <a:cubicBezTo>
                    <a:pt x="483" y="124"/>
                    <a:pt x="484" y="126"/>
                    <a:pt x="482" y="127"/>
                  </a:cubicBezTo>
                  <a:cubicBezTo>
                    <a:pt x="480" y="128"/>
                    <a:pt x="475" y="125"/>
                    <a:pt x="473" y="127"/>
                  </a:cubicBezTo>
                  <a:cubicBezTo>
                    <a:pt x="471" y="130"/>
                    <a:pt x="471" y="135"/>
                    <a:pt x="472" y="138"/>
                  </a:cubicBezTo>
                  <a:cubicBezTo>
                    <a:pt x="472" y="142"/>
                    <a:pt x="475" y="145"/>
                    <a:pt x="475" y="149"/>
                  </a:cubicBezTo>
                  <a:cubicBezTo>
                    <a:pt x="474" y="151"/>
                    <a:pt x="472" y="151"/>
                    <a:pt x="470" y="152"/>
                  </a:cubicBezTo>
                  <a:cubicBezTo>
                    <a:pt x="466" y="153"/>
                    <a:pt x="461" y="154"/>
                    <a:pt x="457" y="153"/>
                  </a:cubicBezTo>
                  <a:cubicBezTo>
                    <a:pt x="453" y="153"/>
                    <a:pt x="448" y="148"/>
                    <a:pt x="444" y="150"/>
                  </a:cubicBezTo>
                  <a:cubicBezTo>
                    <a:pt x="440" y="152"/>
                    <a:pt x="441" y="158"/>
                    <a:pt x="441" y="162"/>
                  </a:cubicBezTo>
                  <a:cubicBezTo>
                    <a:pt x="440" y="167"/>
                    <a:pt x="439" y="172"/>
                    <a:pt x="440" y="177"/>
                  </a:cubicBezTo>
                  <a:cubicBezTo>
                    <a:pt x="440" y="180"/>
                    <a:pt x="443" y="181"/>
                    <a:pt x="443" y="183"/>
                  </a:cubicBezTo>
                  <a:cubicBezTo>
                    <a:pt x="442" y="184"/>
                    <a:pt x="440" y="184"/>
                    <a:pt x="439" y="184"/>
                  </a:cubicBezTo>
                  <a:cubicBezTo>
                    <a:pt x="437" y="183"/>
                    <a:pt x="435" y="181"/>
                    <a:pt x="432" y="181"/>
                  </a:cubicBezTo>
                  <a:cubicBezTo>
                    <a:pt x="429" y="181"/>
                    <a:pt x="427" y="184"/>
                    <a:pt x="424" y="184"/>
                  </a:cubicBezTo>
                  <a:cubicBezTo>
                    <a:pt x="420" y="185"/>
                    <a:pt x="416" y="185"/>
                    <a:pt x="413" y="186"/>
                  </a:cubicBezTo>
                  <a:cubicBezTo>
                    <a:pt x="412" y="186"/>
                    <a:pt x="409" y="187"/>
                    <a:pt x="410" y="188"/>
                  </a:cubicBezTo>
                  <a:cubicBezTo>
                    <a:pt x="412" y="190"/>
                    <a:pt x="415" y="188"/>
                    <a:pt x="416" y="190"/>
                  </a:cubicBezTo>
                  <a:cubicBezTo>
                    <a:pt x="417" y="190"/>
                    <a:pt x="416" y="192"/>
                    <a:pt x="416" y="193"/>
                  </a:cubicBezTo>
                  <a:cubicBezTo>
                    <a:pt x="416" y="196"/>
                    <a:pt x="416" y="200"/>
                    <a:pt x="417" y="203"/>
                  </a:cubicBezTo>
                  <a:cubicBezTo>
                    <a:pt x="419" y="208"/>
                    <a:pt x="423" y="211"/>
                    <a:pt x="424" y="216"/>
                  </a:cubicBezTo>
                  <a:cubicBezTo>
                    <a:pt x="424" y="219"/>
                    <a:pt x="420" y="221"/>
                    <a:pt x="419" y="223"/>
                  </a:cubicBezTo>
                  <a:cubicBezTo>
                    <a:pt x="419" y="225"/>
                    <a:pt x="419" y="228"/>
                    <a:pt x="420" y="230"/>
                  </a:cubicBezTo>
                  <a:cubicBezTo>
                    <a:pt x="419" y="230"/>
                    <a:pt x="418" y="230"/>
                    <a:pt x="417" y="229"/>
                  </a:cubicBezTo>
                  <a:cubicBezTo>
                    <a:pt x="415" y="229"/>
                    <a:pt x="412" y="229"/>
                    <a:pt x="410" y="227"/>
                  </a:cubicBezTo>
                  <a:cubicBezTo>
                    <a:pt x="409" y="226"/>
                    <a:pt x="410" y="224"/>
                    <a:pt x="409" y="223"/>
                  </a:cubicBezTo>
                  <a:cubicBezTo>
                    <a:pt x="408" y="222"/>
                    <a:pt x="407" y="223"/>
                    <a:pt x="406" y="223"/>
                  </a:cubicBezTo>
                  <a:cubicBezTo>
                    <a:pt x="404" y="223"/>
                    <a:pt x="402" y="221"/>
                    <a:pt x="400" y="221"/>
                  </a:cubicBezTo>
                  <a:cubicBezTo>
                    <a:pt x="397" y="220"/>
                    <a:pt x="394" y="221"/>
                    <a:pt x="390" y="221"/>
                  </a:cubicBezTo>
                  <a:cubicBezTo>
                    <a:pt x="386" y="221"/>
                    <a:pt x="383" y="221"/>
                    <a:pt x="379" y="220"/>
                  </a:cubicBezTo>
                  <a:cubicBezTo>
                    <a:pt x="376" y="220"/>
                    <a:pt x="373" y="220"/>
                    <a:pt x="370" y="220"/>
                  </a:cubicBezTo>
                  <a:cubicBezTo>
                    <a:pt x="369" y="220"/>
                    <a:pt x="369" y="222"/>
                    <a:pt x="369" y="222"/>
                  </a:cubicBezTo>
                  <a:cubicBezTo>
                    <a:pt x="365" y="222"/>
                    <a:pt x="361" y="221"/>
                    <a:pt x="358" y="220"/>
                  </a:cubicBezTo>
                  <a:cubicBezTo>
                    <a:pt x="354" y="219"/>
                    <a:pt x="351" y="216"/>
                    <a:pt x="348" y="215"/>
                  </a:cubicBezTo>
                  <a:cubicBezTo>
                    <a:pt x="346" y="214"/>
                    <a:pt x="343" y="215"/>
                    <a:pt x="341" y="216"/>
                  </a:cubicBezTo>
                  <a:cubicBezTo>
                    <a:pt x="339" y="216"/>
                    <a:pt x="337" y="217"/>
                    <a:pt x="337" y="219"/>
                  </a:cubicBezTo>
                  <a:cubicBezTo>
                    <a:pt x="336" y="221"/>
                    <a:pt x="338" y="224"/>
                    <a:pt x="337" y="227"/>
                  </a:cubicBezTo>
                  <a:cubicBezTo>
                    <a:pt x="336" y="228"/>
                    <a:pt x="334" y="228"/>
                    <a:pt x="332" y="228"/>
                  </a:cubicBezTo>
                  <a:cubicBezTo>
                    <a:pt x="327" y="227"/>
                    <a:pt x="323" y="225"/>
                    <a:pt x="318" y="224"/>
                  </a:cubicBezTo>
                  <a:cubicBezTo>
                    <a:pt x="317" y="224"/>
                    <a:pt x="315" y="224"/>
                    <a:pt x="313" y="225"/>
                  </a:cubicBezTo>
                  <a:cubicBezTo>
                    <a:pt x="311" y="226"/>
                    <a:pt x="309" y="228"/>
                    <a:pt x="307" y="230"/>
                  </a:cubicBezTo>
                  <a:cubicBezTo>
                    <a:pt x="305" y="233"/>
                    <a:pt x="304" y="236"/>
                    <a:pt x="301" y="238"/>
                  </a:cubicBezTo>
                  <a:cubicBezTo>
                    <a:pt x="300" y="239"/>
                    <a:pt x="299" y="235"/>
                    <a:pt x="298" y="235"/>
                  </a:cubicBezTo>
                  <a:cubicBezTo>
                    <a:pt x="295" y="236"/>
                    <a:pt x="294" y="239"/>
                    <a:pt x="292" y="241"/>
                  </a:cubicBezTo>
                  <a:cubicBezTo>
                    <a:pt x="289" y="246"/>
                    <a:pt x="287" y="252"/>
                    <a:pt x="282" y="255"/>
                  </a:cubicBezTo>
                  <a:cubicBezTo>
                    <a:pt x="280" y="256"/>
                    <a:pt x="277" y="255"/>
                    <a:pt x="275" y="253"/>
                  </a:cubicBezTo>
                  <a:cubicBezTo>
                    <a:pt x="274" y="252"/>
                    <a:pt x="277" y="249"/>
                    <a:pt x="275" y="248"/>
                  </a:cubicBezTo>
                  <a:cubicBezTo>
                    <a:pt x="274" y="247"/>
                    <a:pt x="271" y="249"/>
                    <a:pt x="269" y="249"/>
                  </a:cubicBezTo>
                  <a:cubicBezTo>
                    <a:pt x="266" y="250"/>
                    <a:pt x="262" y="251"/>
                    <a:pt x="258" y="250"/>
                  </a:cubicBezTo>
                  <a:cubicBezTo>
                    <a:pt x="257" y="250"/>
                    <a:pt x="255" y="249"/>
                    <a:pt x="254" y="248"/>
                  </a:cubicBezTo>
                  <a:cubicBezTo>
                    <a:pt x="253" y="246"/>
                    <a:pt x="254" y="243"/>
                    <a:pt x="252" y="242"/>
                  </a:cubicBezTo>
                  <a:cubicBezTo>
                    <a:pt x="251" y="241"/>
                    <a:pt x="248" y="243"/>
                    <a:pt x="247" y="242"/>
                  </a:cubicBezTo>
                  <a:cubicBezTo>
                    <a:pt x="245" y="240"/>
                    <a:pt x="245" y="236"/>
                    <a:pt x="245" y="233"/>
                  </a:cubicBezTo>
                  <a:cubicBezTo>
                    <a:pt x="245" y="232"/>
                    <a:pt x="247" y="231"/>
                    <a:pt x="247" y="229"/>
                  </a:cubicBezTo>
                  <a:cubicBezTo>
                    <a:pt x="247" y="227"/>
                    <a:pt x="247" y="225"/>
                    <a:pt x="246" y="223"/>
                  </a:cubicBezTo>
                  <a:cubicBezTo>
                    <a:pt x="244" y="220"/>
                    <a:pt x="243" y="216"/>
                    <a:pt x="240" y="213"/>
                  </a:cubicBezTo>
                  <a:cubicBezTo>
                    <a:pt x="239" y="212"/>
                    <a:pt x="237" y="214"/>
                    <a:pt x="236" y="213"/>
                  </a:cubicBezTo>
                  <a:cubicBezTo>
                    <a:pt x="234" y="212"/>
                    <a:pt x="236" y="208"/>
                    <a:pt x="234" y="207"/>
                  </a:cubicBezTo>
                  <a:cubicBezTo>
                    <a:pt x="231" y="207"/>
                    <a:pt x="229" y="212"/>
                    <a:pt x="226" y="211"/>
                  </a:cubicBezTo>
                  <a:lnTo>
                    <a:pt x="204" y="209"/>
                  </a:lnTo>
                  <a:cubicBezTo>
                    <a:pt x="200" y="210"/>
                    <a:pt x="196" y="211"/>
                    <a:pt x="193" y="212"/>
                  </a:cubicBezTo>
                  <a:cubicBezTo>
                    <a:pt x="190" y="207"/>
                    <a:pt x="188" y="202"/>
                    <a:pt x="185" y="197"/>
                  </a:cubicBezTo>
                  <a:cubicBezTo>
                    <a:pt x="175" y="189"/>
                    <a:pt x="164" y="181"/>
                    <a:pt x="153" y="173"/>
                  </a:cubicBezTo>
                  <a:cubicBezTo>
                    <a:pt x="148" y="174"/>
                    <a:pt x="143" y="175"/>
                    <a:pt x="138" y="176"/>
                  </a:cubicBezTo>
                  <a:cubicBezTo>
                    <a:pt x="133" y="178"/>
                    <a:pt x="128" y="180"/>
                    <a:pt x="123" y="182"/>
                  </a:cubicBezTo>
                  <a:cubicBezTo>
                    <a:pt x="124" y="203"/>
                    <a:pt x="126" y="225"/>
                    <a:pt x="127" y="246"/>
                  </a:cubicBezTo>
                  <a:cubicBezTo>
                    <a:pt x="126" y="247"/>
                    <a:pt x="125" y="247"/>
                    <a:pt x="123" y="247"/>
                  </a:cubicBezTo>
                  <a:cubicBezTo>
                    <a:pt x="122" y="247"/>
                    <a:pt x="120" y="248"/>
                    <a:pt x="119" y="247"/>
                  </a:cubicBezTo>
                  <a:cubicBezTo>
                    <a:pt x="116" y="245"/>
                    <a:pt x="115" y="242"/>
                    <a:pt x="114" y="240"/>
                  </a:cubicBezTo>
                  <a:cubicBezTo>
                    <a:pt x="112" y="237"/>
                    <a:pt x="112" y="234"/>
                    <a:pt x="110" y="232"/>
                  </a:cubicBezTo>
                  <a:cubicBezTo>
                    <a:pt x="108" y="230"/>
                    <a:pt x="104" y="230"/>
                    <a:pt x="101" y="229"/>
                  </a:cubicBezTo>
                  <a:cubicBezTo>
                    <a:pt x="99" y="229"/>
                    <a:pt x="96" y="229"/>
                    <a:pt x="94" y="229"/>
                  </a:cubicBezTo>
                  <a:cubicBezTo>
                    <a:pt x="91" y="230"/>
                    <a:pt x="89" y="232"/>
                    <a:pt x="88" y="234"/>
                  </a:cubicBezTo>
                  <a:cubicBezTo>
                    <a:pt x="86" y="235"/>
                    <a:pt x="86" y="237"/>
                    <a:pt x="85" y="239"/>
                  </a:cubicBezTo>
                  <a:cubicBezTo>
                    <a:pt x="84" y="236"/>
                    <a:pt x="81" y="234"/>
                    <a:pt x="82" y="231"/>
                  </a:cubicBezTo>
                  <a:cubicBezTo>
                    <a:pt x="82" y="228"/>
                    <a:pt x="86" y="227"/>
                    <a:pt x="86" y="224"/>
                  </a:cubicBezTo>
                  <a:cubicBezTo>
                    <a:pt x="86" y="222"/>
                    <a:pt x="84" y="222"/>
                    <a:pt x="82" y="221"/>
                  </a:cubicBezTo>
                  <a:cubicBezTo>
                    <a:pt x="80" y="221"/>
                    <a:pt x="77" y="221"/>
                    <a:pt x="75" y="220"/>
                  </a:cubicBezTo>
                  <a:cubicBezTo>
                    <a:pt x="73" y="219"/>
                    <a:pt x="74" y="217"/>
                    <a:pt x="72" y="216"/>
                  </a:cubicBezTo>
                  <a:cubicBezTo>
                    <a:pt x="71" y="215"/>
                    <a:pt x="69" y="216"/>
                    <a:pt x="68" y="215"/>
                  </a:cubicBezTo>
                  <a:cubicBezTo>
                    <a:pt x="66" y="213"/>
                    <a:pt x="68" y="211"/>
                    <a:pt x="68" y="209"/>
                  </a:cubicBezTo>
                  <a:cubicBezTo>
                    <a:pt x="66" y="205"/>
                    <a:pt x="64" y="201"/>
                    <a:pt x="61" y="198"/>
                  </a:cubicBezTo>
                  <a:cubicBezTo>
                    <a:pt x="59" y="195"/>
                    <a:pt x="55" y="196"/>
                    <a:pt x="53" y="194"/>
                  </a:cubicBezTo>
                  <a:cubicBezTo>
                    <a:pt x="52" y="192"/>
                    <a:pt x="55" y="190"/>
                    <a:pt x="56" y="190"/>
                  </a:cubicBezTo>
                  <a:cubicBezTo>
                    <a:pt x="59" y="189"/>
                    <a:pt x="62" y="191"/>
                    <a:pt x="65" y="192"/>
                  </a:cubicBezTo>
                  <a:cubicBezTo>
                    <a:pt x="66" y="192"/>
                    <a:pt x="69" y="193"/>
                    <a:pt x="68" y="192"/>
                  </a:cubicBezTo>
                  <a:cubicBezTo>
                    <a:pt x="67" y="189"/>
                    <a:pt x="62" y="189"/>
                    <a:pt x="61" y="186"/>
                  </a:cubicBezTo>
                  <a:cubicBezTo>
                    <a:pt x="61" y="183"/>
                    <a:pt x="63" y="179"/>
                    <a:pt x="66" y="178"/>
                  </a:cubicBezTo>
                  <a:cubicBezTo>
                    <a:pt x="70" y="176"/>
                    <a:pt x="75" y="176"/>
                    <a:pt x="80" y="176"/>
                  </a:cubicBezTo>
                  <a:cubicBezTo>
                    <a:pt x="83" y="176"/>
                    <a:pt x="88" y="180"/>
                    <a:pt x="88" y="177"/>
                  </a:cubicBezTo>
                  <a:cubicBezTo>
                    <a:pt x="89" y="175"/>
                    <a:pt x="82" y="175"/>
                    <a:pt x="82" y="173"/>
                  </a:cubicBezTo>
                  <a:cubicBezTo>
                    <a:pt x="81" y="169"/>
                    <a:pt x="85" y="167"/>
                    <a:pt x="86" y="164"/>
                  </a:cubicBezTo>
                  <a:cubicBezTo>
                    <a:pt x="86" y="160"/>
                    <a:pt x="88" y="156"/>
                    <a:pt x="86" y="153"/>
                  </a:cubicBezTo>
                  <a:cubicBezTo>
                    <a:pt x="84" y="150"/>
                    <a:pt x="79" y="151"/>
                    <a:pt x="75" y="151"/>
                  </a:cubicBezTo>
                  <a:cubicBezTo>
                    <a:pt x="74" y="151"/>
                    <a:pt x="75" y="154"/>
                    <a:pt x="74" y="154"/>
                  </a:cubicBezTo>
                  <a:cubicBezTo>
                    <a:pt x="71" y="155"/>
                    <a:pt x="69" y="153"/>
                    <a:pt x="66" y="152"/>
                  </a:cubicBezTo>
                  <a:cubicBezTo>
                    <a:pt x="64" y="151"/>
                    <a:pt x="62" y="149"/>
                    <a:pt x="60" y="149"/>
                  </a:cubicBezTo>
                  <a:cubicBezTo>
                    <a:pt x="56" y="150"/>
                    <a:pt x="52" y="153"/>
                    <a:pt x="49" y="155"/>
                  </a:cubicBezTo>
                  <a:cubicBezTo>
                    <a:pt x="44" y="157"/>
                    <a:pt x="40" y="160"/>
                    <a:pt x="35" y="162"/>
                  </a:cubicBezTo>
                  <a:cubicBezTo>
                    <a:pt x="34" y="161"/>
                    <a:pt x="33" y="160"/>
                    <a:pt x="32" y="160"/>
                  </a:cubicBezTo>
                  <a:cubicBezTo>
                    <a:pt x="30" y="160"/>
                    <a:pt x="27" y="160"/>
                    <a:pt x="26" y="158"/>
                  </a:cubicBezTo>
                  <a:cubicBezTo>
                    <a:pt x="27" y="157"/>
                    <a:pt x="26" y="155"/>
                    <a:pt x="27" y="155"/>
                  </a:cubicBezTo>
                  <a:cubicBezTo>
                    <a:pt x="28" y="153"/>
                    <a:pt x="33" y="155"/>
                    <a:pt x="32" y="153"/>
                  </a:cubicBezTo>
                  <a:cubicBezTo>
                    <a:pt x="31" y="147"/>
                    <a:pt x="26" y="142"/>
                    <a:pt x="21" y="138"/>
                  </a:cubicBezTo>
                  <a:cubicBezTo>
                    <a:pt x="20" y="137"/>
                    <a:pt x="17" y="137"/>
                    <a:pt x="15" y="137"/>
                  </a:cubicBezTo>
                  <a:cubicBezTo>
                    <a:pt x="14" y="137"/>
                    <a:pt x="15" y="139"/>
                    <a:pt x="15" y="139"/>
                  </a:cubicBezTo>
                  <a:cubicBezTo>
                    <a:pt x="13" y="138"/>
                    <a:pt x="10" y="137"/>
                    <a:pt x="9" y="136"/>
                  </a:cubicBezTo>
                  <a:cubicBezTo>
                    <a:pt x="8" y="134"/>
                    <a:pt x="10" y="130"/>
                    <a:pt x="9" y="129"/>
                  </a:cubicBezTo>
                  <a:cubicBezTo>
                    <a:pt x="7" y="127"/>
                    <a:pt x="2" y="129"/>
                    <a:pt x="1" y="127"/>
                  </a:cubicBezTo>
                  <a:cubicBezTo>
                    <a:pt x="0" y="123"/>
                    <a:pt x="3" y="119"/>
                    <a:pt x="4" y="115"/>
                  </a:cubicBezTo>
                  <a:cubicBezTo>
                    <a:pt x="5" y="114"/>
                    <a:pt x="7" y="114"/>
                    <a:pt x="7" y="113"/>
                  </a:cubicBezTo>
                  <a:cubicBezTo>
                    <a:pt x="7" y="111"/>
                    <a:pt x="4" y="110"/>
                    <a:pt x="3" y="107"/>
                  </a:cubicBezTo>
                  <a:cubicBezTo>
                    <a:pt x="2" y="105"/>
                    <a:pt x="3" y="102"/>
                    <a:pt x="4" y="99"/>
                  </a:cubicBezTo>
                  <a:cubicBezTo>
                    <a:pt x="5" y="97"/>
                    <a:pt x="8" y="96"/>
                    <a:pt x="9" y="94"/>
                  </a:cubicBezTo>
                  <a:cubicBezTo>
                    <a:pt x="10" y="92"/>
                    <a:pt x="8" y="90"/>
                    <a:pt x="9" y="88"/>
                  </a:cubicBezTo>
                  <a:cubicBezTo>
                    <a:pt x="10" y="87"/>
                    <a:pt x="13" y="87"/>
                    <a:pt x="14" y="88"/>
                  </a:cubicBezTo>
                  <a:cubicBezTo>
                    <a:pt x="18" y="91"/>
                    <a:pt x="18" y="96"/>
                    <a:pt x="22" y="99"/>
                  </a:cubicBezTo>
                  <a:cubicBezTo>
                    <a:pt x="23" y="101"/>
                    <a:pt x="25" y="101"/>
                    <a:pt x="26" y="99"/>
                  </a:cubicBezTo>
                  <a:cubicBezTo>
                    <a:pt x="27" y="98"/>
                    <a:pt x="27" y="96"/>
                    <a:pt x="26" y="95"/>
                  </a:cubicBezTo>
                  <a:cubicBezTo>
                    <a:pt x="25" y="91"/>
                    <a:pt x="21" y="89"/>
                    <a:pt x="22" y="85"/>
                  </a:cubicBezTo>
                  <a:cubicBezTo>
                    <a:pt x="22" y="83"/>
                    <a:pt x="25" y="86"/>
                    <a:pt x="27" y="85"/>
                  </a:cubicBezTo>
                  <a:cubicBezTo>
                    <a:pt x="29" y="85"/>
                    <a:pt x="31" y="84"/>
                    <a:pt x="32" y="82"/>
                  </a:cubicBezTo>
                  <a:cubicBezTo>
                    <a:pt x="33" y="81"/>
                    <a:pt x="30" y="78"/>
                    <a:pt x="32" y="77"/>
                  </a:cubicBezTo>
                  <a:cubicBezTo>
                    <a:pt x="35" y="75"/>
                    <a:pt x="39" y="76"/>
                    <a:pt x="43" y="73"/>
                  </a:cubicBezTo>
                  <a:cubicBezTo>
                    <a:pt x="45" y="72"/>
                    <a:pt x="45" y="68"/>
                    <a:pt x="47" y="67"/>
                  </a:cubicBezTo>
                  <a:cubicBezTo>
                    <a:pt x="49" y="66"/>
                    <a:pt x="52" y="67"/>
                    <a:pt x="54" y="68"/>
                  </a:cubicBezTo>
                  <a:cubicBezTo>
                    <a:pt x="55" y="69"/>
                    <a:pt x="53" y="70"/>
                    <a:pt x="53" y="71"/>
                  </a:cubicBezTo>
                  <a:cubicBezTo>
                    <a:pt x="55" y="72"/>
                    <a:pt x="57" y="72"/>
                    <a:pt x="58" y="71"/>
                  </a:cubicBezTo>
                  <a:cubicBezTo>
                    <a:pt x="60" y="70"/>
                    <a:pt x="61" y="68"/>
                    <a:pt x="64" y="67"/>
                  </a:cubicBezTo>
                  <a:cubicBezTo>
                    <a:pt x="65" y="67"/>
                    <a:pt x="66" y="69"/>
                    <a:pt x="67" y="70"/>
                  </a:cubicBezTo>
                  <a:cubicBezTo>
                    <a:pt x="70" y="70"/>
                    <a:pt x="74" y="69"/>
                    <a:pt x="77" y="70"/>
                  </a:cubicBezTo>
                  <a:cubicBezTo>
                    <a:pt x="79" y="70"/>
                    <a:pt x="80" y="73"/>
                    <a:pt x="82" y="75"/>
                  </a:cubicBezTo>
                  <a:cubicBezTo>
                    <a:pt x="85" y="77"/>
                    <a:pt x="89" y="77"/>
                    <a:pt x="91" y="80"/>
                  </a:cubicBezTo>
                  <a:cubicBezTo>
                    <a:pt x="93" y="82"/>
                    <a:pt x="91" y="85"/>
                    <a:pt x="93" y="87"/>
                  </a:cubicBezTo>
                  <a:cubicBezTo>
                    <a:pt x="93" y="88"/>
                    <a:pt x="96" y="88"/>
                    <a:pt x="96" y="87"/>
                  </a:cubicBezTo>
                  <a:cubicBezTo>
                    <a:pt x="97" y="85"/>
                    <a:pt x="94" y="80"/>
                    <a:pt x="96" y="80"/>
                  </a:cubicBezTo>
                  <a:cubicBezTo>
                    <a:pt x="101" y="80"/>
                    <a:pt x="103" y="87"/>
                    <a:pt x="108" y="87"/>
                  </a:cubicBezTo>
                  <a:cubicBezTo>
                    <a:pt x="111" y="87"/>
                    <a:pt x="112" y="81"/>
                    <a:pt x="115" y="80"/>
                  </a:cubicBezTo>
                  <a:cubicBezTo>
                    <a:pt x="117" y="78"/>
                    <a:pt x="120" y="78"/>
                    <a:pt x="123" y="78"/>
                  </a:cubicBezTo>
                  <a:cubicBezTo>
                    <a:pt x="125" y="78"/>
                    <a:pt x="127" y="81"/>
                    <a:pt x="129" y="80"/>
                  </a:cubicBezTo>
                  <a:cubicBezTo>
                    <a:pt x="130" y="80"/>
                    <a:pt x="129" y="77"/>
                    <a:pt x="131" y="76"/>
                  </a:cubicBezTo>
                  <a:cubicBezTo>
                    <a:pt x="133" y="75"/>
                    <a:pt x="136" y="76"/>
                    <a:pt x="138" y="77"/>
                  </a:cubicBezTo>
                  <a:cubicBezTo>
                    <a:pt x="140" y="78"/>
                    <a:pt x="139" y="82"/>
                    <a:pt x="141" y="84"/>
                  </a:cubicBezTo>
                  <a:cubicBezTo>
                    <a:pt x="145" y="86"/>
                    <a:pt x="150" y="87"/>
                    <a:pt x="155" y="87"/>
                  </a:cubicBezTo>
                  <a:cubicBezTo>
                    <a:pt x="157" y="86"/>
                    <a:pt x="156" y="81"/>
                    <a:pt x="158" y="81"/>
                  </a:cubicBezTo>
                  <a:cubicBezTo>
                    <a:pt x="162" y="81"/>
                    <a:pt x="165" y="86"/>
                    <a:pt x="169" y="85"/>
                  </a:cubicBezTo>
                  <a:cubicBezTo>
                    <a:pt x="172" y="85"/>
                    <a:pt x="173" y="81"/>
                    <a:pt x="174" y="79"/>
                  </a:cubicBezTo>
                  <a:cubicBezTo>
                    <a:pt x="175" y="76"/>
                    <a:pt x="176" y="73"/>
                    <a:pt x="174" y="71"/>
                  </a:cubicBezTo>
                  <a:cubicBezTo>
                    <a:pt x="173" y="69"/>
                    <a:pt x="169" y="71"/>
                    <a:pt x="167" y="70"/>
                  </a:cubicBezTo>
                  <a:cubicBezTo>
                    <a:pt x="163" y="68"/>
                    <a:pt x="159" y="64"/>
                    <a:pt x="157" y="61"/>
                  </a:cubicBezTo>
                  <a:cubicBezTo>
                    <a:pt x="160" y="59"/>
                    <a:pt x="164" y="60"/>
                    <a:pt x="166" y="57"/>
                  </a:cubicBezTo>
                  <a:cubicBezTo>
                    <a:pt x="167" y="55"/>
                    <a:pt x="163" y="54"/>
                    <a:pt x="163" y="51"/>
                  </a:cubicBezTo>
                  <a:cubicBezTo>
                    <a:pt x="163" y="48"/>
                    <a:pt x="165" y="45"/>
                    <a:pt x="168" y="44"/>
                  </a:cubicBezTo>
                  <a:cubicBezTo>
                    <a:pt x="171" y="43"/>
                    <a:pt x="174" y="47"/>
                    <a:pt x="177" y="46"/>
                  </a:cubicBezTo>
                  <a:cubicBezTo>
                    <a:pt x="179" y="45"/>
                    <a:pt x="175" y="43"/>
                    <a:pt x="173" y="42"/>
                  </a:cubicBezTo>
                  <a:cubicBezTo>
                    <a:pt x="172" y="41"/>
                    <a:pt x="169" y="42"/>
                    <a:pt x="168" y="40"/>
                  </a:cubicBezTo>
                  <a:cubicBezTo>
                    <a:pt x="167" y="39"/>
                    <a:pt x="170" y="38"/>
                    <a:pt x="169" y="37"/>
                  </a:cubicBezTo>
                  <a:cubicBezTo>
                    <a:pt x="168" y="36"/>
                    <a:pt x="165" y="38"/>
                    <a:pt x="164" y="37"/>
                  </a:cubicBezTo>
                  <a:cubicBezTo>
                    <a:pt x="162" y="35"/>
                    <a:pt x="162" y="31"/>
                    <a:pt x="164" y="29"/>
                  </a:cubicBezTo>
                  <a:cubicBezTo>
                    <a:pt x="166" y="27"/>
                    <a:pt x="171" y="30"/>
                    <a:pt x="175" y="28"/>
                  </a:cubicBezTo>
                  <a:cubicBezTo>
                    <a:pt x="177" y="28"/>
                    <a:pt x="179" y="26"/>
                    <a:pt x="182" y="28"/>
                  </a:cubicBezTo>
                  <a:cubicBezTo>
                    <a:pt x="188" y="28"/>
                    <a:pt x="193" y="26"/>
                    <a:pt x="198" y="25"/>
                  </a:cubicBezTo>
                  <a:cubicBezTo>
                    <a:pt x="202" y="21"/>
                    <a:pt x="208" y="21"/>
                    <a:pt x="214" y="22"/>
                  </a:cubicBezTo>
                  <a:cubicBezTo>
                    <a:pt x="214" y="19"/>
                    <a:pt x="216" y="16"/>
                    <a:pt x="218" y="14"/>
                  </a:cubicBezTo>
                  <a:cubicBezTo>
                    <a:pt x="219" y="13"/>
                    <a:pt x="221" y="15"/>
                    <a:pt x="222" y="15"/>
                  </a:cubicBezTo>
                  <a:cubicBezTo>
                    <a:pt x="231" y="13"/>
                    <a:pt x="239" y="12"/>
                    <a:pt x="247" y="9"/>
                  </a:cubicBezTo>
                  <a:cubicBezTo>
                    <a:pt x="249" y="8"/>
                    <a:pt x="246" y="4"/>
                    <a:pt x="248" y="3"/>
                  </a:cubicBezTo>
                  <a:cubicBezTo>
                    <a:pt x="249" y="1"/>
                    <a:pt x="252" y="0"/>
                    <a:pt x="255" y="0"/>
                  </a:cubicBezTo>
                  <a:cubicBezTo>
                    <a:pt x="261" y="1"/>
                    <a:pt x="266" y="4"/>
                    <a:pt x="272" y="5"/>
                  </a:cubicBezTo>
                  <a:cubicBezTo>
                    <a:pt x="274" y="6"/>
                    <a:pt x="276" y="3"/>
                    <a:pt x="278" y="4"/>
                  </a:cubicBezTo>
                  <a:cubicBezTo>
                    <a:pt x="280" y="7"/>
                    <a:pt x="280" y="11"/>
                    <a:pt x="281" y="14"/>
                  </a:cubicBezTo>
                  <a:cubicBezTo>
                    <a:pt x="282" y="15"/>
                    <a:pt x="284" y="16"/>
                    <a:pt x="284" y="17"/>
                  </a:cubicBezTo>
                  <a:cubicBezTo>
                    <a:pt x="285" y="19"/>
                    <a:pt x="282" y="22"/>
                    <a:pt x="283" y="24"/>
                  </a:cubicBezTo>
                  <a:cubicBezTo>
                    <a:pt x="285" y="23"/>
                    <a:pt x="287" y="24"/>
                    <a:pt x="289" y="24"/>
                  </a:cubicBezTo>
                  <a:cubicBezTo>
                    <a:pt x="290" y="24"/>
                    <a:pt x="291" y="22"/>
                    <a:pt x="292" y="22"/>
                  </a:cubicBezTo>
                  <a:cubicBezTo>
                    <a:pt x="293" y="22"/>
                    <a:pt x="294" y="23"/>
                    <a:pt x="295" y="23"/>
                  </a:cubicBezTo>
                  <a:cubicBezTo>
                    <a:pt x="296" y="22"/>
                    <a:pt x="296" y="18"/>
                    <a:pt x="297" y="19"/>
                  </a:cubicBezTo>
                  <a:cubicBezTo>
                    <a:pt x="299" y="22"/>
                    <a:pt x="298" y="26"/>
                    <a:pt x="300" y="29"/>
                  </a:cubicBezTo>
                  <a:cubicBezTo>
                    <a:pt x="301" y="30"/>
                    <a:pt x="303" y="29"/>
                    <a:pt x="303" y="28"/>
                  </a:cubicBezTo>
                  <a:cubicBezTo>
                    <a:pt x="304" y="27"/>
                    <a:pt x="302" y="25"/>
                    <a:pt x="303" y="25"/>
                  </a:cubicBezTo>
                  <a:cubicBezTo>
                    <a:pt x="306" y="24"/>
                    <a:pt x="310" y="27"/>
                    <a:pt x="313" y="27"/>
                  </a:cubicBezTo>
                  <a:cubicBezTo>
                    <a:pt x="315" y="28"/>
                    <a:pt x="311" y="31"/>
                    <a:pt x="312" y="33"/>
                  </a:cubicBezTo>
                  <a:cubicBezTo>
                    <a:pt x="312" y="34"/>
                    <a:pt x="313" y="35"/>
                    <a:pt x="314" y="35"/>
                  </a:cubicBezTo>
                  <a:cubicBezTo>
                    <a:pt x="316" y="34"/>
                    <a:pt x="318" y="31"/>
                    <a:pt x="320" y="31"/>
                  </a:cubicBezTo>
                  <a:cubicBezTo>
                    <a:pt x="322" y="31"/>
                    <a:pt x="323" y="34"/>
                    <a:pt x="324" y="34"/>
                  </a:cubicBezTo>
                  <a:cubicBezTo>
                    <a:pt x="324" y="29"/>
                    <a:pt x="333" y="29"/>
                    <a:pt x="335" y="26"/>
                  </a:cubicBezTo>
                  <a:cubicBezTo>
                    <a:pt x="342" y="25"/>
                    <a:pt x="344" y="20"/>
                    <a:pt x="350" y="21"/>
                  </a:cubicBezTo>
                  <a:cubicBezTo>
                    <a:pt x="352" y="21"/>
                    <a:pt x="347" y="25"/>
                    <a:pt x="348" y="27"/>
                  </a:cubicBezTo>
                  <a:cubicBezTo>
                    <a:pt x="349" y="29"/>
                    <a:pt x="351" y="31"/>
                    <a:pt x="354" y="33"/>
                  </a:cubicBezTo>
                  <a:cubicBezTo>
                    <a:pt x="357" y="35"/>
                    <a:pt x="361" y="35"/>
                    <a:pt x="363" y="38"/>
                  </a:cubicBezTo>
                  <a:cubicBezTo>
                    <a:pt x="376" y="53"/>
                    <a:pt x="385" y="70"/>
                    <a:pt x="398" y="84"/>
                  </a:cubicBezTo>
                  <a:cubicBezTo>
                    <a:pt x="399" y="86"/>
                    <a:pt x="401" y="82"/>
                    <a:pt x="402" y="80"/>
                  </a:cubicBezTo>
                  <a:cubicBezTo>
                    <a:pt x="402" y="79"/>
                    <a:pt x="400" y="78"/>
                    <a:pt x="401" y="77"/>
                  </a:cubicBezTo>
                  <a:cubicBezTo>
                    <a:pt x="403" y="76"/>
                    <a:pt x="405" y="76"/>
                    <a:pt x="406" y="77"/>
                  </a:cubicBezTo>
                  <a:cubicBezTo>
                    <a:pt x="408" y="77"/>
                    <a:pt x="410" y="79"/>
                    <a:pt x="411" y="81"/>
                  </a:cubicBezTo>
                  <a:cubicBezTo>
                    <a:pt x="412" y="82"/>
                    <a:pt x="409" y="83"/>
                    <a:pt x="410" y="84"/>
                  </a:cubicBezTo>
                  <a:cubicBezTo>
                    <a:pt x="411" y="84"/>
                    <a:pt x="413" y="83"/>
                    <a:pt x="414" y="84"/>
                  </a:cubicBezTo>
                  <a:cubicBezTo>
                    <a:pt x="415" y="84"/>
                    <a:pt x="414" y="86"/>
                    <a:pt x="414" y="86"/>
                  </a:cubicBezTo>
                  <a:cubicBezTo>
                    <a:pt x="419" y="87"/>
                    <a:pt x="424" y="86"/>
                    <a:pt x="429" y="86"/>
                  </a:cubicBezTo>
                  <a:cubicBezTo>
                    <a:pt x="432" y="85"/>
                    <a:pt x="432" y="80"/>
                    <a:pt x="435" y="80"/>
                  </a:cubicBezTo>
                  <a:cubicBezTo>
                    <a:pt x="440" y="81"/>
                    <a:pt x="444" y="85"/>
                    <a:pt x="447" y="89"/>
                  </a:cubicBezTo>
                  <a:cubicBezTo>
                    <a:pt x="449" y="91"/>
                    <a:pt x="448" y="95"/>
                    <a:pt x="450" y="96"/>
                  </a:cubicBezTo>
                  <a:cubicBezTo>
                    <a:pt x="452" y="98"/>
                    <a:pt x="456" y="95"/>
                    <a:pt x="459" y="96"/>
                  </a:cubicBezTo>
                  <a:cubicBezTo>
                    <a:pt x="460" y="96"/>
                    <a:pt x="460" y="99"/>
                    <a:pt x="461" y="100"/>
                  </a:cubicBezTo>
                  <a:cubicBezTo>
                    <a:pt x="462" y="102"/>
                    <a:pt x="464" y="104"/>
                    <a:pt x="467" y="105"/>
                  </a:cubicBezTo>
                  <a:cubicBezTo>
                    <a:pt x="470" y="104"/>
                    <a:pt x="472" y="107"/>
                    <a:pt x="475" y="106"/>
                  </a:cubicBezTo>
                  <a:cubicBezTo>
                    <a:pt x="477" y="105"/>
                    <a:pt x="477" y="101"/>
                    <a:pt x="479" y="101"/>
                  </a:cubicBezTo>
                  <a:cubicBezTo>
                    <a:pt x="481" y="101"/>
                    <a:pt x="478" y="104"/>
                    <a:pt x="478" y="106"/>
                  </a:cubicBezTo>
                  <a:cubicBezTo>
                    <a:pt x="481" y="109"/>
                    <a:pt x="485" y="111"/>
                    <a:pt x="488" y="11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" name="Freeform 99"/>
            <p:cNvSpPr>
              <a:spLocks noChangeAspect="1"/>
            </p:cNvSpPr>
            <p:nvPr/>
          </p:nvSpPr>
          <p:spPr bwMode="auto">
            <a:xfrm>
              <a:off x="5141913" y="2981325"/>
              <a:ext cx="441325" cy="198438"/>
            </a:xfrm>
            <a:custGeom>
              <a:avLst/>
              <a:gdLst>
                <a:gd name="T0" fmla="*/ 245392 w 232"/>
                <a:gd name="T1" fmla="*/ 196530 h 104"/>
                <a:gd name="T2" fmla="*/ 254903 w 232"/>
                <a:gd name="T3" fmla="*/ 173633 h 104"/>
                <a:gd name="T4" fmla="*/ 292949 w 232"/>
                <a:gd name="T5" fmla="*/ 171725 h 104"/>
                <a:gd name="T6" fmla="*/ 336701 w 232"/>
                <a:gd name="T7" fmla="*/ 167909 h 104"/>
                <a:gd name="T8" fmla="*/ 380453 w 232"/>
                <a:gd name="T9" fmla="*/ 154553 h 104"/>
                <a:gd name="T10" fmla="*/ 395671 w 232"/>
                <a:gd name="T11" fmla="*/ 150737 h 104"/>
                <a:gd name="T12" fmla="*/ 418498 w 232"/>
                <a:gd name="T13" fmla="*/ 160277 h 104"/>
                <a:gd name="T14" fmla="*/ 429911 w 232"/>
                <a:gd name="T15" fmla="*/ 164093 h 104"/>
                <a:gd name="T16" fmla="*/ 439423 w 232"/>
                <a:gd name="T17" fmla="*/ 148829 h 104"/>
                <a:gd name="T18" fmla="*/ 428009 w 232"/>
                <a:gd name="T19" fmla="*/ 127840 h 104"/>
                <a:gd name="T20" fmla="*/ 420400 w 232"/>
                <a:gd name="T21" fmla="*/ 91587 h 104"/>
                <a:gd name="T22" fmla="*/ 428009 w 232"/>
                <a:gd name="T23" fmla="*/ 70598 h 104"/>
                <a:gd name="T24" fmla="*/ 407084 w 232"/>
                <a:gd name="T25" fmla="*/ 61058 h 104"/>
                <a:gd name="T26" fmla="*/ 403280 w 232"/>
                <a:gd name="T27" fmla="*/ 34345 h 104"/>
                <a:gd name="T28" fmla="*/ 380453 w 232"/>
                <a:gd name="T29" fmla="*/ 22897 h 104"/>
                <a:gd name="T30" fmla="*/ 357625 w 232"/>
                <a:gd name="T31" fmla="*/ 26713 h 104"/>
                <a:gd name="T32" fmla="*/ 342407 w 232"/>
                <a:gd name="T33" fmla="*/ 34345 h 104"/>
                <a:gd name="T34" fmla="*/ 310069 w 232"/>
                <a:gd name="T35" fmla="*/ 38161 h 104"/>
                <a:gd name="T36" fmla="*/ 291046 w 232"/>
                <a:gd name="T37" fmla="*/ 41977 h 104"/>
                <a:gd name="T38" fmla="*/ 264415 w 232"/>
                <a:gd name="T39" fmla="*/ 34345 h 104"/>
                <a:gd name="T40" fmla="*/ 245392 w 232"/>
                <a:gd name="T41" fmla="*/ 28621 h 104"/>
                <a:gd name="T42" fmla="*/ 232076 w 232"/>
                <a:gd name="T43" fmla="*/ 30529 h 104"/>
                <a:gd name="T44" fmla="*/ 218760 w 232"/>
                <a:gd name="T45" fmla="*/ 19081 h 104"/>
                <a:gd name="T46" fmla="*/ 209249 w 232"/>
                <a:gd name="T47" fmla="*/ 3816 h 104"/>
                <a:gd name="T48" fmla="*/ 195933 w 232"/>
                <a:gd name="T49" fmla="*/ 7632 h 104"/>
                <a:gd name="T50" fmla="*/ 165497 w 232"/>
                <a:gd name="T51" fmla="*/ 5724 h 104"/>
                <a:gd name="T52" fmla="*/ 125549 w 232"/>
                <a:gd name="T53" fmla="*/ 28621 h 104"/>
                <a:gd name="T54" fmla="*/ 100820 w 232"/>
                <a:gd name="T55" fmla="*/ 34345 h 104"/>
                <a:gd name="T56" fmla="*/ 81797 w 232"/>
                <a:gd name="T57" fmla="*/ 28621 h 104"/>
                <a:gd name="T58" fmla="*/ 64677 w 232"/>
                <a:gd name="T59" fmla="*/ 36253 h 104"/>
                <a:gd name="T60" fmla="*/ 91309 w 232"/>
                <a:gd name="T61" fmla="*/ 43885 h 104"/>
                <a:gd name="T62" fmla="*/ 74188 w 232"/>
                <a:gd name="T63" fmla="*/ 47701 h 104"/>
                <a:gd name="T64" fmla="*/ 72286 w 232"/>
                <a:gd name="T65" fmla="*/ 53426 h 104"/>
                <a:gd name="T66" fmla="*/ 83700 w 232"/>
                <a:gd name="T67" fmla="*/ 57242 h 104"/>
                <a:gd name="T68" fmla="*/ 68481 w 232"/>
                <a:gd name="T69" fmla="*/ 62966 h 104"/>
                <a:gd name="T70" fmla="*/ 60872 w 232"/>
                <a:gd name="T71" fmla="*/ 57242 h 104"/>
                <a:gd name="T72" fmla="*/ 51361 w 232"/>
                <a:gd name="T73" fmla="*/ 64874 h 104"/>
                <a:gd name="T74" fmla="*/ 45654 w 232"/>
                <a:gd name="T75" fmla="*/ 61058 h 104"/>
                <a:gd name="T76" fmla="*/ 39948 w 232"/>
                <a:gd name="T77" fmla="*/ 59150 h 104"/>
                <a:gd name="T78" fmla="*/ 17120 w 232"/>
                <a:gd name="T79" fmla="*/ 61058 h 104"/>
                <a:gd name="T80" fmla="*/ 3805 w 232"/>
                <a:gd name="T81" fmla="*/ 83955 h 104"/>
                <a:gd name="T82" fmla="*/ 17120 w 232"/>
                <a:gd name="T83" fmla="*/ 91587 h 104"/>
                <a:gd name="T84" fmla="*/ 19023 w 232"/>
                <a:gd name="T85" fmla="*/ 103035 h 104"/>
                <a:gd name="T86" fmla="*/ 19023 w 232"/>
                <a:gd name="T87" fmla="*/ 110667 h 104"/>
                <a:gd name="T88" fmla="*/ 17120 w 232"/>
                <a:gd name="T89" fmla="*/ 120208 h 104"/>
                <a:gd name="T90" fmla="*/ 11414 w 232"/>
                <a:gd name="T91" fmla="*/ 125932 h 104"/>
                <a:gd name="T92" fmla="*/ 32338 w 232"/>
                <a:gd name="T93" fmla="*/ 133564 h 104"/>
                <a:gd name="T94" fmla="*/ 39948 w 232"/>
                <a:gd name="T95" fmla="*/ 156461 h 104"/>
                <a:gd name="T96" fmla="*/ 53263 w 232"/>
                <a:gd name="T97" fmla="*/ 166001 h 104"/>
                <a:gd name="T98" fmla="*/ 51361 w 232"/>
                <a:gd name="T99" fmla="*/ 173633 h 104"/>
                <a:gd name="T100" fmla="*/ 58970 w 232"/>
                <a:gd name="T101" fmla="*/ 173633 h 104"/>
                <a:gd name="T102" fmla="*/ 76091 w 232"/>
                <a:gd name="T103" fmla="*/ 175541 h 104"/>
                <a:gd name="T104" fmla="*/ 108429 w 232"/>
                <a:gd name="T105" fmla="*/ 185082 h 104"/>
                <a:gd name="T106" fmla="*/ 116038 w 232"/>
                <a:gd name="T107" fmla="*/ 167909 h 104"/>
                <a:gd name="T108" fmla="*/ 154083 w 232"/>
                <a:gd name="T109" fmla="*/ 188898 h 104"/>
                <a:gd name="T110" fmla="*/ 192129 w 232"/>
                <a:gd name="T111" fmla="*/ 185082 h 104"/>
                <a:gd name="T112" fmla="*/ 222565 w 232"/>
                <a:gd name="T113" fmla="*/ 179357 h 104"/>
                <a:gd name="T114" fmla="*/ 239685 w 232"/>
                <a:gd name="T115" fmla="*/ 167909 h 104"/>
                <a:gd name="T116" fmla="*/ 235881 w 232"/>
                <a:gd name="T117" fmla="*/ 186990 h 10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2"/>
                <a:gd name="T178" fmla="*/ 0 h 104"/>
                <a:gd name="T179" fmla="*/ 232 w 232"/>
                <a:gd name="T180" fmla="*/ 104 h 10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2" h="104">
                  <a:moveTo>
                    <a:pt x="125" y="104"/>
                  </a:moveTo>
                  <a:cubicBezTo>
                    <a:pt x="126" y="104"/>
                    <a:pt x="128" y="104"/>
                    <a:pt x="129" y="103"/>
                  </a:cubicBezTo>
                  <a:cubicBezTo>
                    <a:pt x="131" y="101"/>
                    <a:pt x="133" y="99"/>
                    <a:pt x="134" y="97"/>
                  </a:cubicBezTo>
                  <a:cubicBezTo>
                    <a:pt x="134" y="95"/>
                    <a:pt x="132" y="92"/>
                    <a:pt x="134" y="91"/>
                  </a:cubicBezTo>
                  <a:cubicBezTo>
                    <a:pt x="137" y="90"/>
                    <a:pt x="140" y="94"/>
                    <a:pt x="144" y="94"/>
                  </a:cubicBezTo>
                  <a:cubicBezTo>
                    <a:pt x="147" y="94"/>
                    <a:pt x="150" y="90"/>
                    <a:pt x="154" y="90"/>
                  </a:cubicBezTo>
                  <a:cubicBezTo>
                    <a:pt x="157" y="90"/>
                    <a:pt x="160" y="94"/>
                    <a:pt x="164" y="94"/>
                  </a:cubicBezTo>
                  <a:cubicBezTo>
                    <a:pt x="169" y="93"/>
                    <a:pt x="173" y="90"/>
                    <a:pt x="177" y="88"/>
                  </a:cubicBezTo>
                  <a:cubicBezTo>
                    <a:pt x="182" y="86"/>
                    <a:pt x="187" y="85"/>
                    <a:pt x="192" y="83"/>
                  </a:cubicBezTo>
                  <a:cubicBezTo>
                    <a:pt x="195" y="82"/>
                    <a:pt x="198" y="81"/>
                    <a:pt x="200" y="81"/>
                  </a:cubicBezTo>
                  <a:cubicBezTo>
                    <a:pt x="202" y="81"/>
                    <a:pt x="202" y="82"/>
                    <a:pt x="203" y="83"/>
                  </a:cubicBezTo>
                  <a:cubicBezTo>
                    <a:pt x="205" y="82"/>
                    <a:pt x="205" y="80"/>
                    <a:pt x="208" y="79"/>
                  </a:cubicBezTo>
                  <a:cubicBezTo>
                    <a:pt x="210" y="79"/>
                    <a:pt x="212" y="81"/>
                    <a:pt x="215" y="82"/>
                  </a:cubicBezTo>
                  <a:cubicBezTo>
                    <a:pt x="217" y="82"/>
                    <a:pt x="218" y="84"/>
                    <a:pt x="220" y="84"/>
                  </a:cubicBezTo>
                  <a:cubicBezTo>
                    <a:pt x="222" y="84"/>
                    <a:pt x="223" y="80"/>
                    <a:pt x="224" y="81"/>
                  </a:cubicBezTo>
                  <a:cubicBezTo>
                    <a:pt x="226" y="82"/>
                    <a:pt x="224" y="86"/>
                    <a:pt x="226" y="86"/>
                  </a:cubicBezTo>
                  <a:cubicBezTo>
                    <a:pt x="228" y="87"/>
                    <a:pt x="229" y="85"/>
                    <a:pt x="231" y="84"/>
                  </a:cubicBezTo>
                  <a:cubicBezTo>
                    <a:pt x="231" y="82"/>
                    <a:pt x="232" y="80"/>
                    <a:pt x="231" y="78"/>
                  </a:cubicBezTo>
                  <a:cubicBezTo>
                    <a:pt x="230" y="76"/>
                    <a:pt x="226" y="76"/>
                    <a:pt x="225" y="74"/>
                  </a:cubicBezTo>
                  <a:cubicBezTo>
                    <a:pt x="224" y="72"/>
                    <a:pt x="225" y="69"/>
                    <a:pt x="225" y="67"/>
                  </a:cubicBezTo>
                  <a:cubicBezTo>
                    <a:pt x="225" y="64"/>
                    <a:pt x="227" y="62"/>
                    <a:pt x="226" y="60"/>
                  </a:cubicBezTo>
                  <a:cubicBezTo>
                    <a:pt x="225" y="56"/>
                    <a:pt x="220" y="52"/>
                    <a:pt x="221" y="48"/>
                  </a:cubicBezTo>
                  <a:cubicBezTo>
                    <a:pt x="222" y="45"/>
                    <a:pt x="227" y="44"/>
                    <a:pt x="230" y="42"/>
                  </a:cubicBezTo>
                  <a:cubicBezTo>
                    <a:pt x="229" y="41"/>
                    <a:pt x="227" y="38"/>
                    <a:pt x="225" y="37"/>
                  </a:cubicBezTo>
                  <a:cubicBezTo>
                    <a:pt x="223" y="36"/>
                    <a:pt x="220" y="37"/>
                    <a:pt x="217" y="36"/>
                  </a:cubicBezTo>
                  <a:cubicBezTo>
                    <a:pt x="216" y="35"/>
                    <a:pt x="214" y="33"/>
                    <a:pt x="214" y="32"/>
                  </a:cubicBezTo>
                  <a:cubicBezTo>
                    <a:pt x="213" y="30"/>
                    <a:pt x="214" y="27"/>
                    <a:pt x="214" y="25"/>
                  </a:cubicBezTo>
                  <a:cubicBezTo>
                    <a:pt x="214" y="23"/>
                    <a:pt x="213" y="21"/>
                    <a:pt x="212" y="18"/>
                  </a:cubicBezTo>
                  <a:cubicBezTo>
                    <a:pt x="210" y="17"/>
                    <a:pt x="209" y="16"/>
                    <a:pt x="207" y="15"/>
                  </a:cubicBezTo>
                  <a:cubicBezTo>
                    <a:pt x="205" y="14"/>
                    <a:pt x="202" y="12"/>
                    <a:pt x="200" y="12"/>
                  </a:cubicBezTo>
                  <a:cubicBezTo>
                    <a:pt x="197" y="11"/>
                    <a:pt x="195" y="13"/>
                    <a:pt x="193" y="14"/>
                  </a:cubicBezTo>
                  <a:cubicBezTo>
                    <a:pt x="191" y="14"/>
                    <a:pt x="189" y="14"/>
                    <a:pt x="188" y="14"/>
                  </a:cubicBezTo>
                  <a:cubicBezTo>
                    <a:pt x="186" y="15"/>
                    <a:pt x="185" y="15"/>
                    <a:pt x="183" y="16"/>
                  </a:cubicBezTo>
                  <a:cubicBezTo>
                    <a:pt x="182" y="17"/>
                    <a:pt x="181" y="17"/>
                    <a:pt x="180" y="18"/>
                  </a:cubicBezTo>
                  <a:cubicBezTo>
                    <a:pt x="176" y="19"/>
                    <a:pt x="173" y="20"/>
                    <a:pt x="170" y="21"/>
                  </a:cubicBezTo>
                  <a:cubicBezTo>
                    <a:pt x="168" y="21"/>
                    <a:pt x="165" y="21"/>
                    <a:pt x="163" y="20"/>
                  </a:cubicBezTo>
                  <a:cubicBezTo>
                    <a:pt x="161" y="20"/>
                    <a:pt x="160" y="19"/>
                    <a:pt x="158" y="19"/>
                  </a:cubicBezTo>
                  <a:cubicBezTo>
                    <a:pt x="156" y="19"/>
                    <a:pt x="155" y="22"/>
                    <a:pt x="153" y="22"/>
                  </a:cubicBezTo>
                  <a:cubicBezTo>
                    <a:pt x="149" y="23"/>
                    <a:pt x="146" y="22"/>
                    <a:pt x="143" y="21"/>
                  </a:cubicBezTo>
                  <a:cubicBezTo>
                    <a:pt x="141" y="21"/>
                    <a:pt x="141" y="18"/>
                    <a:pt x="139" y="18"/>
                  </a:cubicBezTo>
                  <a:cubicBezTo>
                    <a:pt x="138" y="17"/>
                    <a:pt x="138" y="20"/>
                    <a:pt x="137" y="20"/>
                  </a:cubicBezTo>
                  <a:cubicBezTo>
                    <a:pt x="134" y="19"/>
                    <a:pt x="132" y="15"/>
                    <a:pt x="129" y="15"/>
                  </a:cubicBezTo>
                  <a:cubicBezTo>
                    <a:pt x="127" y="15"/>
                    <a:pt x="127" y="18"/>
                    <a:pt x="126" y="18"/>
                  </a:cubicBezTo>
                  <a:cubicBezTo>
                    <a:pt x="124" y="19"/>
                    <a:pt x="123" y="18"/>
                    <a:pt x="122" y="16"/>
                  </a:cubicBezTo>
                  <a:cubicBezTo>
                    <a:pt x="121" y="14"/>
                    <a:pt x="123" y="10"/>
                    <a:pt x="121" y="8"/>
                  </a:cubicBezTo>
                  <a:cubicBezTo>
                    <a:pt x="120" y="7"/>
                    <a:pt x="117" y="10"/>
                    <a:pt x="115" y="10"/>
                  </a:cubicBezTo>
                  <a:cubicBezTo>
                    <a:pt x="113" y="9"/>
                    <a:pt x="111" y="8"/>
                    <a:pt x="110" y="6"/>
                  </a:cubicBezTo>
                  <a:cubicBezTo>
                    <a:pt x="109" y="5"/>
                    <a:pt x="111" y="3"/>
                    <a:pt x="110" y="2"/>
                  </a:cubicBezTo>
                  <a:cubicBezTo>
                    <a:pt x="109" y="1"/>
                    <a:pt x="108" y="0"/>
                    <a:pt x="107" y="0"/>
                  </a:cubicBezTo>
                  <a:cubicBezTo>
                    <a:pt x="105" y="1"/>
                    <a:pt x="105" y="4"/>
                    <a:pt x="103" y="4"/>
                  </a:cubicBezTo>
                  <a:cubicBezTo>
                    <a:pt x="101" y="5"/>
                    <a:pt x="98" y="3"/>
                    <a:pt x="95" y="3"/>
                  </a:cubicBezTo>
                  <a:cubicBezTo>
                    <a:pt x="93" y="3"/>
                    <a:pt x="90" y="2"/>
                    <a:pt x="87" y="3"/>
                  </a:cubicBezTo>
                  <a:cubicBezTo>
                    <a:pt x="83" y="4"/>
                    <a:pt x="79" y="5"/>
                    <a:pt x="75" y="7"/>
                  </a:cubicBezTo>
                  <a:cubicBezTo>
                    <a:pt x="71" y="9"/>
                    <a:pt x="70" y="13"/>
                    <a:pt x="66" y="15"/>
                  </a:cubicBezTo>
                  <a:cubicBezTo>
                    <a:pt x="65" y="16"/>
                    <a:pt x="62" y="17"/>
                    <a:pt x="60" y="17"/>
                  </a:cubicBezTo>
                  <a:cubicBezTo>
                    <a:pt x="58" y="18"/>
                    <a:pt x="56" y="18"/>
                    <a:pt x="53" y="18"/>
                  </a:cubicBezTo>
                  <a:cubicBezTo>
                    <a:pt x="51" y="18"/>
                    <a:pt x="49" y="16"/>
                    <a:pt x="48" y="16"/>
                  </a:cubicBezTo>
                  <a:cubicBezTo>
                    <a:pt x="46" y="16"/>
                    <a:pt x="44" y="15"/>
                    <a:pt x="43" y="15"/>
                  </a:cubicBezTo>
                  <a:cubicBezTo>
                    <a:pt x="40" y="15"/>
                    <a:pt x="38" y="15"/>
                    <a:pt x="36" y="16"/>
                  </a:cubicBezTo>
                  <a:cubicBezTo>
                    <a:pt x="35" y="16"/>
                    <a:pt x="34" y="18"/>
                    <a:pt x="34" y="19"/>
                  </a:cubicBezTo>
                  <a:cubicBezTo>
                    <a:pt x="36" y="21"/>
                    <a:pt x="39" y="22"/>
                    <a:pt x="41" y="23"/>
                  </a:cubicBezTo>
                  <a:cubicBezTo>
                    <a:pt x="43" y="24"/>
                    <a:pt x="46" y="23"/>
                    <a:pt x="48" y="23"/>
                  </a:cubicBezTo>
                  <a:cubicBezTo>
                    <a:pt x="48" y="23"/>
                    <a:pt x="48" y="25"/>
                    <a:pt x="48" y="25"/>
                  </a:cubicBezTo>
                  <a:cubicBezTo>
                    <a:pt x="45" y="25"/>
                    <a:pt x="42" y="25"/>
                    <a:pt x="39" y="25"/>
                  </a:cubicBezTo>
                  <a:cubicBezTo>
                    <a:pt x="37" y="26"/>
                    <a:pt x="35" y="26"/>
                    <a:pt x="34" y="28"/>
                  </a:cubicBezTo>
                  <a:cubicBezTo>
                    <a:pt x="33" y="30"/>
                    <a:pt x="37" y="28"/>
                    <a:pt x="38" y="28"/>
                  </a:cubicBezTo>
                  <a:cubicBezTo>
                    <a:pt x="40" y="28"/>
                    <a:pt x="43" y="28"/>
                    <a:pt x="45" y="28"/>
                  </a:cubicBezTo>
                  <a:cubicBezTo>
                    <a:pt x="45" y="28"/>
                    <a:pt x="45" y="30"/>
                    <a:pt x="44" y="30"/>
                  </a:cubicBezTo>
                  <a:cubicBezTo>
                    <a:pt x="42" y="30"/>
                    <a:pt x="40" y="29"/>
                    <a:pt x="39" y="29"/>
                  </a:cubicBezTo>
                  <a:cubicBezTo>
                    <a:pt x="37" y="30"/>
                    <a:pt x="37" y="33"/>
                    <a:pt x="36" y="33"/>
                  </a:cubicBezTo>
                  <a:cubicBezTo>
                    <a:pt x="35" y="34"/>
                    <a:pt x="33" y="34"/>
                    <a:pt x="32" y="33"/>
                  </a:cubicBezTo>
                  <a:cubicBezTo>
                    <a:pt x="31" y="33"/>
                    <a:pt x="33" y="31"/>
                    <a:pt x="32" y="30"/>
                  </a:cubicBezTo>
                  <a:cubicBezTo>
                    <a:pt x="31" y="29"/>
                    <a:pt x="28" y="29"/>
                    <a:pt x="27" y="30"/>
                  </a:cubicBezTo>
                  <a:cubicBezTo>
                    <a:pt x="26" y="31"/>
                    <a:pt x="28" y="33"/>
                    <a:pt x="27" y="34"/>
                  </a:cubicBezTo>
                  <a:cubicBezTo>
                    <a:pt x="26" y="35"/>
                    <a:pt x="24" y="35"/>
                    <a:pt x="24" y="34"/>
                  </a:cubicBezTo>
                  <a:cubicBezTo>
                    <a:pt x="23" y="34"/>
                    <a:pt x="24" y="33"/>
                    <a:pt x="24" y="32"/>
                  </a:cubicBezTo>
                  <a:cubicBezTo>
                    <a:pt x="24" y="31"/>
                    <a:pt x="25" y="29"/>
                    <a:pt x="24" y="29"/>
                  </a:cubicBezTo>
                  <a:cubicBezTo>
                    <a:pt x="22" y="28"/>
                    <a:pt x="22" y="31"/>
                    <a:pt x="21" y="31"/>
                  </a:cubicBezTo>
                  <a:cubicBezTo>
                    <a:pt x="19" y="31"/>
                    <a:pt x="19" y="30"/>
                    <a:pt x="17" y="30"/>
                  </a:cubicBezTo>
                  <a:cubicBezTo>
                    <a:pt x="15" y="30"/>
                    <a:pt x="11" y="30"/>
                    <a:pt x="9" y="32"/>
                  </a:cubicBezTo>
                  <a:cubicBezTo>
                    <a:pt x="6" y="33"/>
                    <a:pt x="4" y="35"/>
                    <a:pt x="3" y="38"/>
                  </a:cubicBezTo>
                  <a:cubicBezTo>
                    <a:pt x="2" y="40"/>
                    <a:pt x="0" y="43"/>
                    <a:pt x="2" y="44"/>
                  </a:cubicBezTo>
                  <a:cubicBezTo>
                    <a:pt x="5" y="46"/>
                    <a:pt x="9" y="41"/>
                    <a:pt x="12" y="43"/>
                  </a:cubicBezTo>
                  <a:cubicBezTo>
                    <a:pt x="14" y="44"/>
                    <a:pt x="9" y="46"/>
                    <a:pt x="9" y="48"/>
                  </a:cubicBezTo>
                  <a:cubicBezTo>
                    <a:pt x="9" y="49"/>
                    <a:pt x="11" y="49"/>
                    <a:pt x="11" y="50"/>
                  </a:cubicBezTo>
                  <a:cubicBezTo>
                    <a:pt x="11" y="51"/>
                    <a:pt x="9" y="53"/>
                    <a:pt x="10" y="54"/>
                  </a:cubicBezTo>
                  <a:cubicBezTo>
                    <a:pt x="11" y="55"/>
                    <a:pt x="14" y="54"/>
                    <a:pt x="14" y="55"/>
                  </a:cubicBezTo>
                  <a:cubicBezTo>
                    <a:pt x="14" y="57"/>
                    <a:pt x="10" y="56"/>
                    <a:pt x="10" y="58"/>
                  </a:cubicBezTo>
                  <a:cubicBezTo>
                    <a:pt x="9" y="60"/>
                    <a:pt x="13" y="61"/>
                    <a:pt x="13" y="63"/>
                  </a:cubicBezTo>
                  <a:cubicBezTo>
                    <a:pt x="13" y="64"/>
                    <a:pt x="10" y="64"/>
                    <a:pt x="9" y="63"/>
                  </a:cubicBezTo>
                  <a:cubicBezTo>
                    <a:pt x="8" y="63"/>
                    <a:pt x="8" y="58"/>
                    <a:pt x="7" y="59"/>
                  </a:cubicBezTo>
                  <a:cubicBezTo>
                    <a:pt x="5" y="60"/>
                    <a:pt x="5" y="64"/>
                    <a:pt x="6" y="66"/>
                  </a:cubicBezTo>
                  <a:cubicBezTo>
                    <a:pt x="7" y="67"/>
                    <a:pt x="10" y="68"/>
                    <a:pt x="12" y="68"/>
                  </a:cubicBezTo>
                  <a:cubicBezTo>
                    <a:pt x="13" y="69"/>
                    <a:pt x="16" y="69"/>
                    <a:pt x="17" y="70"/>
                  </a:cubicBezTo>
                  <a:cubicBezTo>
                    <a:pt x="18" y="72"/>
                    <a:pt x="15" y="75"/>
                    <a:pt x="16" y="77"/>
                  </a:cubicBezTo>
                  <a:cubicBezTo>
                    <a:pt x="17" y="79"/>
                    <a:pt x="21" y="79"/>
                    <a:pt x="21" y="82"/>
                  </a:cubicBezTo>
                  <a:cubicBezTo>
                    <a:pt x="21" y="83"/>
                    <a:pt x="15" y="83"/>
                    <a:pt x="17" y="84"/>
                  </a:cubicBezTo>
                  <a:cubicBezTo>
                    <a:pt x="20" y="87"/>
                    <a:pt x="27" y="83"/>
                    <a:pt x="28" y="87"/>
                  </a:cubicBezTo>
                  <a:cubicBezTo>
                    <a:pt x="29" y="90"/>
                    <a:pt x="21" y="89"/>
                    <a:pt x="20" y="92"/>
                  </a:cubicBezTo>
                  <a:cubicBezTo>
                    <a:pt x="19" y="94"/>
                    <a:pt x="25" y="90"/>
                    <a:pt x="27" y="91"/>
                  </a:cubicBezTo>
                  <a:cubicBezTo>
                    <a:pt x="28" y="91"/>
                    <a:pt x="25" y="95"/>
                    <a:pt x="27" y="95"/>
                  </a:cubicBezTo>
                  <a:cubicBezTo>
                    <a:pt x="29" y="95"/>
                    <a:pt x="29" y="92"/>
                    <a:pt x="31" y="91"/>
                  </a:cubicBezTo>
                  <a:cubicBezTo>
                    <a:pt x="33" y="91"/>
                    <a:pt x="34" y="92"/>
                    <a:pt x="35" y="92"/>
                  </a:cubicBezTo>
                  <a:cubicBezTo>
                    <a:pt x="37" y="92"/>
                    <a:pt x="39" y="91"/>
                    <a:pt x="40" y="92"/>
                  </a:cubicBezTo>
                  <a:cubicBezTo>
                    <a:pt x="43" y="94"/>
                    <a:pt x="43" y="100"/>
                    <a:pt x="46" y="99"/>
                  </a:cubicBezTo>
                  <a:cubicBezTo>
                    <a:pt x="49" y="99"/>
                    <a:pt x="53" y="97"/>
                    <a:pt x="57" y="97"/>
                  </a:cubicBezTo>
                  <a:cubicBezTo>
                    <a:pt x="59" y="97"/>
                    <a:pt x="57" y="92"/>
                    <a:pt x="58" y="90"/>
                  </a:cubicBezTo>
                  <a:cubicBezTo>
                    <a:pt x="58" y="88"/>
                    <a:pt x="60" y="88"/>
                    <a:pt x="61" y="88"/>
                  </a:cubicBezTo>
                  <a:cubicBezTo>
                    <a:pt x="65" y="88"/>
                    <a:pt x="68" y="88"/>
                    <a:pt x="71" y="90"/>
                  </a:cubicBezTo>
                  <a:cubicBezTo>
                    <a:pt x="75" y="92"/>
                    <a:pt x="77" y="97"/>
                    <a:pt x="81" y="99"/>
                  </a:cubicBezTo>
                  <a:cubicBezTo>
                    <a:pt x="84" y="100"/>
                    <a:pt x="87" y="99"/>
                    <a:pt x="90" y="100"/>
                  </a:cubicBezTo>
                  <a:cubicBezTo>
                    <a:pt x="94" y="100"/>
                    <a:pt x="98" y="100"/>
                    <a:pt x="101" y="97"/>
                  </a:cubicBezTo>
                  <a:cubicBezTo>
                    <a:pt x="103" y="95"/>
                    <a:pt x="104" y="91"/>
                    <a:pt x="107" y="91"/>
                  </a:cubicBezTo>
                  <a:cubicBezTo>
                    <a:pt x="110" y="90"/>
                    <a:pt x="113" y="94"/>
                    <a:pt x="117" y="94"/>
                  </a:cubicBezTo>
                  <a:cubicBezTo>
                    <a:pt x="118" y="94"/>
                    <a:pt x="119" y="93"/>
                    <a:pt x="120" y="92"/>
                  </a:cubicBezTo>
                  <a:cubicBezTo>
                    <a:pt x="122" y="90"/>
                    <a:pt x="124" y="87"/>
                    <a:pt x="126" y="88"/>
                  </a:cubicBezTo>
                  <a:cubicBezTo>
                    <a:pt x="128" y="88"/>
                    <a:pt x="127" y="91"/>
                    <a:pt x="127" y="93"/>
                  </a:cubicBezTo>
                  <a:cubicBezTo>
                    <a:pt x="127" y="95"/>
                    <a:pt x="124" y="96"/>
                    <a:pt x="124" y="98"/>
                  </a:cubicBezTo>
                  <a:cubicBezTo>
                    <a:pt x="123" y="100"/>
                    <a:pt x="124" y="102"/>
                    <a:pt x="125" y="10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" name="Freeform 100"/>
            <p:cNvSpPr>
              <a:spLocks noChangeAspect="1"/>
            </p:cNvSpPr>
            <p:nvPr/>
          </p:nvSpPr>
          <p:spPr bwMode="auto">
            <a:xfrm>
              <a:off x="5122863" y="3303588"/>
              <a:ext cx="273050" cy="298450"/>
            </a:xfrm>
            <a:custGeom>
              <a:avLst/>
              <a:gdLst>
                <a:gd name="T0" fmla="*/ 265465 w 144"/>
                <a:gd name="T1" fmla="*/ 254728 h 157"/>
                <a:gd name="T2" fmla="*/ 261673 w 144"/>
                <a:gd name="T3" fmla="*/ 233817 h 157"/>
                <a:gd name="T4" fmla="*/ 271154 w 144"/>
                <a:gd name="T5" fmla="*/ 233817 h 157"/>
                <a:gd name="T6" fmla="*/ 255984 w 144"/>
                <a:gd name="T7" fmla="*/ 214808 h 157"/>
                <a:gd name="T8" fmla="*/ 238919 w 144"/>
                <a:gd name="T9" fmla="*/ 188195 h 157"/>
                <a:gd name="T10" fmla="*/ 223749 w 144"/>
                <a:gd name="T11" fmla="*/ 157779 h 157"/>
                <a:gd name="T12" fmla="*/ 216165 w 144"/>
                <a:gd name="T13" fmla="*/ 133067 h 157"/>
                <a:gd name="T14" fmla="*/ 208580 w 144"/>
                <a:gd name="T15" fmla="*/ 114057 h 157"/>
                <a:gd name="T16" fmla="*/ 189618 w 144"/>
                <a:gd name="T17" fmla="*/ 93147 h 157"/>
                <a:gd name="T18" fmla="*/ 180137 w 144"/>
                <a:gd name="T19" fmla="*/ 68434 h 157"/>
                <a:gd name="T20" fmla="*/ 182033 w 144"/>
                <a:gd name="T21" fmla="*/ 49425 h 157"/>
                <a:gd name="T22" fmla="*/ 174449 w 144"/>
                <a:gd name="T23" fmla="*/ 36118 h 157"/>
                <a:gd name="T24" fmla="*/ 176345 w 144"/>
                <a:gd name="T25" fmla="*/ 19010 h 157"/>
                <a:gd name="T26" fmla="*/ 164968 w 144"/>
                <a:gd name="T27" fmla="*/ 15208 h 157"/>
                <a:gd name="T28" fmla="*/ 151694 w 144"/>
                <a:gd name="T29" fmla="*/ 9505 h 157"/>
                <a:gd name="T30" fmla="*/ 144110 w 144"/>
                <a:gd name="T31" fmla="*/ 11406 h 157"/>
                <a:gd name="T32" fmla="*/ 132733 w 144"/>
                <a:gd name="T33" fmla="*/ 11406 h 157"/>
                <a:gd name="T34" fmla="*/ 123252 w 144"/>
                <a:gd name="T35" fmla="*/ 19010 h 157"/>
                <a:gd name="T36" fmla="*/ 106186 w 144"/>
                <a:gd name="T37" fmla="*/ 28514 h 157"/>
                <a:gd name="T38" fmla="*/ 89120 w 144"/>
                <a:gd name="T39" fmla="*/ 19010 h 157"/>
                <a:gd name="T40" fmla="*/ 73951 w 144"/>
                <a:gd name="T41" fmla="*/ 15208 h 157"/>
                <a:gd name="T42" fmla="*/ 58782 w 144"/>
                <a:gd name="T43" fmla="*/ 9505 h 157"/>
                <a:gd name="T44" fmla="*/ 37924 w 144"/>
                <a:gd name="T45" fmla="*/ 3802 h 157"/>
                <a:gd name="T46" fmla="*/ 20858 w 144"/>
                <a:gd name="T47" fmla="*/ 3802 h 157"/>
                <a:gd name="T48" fmla="*/ 11377 w 144"/>
                <a:gd name="T49" fmla="*/ 0 h 157"/>
                <a:gd name="T50" fmla="*/ 5689 w 144"/>
                <a:gd name="T51" fmla="*/ 9505 h 157"/>
                <a:gd name="T52" fmla="*/ 5689 w 144"/>
                <a:gd name="T53" fmla="*/ 30415 h 157"/>
                <a:gd name="T54" fmla="*/ 0 w 144"/>
                <a:gd name="T55" fmla="*/ 45623 h 157"/>
                <a:gd name="T56" fmla="*/ 7585 w 144"/>
                <a:gd name="T57" fmla="*/ 76038 h 157"/>
                <a:gd name="T58" fmla="*/ 13273 w 144"/>
                <a:gd name="T59" fmla="*/ 285143 h 157"/>
                <a:gd name="T60" fmla="*/ 210476 w 144"/>
                <a:gd name="T61" fmla="*/ 285143 h 157"/>
                <a:gd name="T62" fmla="*/ 218061 w 144"/>
                <a:gd name="T63" fmla="*/ 296549 h 157"/>
                <a:gd name="T64" fmla="*/ 229438 w 144"/>
                <a:gd name="T65" fmla="*/ 290846 h 157"/>
                <a:gd name="T66" fmla="*/ 231334 w 144"/>
                <a:gd name="T67" fmla="*/ 279440 h 157"/>
                <a:gd name="T68" fmla="*/ 240815 w 144"/>
                <a:gd name="T69" fmla="*/ 275639 h 157"/>
                <a:gd name="T70" fmla="*/ 244607 w 144"/>
                <a:gd name="T71" fmla="*/ 266134 h 157"/>
                <a:gd name="T72" fmla="*/ 255984 w 144"/>
                <a:gd name="T73" fmla="*/ 266134 h 157"/>
                <a:gd name="T74" fmla="*/ 265465 w 144"/>
                <a:gd name="T75" fmla="*/ 254728 h 15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4"/>
                <a:gd name="T115" fmla="*/ 0 h 157"/>
                <a:gd name="T116" fmla="*/ 144 w 144"/>
                <a:gd name="T117" fmla="*/ 157 h 15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4" h="157">
                  <a:moveTo>
                    <a:pt x="140" y="134"/>
                  </a:moveTo>
                  <a:cubicBezTo>
                    <a:pt x="140" y="131"/>
                    <a:pt x="137" y="126"/>
                    <a:pt x="138" y="123"/>
                  </a:cubicBezTo>
                  <a:cubicBezTo>
                    <a:pt x="138" y="121"/>
                    <a:pt x="144" y="124"/>
                    <a:pt x="143" y="123"/>
                  </a:cubicBezTo>
                  <a:cubicBezTo>
                    <a:pt x="142" y="118"/>
                    <a:pt x="137" y="117"/>
                    <a:pt x="135" y="113"/>
                  </a:cubicBezTo>
                  <a:cubicBezTo>
                    <a:pt x="132" y="109"/>
                    <a:pt x="129" y="104"/>
                    <a:pt x="126" y="99"/>
                  </a:cubicBezTo>
                  <a:cubicBezTo>
                    <a:pt x="123" y="94"/>
                    <a:pt x="121" y="89"/>
                    <a:pt x="118" y="83"/>
                  </a:cubicBezTo>
                  <a:cubicBezTo>
                    <a:pt x="116" y="79"/>
                    <a:pt x="115" y="74"/>
                    <a:pt x="114" y="70"/>
                  </a:cubicBezTo>
                  <a:cubicBezTo>
                    <a:pt x="113" y="66"/>
                    <a:pt x="112" y="63"/>
                    <a:pt x="110" y="60"/>
                  </a:cubicBezTo>
                  <a:cubicBezTo>
                    <a:pt x="108" y="56"/>
                    <a:pt x="103" y="53"/>
                    <a:pt x="100" y="49"/>
                  </a:cubicBezTo>
                  <a:cubicBezTo>
                    <a:pt x="98" y="45"/>
                    <a:pt x="96" y="41"/>
                    <a:pt x="95" y="36"/>
                  </a:cubicBezTo>
                  <a:cubicBezTo>
                    <a:pt x="94" y="33"/>
                    <a:pt x="96" y="30"/>
                    <a:pt x="96" y="26"/>
                  </a:cubicBezTo>
                  <a:cubicBezTo>
                    <a:pt x="95" y="24"/>
                    <a:pt x="93" y="22"/>
                    <a:pt x="92" y="19"/>
                  </a:cubicBezTo>
                  <a:cubicBezTo>
                    <a:pt x="92" y="16"/>
                    <a:pt x="95" y="13"/>
                    <a:pt x="93" y="10"/>
                  </a:cubicBezTo>
                  <a:cubicBezTo>
                    <a:pt x="92" y="8"/>
                    <a:pt x="89" y="9"/>
                    <a:pt x="87" y="8"/>
                  </a:cubicBezTo>
                  <a:cubicBezTo>
                    <a:pt x="84" y="7"/>
                    <a:pt x="82" y="5"/>
                    <a:pt x="80" y="5"/>
                  </a:cubicBezTo>
                  <a:cubicBezTo>
                    <a:pt x="78" y="5"/>
                    <a:pt x="77" y="6"/>
                    <a:pt x="76" y="6"/>
                  </a:cubicBezTo>
                  <a:cubicBezTo>
                    <a:pt x="74" y="7"/>
                    <a:pt x="72" y="5"/>
                    <a:pt x="70" y="6"/>
                  </a:cubicBezTo>
                  <a:cubicBezTo>
                    <a:pt x="68" y="6"/>
                    <a:pt x="67" y="9"/>
                    <a:pt x="65" y="10"/>
                  </a:cubicBezTo>
                  <a:cubicBezTo>
                    <a:pt x="62" y="12"/>
                    <a:pt x="59" y="15"/>
                    <a:pt x="56" y="15"/>
                  </a:cubicBezTo>
                  <a:cubicBezTo>
                    <a:pt x="53" y="15"/>
                    <a:pt x="50" y="11"/>
                    <a:pt x="47" y="10"/>
                  </a:cubicBezTo>
                  <a:cubicBezTo>
                    <a:pt x="45" y="9"/>
                    <a:pt x="42" y="9"/>
                    <a:pt x="39" y="8"/>
                  </a:cubicBezTo>
                  <a:cubicBezTo>
                    <a:pt x="36" y="7"/>
                    <a:pt x="34" y="6"/>
                    <a:pt x="31" y="5"/>
                  </a:cubicBezTo>
                  <a:cubicBezTo>
                    <a:pt x="28" y="4"/>
                    <a:pt x="24" y="2"/>
                    <a:pt x="20" y="2"/>
                  </a:cubicBezTo>
                  <a:cubicBezTo>
                    <a:pt x="17" y="1"/>
                    <a:pt x="14" y="3"/>
                    <a:pt x="11" y="2"/>
                  </a:cubicBezTo>
                  <a:cubicBezTo>
                    <a:pt x="9" y="2"/>
                    <a:pt x="7" y="1"/>
                    <a:pt x="6" y="0"/>
                  </a:cubicBezTo>
                  <a:cubicBezTo>
                    <a:pt x="5" y="1"/>
                    <a:pt x="3" y="3"/>
                    <a:pt x="3" y="5"/>
                  </a:cubicBezTo>
                  <a:cubicBezTo>
                    <a:pt x="2" y="9"/>
                    <a:pt x="4" y="13"/>
                    <a:pt x="3" y="16"/>
                  </a:cubicBezTo>
                  <a:cubicBezTo>
                    <a:pt x="3" y="19"/>
                    <a:pt x="0" y="21"/>
                    <a:pt x="0" y="24"/>
                  </a:cubicBezTo>
                  <a:cubicBezTo>
                    <a:pt x="0" y="29"/>
                    <a:pt x="3" y="34"/>
                    <a:pt x="4" y="40"/>
                  </a:cubicBezTo>
                  <a:cubicBezTo>
                    <a:pt x="6" y="77"/>
                    <a:pt x="6" y="113"/>
                    <a:pt x="7" y="150"/>
                  </a:cubicBezTo>
                  <a:cubicBezTo>
                    <a:pt x="42" y="150"/>
                    <a:pt x="76" y="148"/>
                    <a:pt x="111" y="150"/>
                  </a:cubicBezTo>
                  <a:cubicBezTo>
                    <a:pt x="114" y="150"/>
                    <a:pt x="113" y="155"/>
                    <a:pt x="115" y="156"/>
                  </a:cubicBezTo>
                  <a:cubicBezTo>
                    <a:pt x="117" y="157"/>
                    <a:pt x="120" y="155"/>
                    <a:pt x="121" y="153"/>
                  </a:cubicBezTo>
                  <a:cubicBezTo>
                    <a:pt x="122" y="151"/>
                    <a:pt x="121" y="149"/>
                    <a:pt x="122" y="147"/>
                  </a:cubicBezTo>
                  <a:cubicBezTo>
                    <a:pt x="123" y="145"/>
                    <a:pt x="125" y="146"/>
                    <a:pt x="127" y="145"/>
                  </a:cubicBezTo>
                  <a:cubicBezTo>
                    <a:pt x="128" y="143"/>
                    <a:pt x="128" y="141"/>
                    <a:pt x="129" y="140"/>
                  </a:cubicBezTo>
                  <a:cubicBezTo>
                    <a:pt x="131" y="139"/>
                    <a:pt x="133" y="141"/>
                    <a:pt x="135" y="140"/>
                  </a:cubicBezTo>
                  <a:cubicBezTo>
                    <a:pt x="137" y="138"/>
                    <a:pt x="139" y="136"/>
                    <a:pt x="140" y="13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" name="Freeform 101"/>
            <p:cNvSpPr>
              <a:spLocks noChangeAspect="1"/>
            </p:cNvSpPr>
            <p:nvPr/>
          </p:nvSpPr>
          <p:spPr bwMode="auto">
            <a:xfrm>
              <a:off x="5345113" y="3259138"/>
              <a:ext cx="34925" cy="111125"/>
            </a:xfrm>
            <a:custGeom>
              <a:avLst/>
              <a:gdLst>
                <a:gd name="T0" fmla="*/ 0 w 18"/>
                <a:gd name="T1" fmla="*/ 63226 h 58"/>
                <a:gd name="T2" fmla="*/ 21343 w 18"/>
                <a:gd name="T3" fmla="*/ 111125 h 58"/>
                <a:gd name="T4" fmla="*/ 21343 w 18"/>
                <a:gd name="T5" fmla="*/ 95797 h 58"/>
                <a:gd name="T6" fmla="*/ 25224 w 18"/>
                <a:gd name="T7" fmla="*/ 72806 h 58"/>
                <a:gd name="T8" fmla="*/ 27164 w 18"/>
                <a:gd name="T9" fmla="*/ 61310 h 58"/>
                <a:gd name="T10" fmla="*/ 21343 w 18"/>
                <a:gd name="T11" fmla="*/ 61310 h 58"/>
                <a:gd name="T12" fmla="*/ 19403 w 18"/>
                <a:gd name="T13" fmla="*/ 55563 h 58"/>
                <a:gd name="T14" fmla="*/ 21343 w 18"/>
                <a:gd name="T15" fmla="*/ 44067 h 58"/>
                <a:gd name="T16" fmla="*/ 19403 w 18"/>
                <a:gd name="T17" fmla="*/ 34487 h 58"/>
                <a:gd name="T18" fmla="*/ 23283 w 18"/>
                <a:gd name="T19" fmla="*/ 26823 h 58"/>
                <a:gd name="T20" fmla="*/ 31044 w 18"/>
                <a:gd name="T21" fmla="*/ 22991 h 58"/>
                <a:gd name="T22" fmla="*/ 32985 w 18"/>
                <a:gd name="T23" fmla="*/ 13412 h 58"/>
                <a:gd name="T24" fmla="*/ 34925 w 18"/>
                <a:gd name="T25" fmla="*/ 0 h 58"/>
                <a:gd name="T26" fmla="*/ 29104 w 18"/>
                <a:gd name="T27" fmla="*/ 1916 h 58"/>
                <a:gd name="T28" fmla="*/ 23283 w 18"/>
                <a:gd name="T29" fmla="*/ 3832 h 58"/>
                <a:gd name="T30" fmla="*/ 19403 w 18"/>
                <a:gd name="T31" fmla="*/ 15328 h 58"/>
                <a:gd name="T32" fmla="*/ 15522 w 18"/>
                <a:gd name="T33" fmla="*/ 28739 h 58"/>
                <a:gd name="T34" fmla="*/ 11642 w 18"/>
                <a:gd name="T35" fmla="*/ 45983 h 58"/>
                <a:gd name="T36" fmla="*/ 7761 w 18"/>
                <a:gd name="T37" fmla="*/ 55563 h 58"/>
                <a:gd name="T38" fmla="*/ 0 w 18"/>
                <a:gd name="T39" fmla="*/ 63226 h 5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"/>
                <a:gd name="T61" fmla="*/ 0 h 58"/>
                <a:gd name="T62" fmla="*/ 18 w 18"/>
                <a:gd name="T63" fmla="*/ 58 h 5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" h="58">
                  <a:moveTo>
                    <a:pt x="0" y="33"/>
                  </a:moveTo>
                  <a:lnTo>
                    <a:pt x="11" y="58"/>
                  </a:lnTo>
                  <a:cubicBezTo>
                    <a:pt x="11" y="56"/>
                    <a:pt x="11" y="53"/>
                    <a:pt x="11" y="50"/>
                  </a:cubicBezTo>
                  <a:cubicBezTo>
                    <a:pt x="12" y="46"/>
                    <a:pt x="12" y="42"/>
                    <a:pt x="13" y="38"/>
                  </a:cubicBezTo>
                  <a:cubicBezTo>
                    <a:pt x="13" y="36"/>
                    <a:pt x="14" y="34"/>
                    <a:pt x="14" y="32"/>
                  </a:cubicBezTo>
                  <a:cubicBezTo>
                    <a:pt x="13" y="32"/>
                    <a:pt x="11" y="33"/>
                    <a:pt x="11" y="32"/>
                  </a:cubicBezTo>
                  <a:cubicBezTo>
                    <a:pt x="10" y="31"/>
                    <a:pt x="10" y="30"/>
                    <a:pt x="10" y="29"/>
                  </a:cubicBezTo>
                  <a:cubicBezTo>
                    <a:pt x="10" y="27"/>
                    <a:pt x="11" y="25"/>
                    <a:pt x="11" y="23"/>
                  </a:cubicBezTo>
                  <a:cubicBezTo>
                    <a:pt x="11" y="21"/>
                    <a:pt x="10" y="19"/>
                    <a:pt x="10" y="18"/>
                  </a:cubicBezTo>
                  <a:cubicBezTo>
                    <a:pt x="10" y="16"/>
                    <a:pt x="11" y="15"/>
                    <a:pt x="12" y="14"/>
                  </a:cubicBezTo>
                  <a:cubicBezTo>
                    <a:pt x="13" y="13"/>
                    <a:pt x="14" y="13"/>
                    <a:pt x="16" y="12"/>
                  </a:cubicBezTo>
                  <a:cubicBezTo>
                    <a:pt x="16" y="10"/>
                    <a:pt x="16" y="8"/>
                    <a:pt x="17" y="7"/>
                  </a:cubicBezTo>
                  <a:cubicBezTo>
                    <a:pt x="17" y="5"/>
                    <a:pt x="17" y="2"/>
                    <a:pt x="18" y="0"/>
                  </a:cubicBezTo>
                  <a:cubicBezTo>
                    <a:pt x="17" y="0"/>
                    <a:pt x="16" y="0"/>
                    <a:pt x="15" y="1"/>
                  </a:cubicBezTo>
                  <a:cubicBezTo>
                    <a:pt x="14" y="1"/>
                    <a:pt x="13" y="2"/>
                    <a:pt x="12" y="2"/>
                  </a:cubicBezTo>
                  <a:cubicBezTo>
                    <a:pt x="11" y="4"/>
                    <a:pt x="10" y="6"/>
                    <a:pt x="10" y="8"/>
                  </a:cubicBezTo>
                  <a:cubicBezTo>
                    <a:pt x="9" y="10"/>
                    <a:pt x="8" y="13"/>
                    <a:pt x="8" y="15"/>
                  </a:cubicBezTo>
                  <a:cubicBezTo>
                    <a:pt x="7" y="18"/>
                    <a:pt x="7" y="21"/>
                    <a:pt x="6" y="24"/>
                  </a:cubicBezTo>
                  <a:cubicBezTo>
                    <a:pt x="5" y="26"/>
                    <a:pt x="5" y="28"/>
                    <a:pt x="4" y="29"/>
                  </a:cubicBezTo>
                  <a:cubicBezTo>
                    <a:pt x="3" y="31"/>
                    <a:pt x="1" y="32"/>
                    <a:pt x="0" y="3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" name="Freeform 102"/>
            <p:cNvSpPr>
              <a:spLocks noChangeAspect="1"/>
            </p:cNvSpPr>
            <p:nvPr/>
          </p:nvSpPr>
          <p:spPr bwMode="auto">
            <a:xfrm>
              <a:off x="5364163" y="3281363"/>
              <a:ext cx="11112" cy="41275"/>
            </a:xfrm>
            <a:custGeom>
              <a:avLst/>
              <a:gdLst>
                <a:gd name="T0" fmla="*/ 7408 w 6"/>
                <a:gd name="T1" fmla="*/ 39310 h 21"/>
                <a:gd name="T2" fmla="*/ 9260 w 6"/>
                <a:gd name="T3" fmla="*/ 15724 h 21"/>
                <a:gd name="T4" fmla="*/ 11112 w 6"/>
                <a:gd name="T5" fmla="*/ 0 h 21"/>
                <a:gd name="T6" fmla="*/ 3704 w 6"/>
                <a:gd name="T7" fmla="*/ 3931 h 21"/>
                <a:gd name="T8" fmla="*/ 0 w 6"/>
                <a:gd name="T9" fmla="*/ 11793 h 21"/>
                <a:gd name="T10" fmla="*/ 1852 w 6"/>
                <a:gd name="T11" fmla="*/ 21620 h 21"/>
                <a:gd name="T12" fmla="*/ 0 w 6"/>
                <a:gd name="T13" fmla="*/ 33413 h 21"/>
                <a:gd name="T14" fmla="*/ 1852 w 6"/>
                <a:gd name="T15" fmla="*/ 39310 h 21"/>
                <a:gd name="T16" fmla="*/ 7408 w 6"/>
                <a:gd name="T17" fmla="*/ 3931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21"/>
                <a:gd name="T29" fmla="*/ 6 w 6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21">
                  <a:moveTo>
                    <a:pt x="4" y="20"/>
                  </a:moveTo>
                  <a:cubicBezTo>
                    <a:pt x="4" y="16"/>
                    <a:pt x="4" y="12"/>
                    <a:pt x="5" y="8"/>
                  </a:cubicBezTo>
                  <a:cubicBezTo>
                    <a:pt x="5" y="6"/>
                    <a:pt x="5" y="3"/>
                    <a:pt x="6" y="0"/>
                  </a:cubicBezTo>
                  <a:cubicBezTo>
                    <a:pt x="4" y="1"/>
                    <a:pt x="3" y="1"/>
                    <a:pt x="2" y="2"/>
                  </a:cubicBezTo>
                  <a:cubicBezTo>
                    <a:pt x="1" y="3"/>
                    <a:pt x="0" y="4"/>
                    <a:pt x="0" y="6"/>
                  </a:cubicBezTo>
                  <a:cubicBezTo>
                    <a:pt x="0" y="7"/>
                    <a:pt x="1" y="9"/>
                    <a:pt x="1" y="11"/>
                  </a:cubicBezTo>
                  <a:cubicBezTo>
                    <a:pt x="1" y="13"/>
                    <a:pt x="0" y="15"/>
                    <a:pt x="0" y="17"/>
                  </a:cubicBezTo>
                  <a:cubicBezTo>
                    <a:pt x="0" y="18"/>
                    <a:pt x="0" y="19"/>
                    <a:pt x="1" y="20"/>
                  </a:cubicBezTo>
                  <a:cubicBezTo>
                    <a:pt x="1" y="21"/>
                    <a:pt x="3" y="20"/>
                    <a:pt x="4" y="2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" name="Freeform 103"/>
            <p:cNvSpPr>
              <a:spLocks noChangeAspect="1"/>
            </p:cNvSpPr>
            <p:nvPr/>
          </p:nvSpPr>
          <p:spPr bwMode="auto">
            <a:xfrm>
              <a:off x="5375275" y="3135313"/>
              <a:ext cx="152400" cy="158750"/>
            </a:xfrm>
            <a:custGeom>
              <a:avLst/>
              <a:gdLst>
                <a:gd name="T0" fmla="*/ 3810 w 80"/>
                <a:gd name="T1" fmla="*/ 124322 h 83"/>
                <a:gd name="T2" fmla="*/ 7620 w 80"/>
                <a:gd name="T3" fmla="*/ 124322 h 83"/>
                <a:gd name="T4" fmla="*/ 11430 w 80"/>
                <a:gd name="T5" fmla="*/ 110934 h 83"/>
                <a:gd name="T6" fmla="*/ 20955 w 80"/>
                <a:gd name="T7" fmla="*/ 110934 h 83"/>
                <a:gd name="T8" fmla="*/ 26670 w 80"/>
                <a:gd name="T9" fmla="*/ 99458 h 83"/>
                <a:gd name="T10" fmla="*/ 19050 w 80"/>
                <a:gd name="T11" fmla="*/ 86069 h 83"/>
                <a:gd name="T12" fmla="*/ 9525 w 80"/>
                <a:gd name="T13" fmla="*/ 84157 h 83"/>
                <a:gd name="T14" fmla="*/ 7620 w 80"/>
                <a:gd name="T15" fmla="*/ 66943 h 83"/>
                <a:gd name="T16" fmla="*/ 9525 w 80"/>
                <a:gd name="T17" fmla="*/ 57380 h 83"/>
                <a:gd name="T18" fmla="*/ 3810 w 80"/>
                <a:gd name="T19" fmla="*/ 53554 h 83"/>
                <a:gd name="T20" fmla="*/ 3810 w 80"/>
                <a:gd name="T21" fmla="*/ 43991 h 83"/>
                <a:gd name="T22" fmla="*/ 11430 w 80"/>
                <a:gd name="T23" fmla="*/ 42078 h 83"/>
                <a:gd name="T24" fmla="*/ 20955 w 80"/>
                <a:gd name="T25" fmla="*/ 30602 h 83"/>
                <a:gd name="T26" fmla="*/ 20955 w 80"/>
                <a:gd name="T27" fmla="*/ 19127 h 83"/>
                <a:gd name="T28" fmla="*/ 40005 w 80"/>
                <a:gd name="T29" fmla="*/ 24864 h 83"/>
                <a:gd name="T30" fmla="*/ 59055 w 80"/>
                <a:gd name="T31" fmla="*/ 17214 h 83"/>
                <a:gd name="T32" fmla="*/ 78105 w 80"/>
                <a:gd name="T33" fmla="*/ 24864 h 83"/>
                <a:gd name="T34" fmla="*/ 102870 w 80"/>
                <a:gd name="T35" fmla="*/ 13389 h 83"/>
                <a:gd name="T36" fmla="*/ 131445 w 80"/>
                <a:gd name="T37" fmla="*/ 3825 h 83"/>
                <a:gd name="T38" fmla="*/ 146685 w 80"/>
                <a:gd name="T39" fmla="*/ 0 h 83"/>
                <a:gd name="T40" fmla="*/ 152400 w 80"/>
                <a:gd name="T41" fmla="*/ 3825 h 83"/>
                <a:gd name="T42" fmla="*/ 144780 w 80"/>
                <a:gd name="T43" fmla="*/ 17214 h 83"/>
                <a:gd name="T44" fmla="*/ 131445 w 80"/>
                <a:gd name="T45" fmla="*/ 24864 h 83"/>
                <a:gd name="T46" fmla="*/ 125730 w 80"/>
                <a:gd name="T47" fmla="*/ 34428 h 83"/>
                <a:gd name="T48" fmla="*/ 129540 w 80"/>
                <a:gd name="T49" fmla="*/ 51642 h 83"/>
                <a:gd name="T50" fmla="*/ 127635 w 80"/>
                <a:gd name="T51" fmla="*/ 63117 h 83"/>
                <a:gd name="T52" fmla="*/ 123825 w 80"/>
                <a:gd name="T53" fmla="*/ 82244 h 83"/>
                <a:gd name="T54" fmla="*/ 108585 w 80"/>
                <a:gd name="T55" fmla="*/ 91807 h 83"/>
                <a:gd name="T56" fmla="*/ 104775 w 80"/>
                <a:gd name="T57" fmla="*/ 99458 h 83"/>
                <a:gd name="T58" fmla="*/ 80010 w 80"/>
                <a:gd name="T59" fmla="*/ 118584 h 83"/>
                <a:gd name="T60" fmla="*/ 30480 w 80"/>
                <a:gd name="T61" fmla="*/ 153012 h 83"/>
                <a:gd name="T62" fmla="*/ 24765 w 80"/>
                <a:gd name="T63" fmla="*/ 158750 h 83"/>
                <a:gd name="T64" fmla="*/ 24765 w 80"/>
                <a:gd name="T65" fmla="*/ 153012 h 83"/>
                <a:gd name="T66" fmla="*/ 0 w 80"/>
                <a:gd name="T67" fmla="*/ 147274 h 83"/>
                <a:gd name="T68" fmla="*/ 1905 w 80"/>
                <a:gd name="T69" fmla="*/ 137711 h 83"/>
                <a:gd name="T70" fmla="*/ 3810 w 80"/>
                <a:gd name="T71" fmla="*/ 124322 h 8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0"/>
                <a:gd name="T109" fmla="*/ 0 h 83"/>
                <a:gd name="T110" fmla="*/ 80 w 80"/>
                <a:gd name="T111" fmla="*/ 83 h 8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0" h="83">
                  <a:moveTo>
                    <a:pt x="2" y="65"/>
                  </a:moveTo>
                  <a:cubicBezTo>
                    <a:pt x="2" y="65"/>
                    <a:pt x="3" y="66"/>
                    <a:pt x="4" y="65"/>
                  </a:cubicBezTo>
                  <a:cubicBezTo>
                    <a:pt x="5" y="63"/>
                    <a:pt x="4" y="60"/>
                    <a:pt x="6" y="58"/>
                  </a:cubicBezTo>
                  <a:cubicBezTo>
                    <a:pt x="7" y="57"/>
                    <a:pt x="9" y="59"/>
                    <a:pt x="11" y="58"/>
                  </a:cubicBezTo>
                  <a:cubicBezTo>
                    <a:pt x="12" y="56"/>
                    <a:pt x="14" y="54"/>
                    <a:pt x="14" y="52"/>
                  </a:cubicBezTo>
                  <a:cubicBezTo>
                    <a:pt x="14" y="49"/>
                    <a:pt x="12" y="47"/>
                    <a:pt x="10" y="45"/>
                  </a:cubicBezTo>
                  <a:cubicBezTo>
                    <a:pt x="9" y="44"/>
                    <a:pt x="7" y="44"/>
                    <a:pt x="5" y="44"/>
                  </a:cubicBezTo>
                  <a:cubicBezTo>
                    <a:pt x="5" y="41"/>
                    <a:pt x="4" y="38"/>
                    <a:pt x="4" y="35"/>
                  </a:cubicBezTo>
                  <a:cubicBezTo>
                    <a:pt x="4" y="34"/>
                    <a:pt x="5" y="32"/>
                    <a:pt x="5" y="30"/>
                  </a:cubicBezTo>
                  <a:cubicBezTo>
                    <a:pt x="4" y="29"/>
                    <a:pt x="2" y="29"/>
                    <a:pt x="2" y="28"/>
                  </a:cubicBezTo>
                  <a:cubicBezTo>
                    <a:pt x="1" y="27"/>
                    <a:pt x="2" y="24"/>
                    <a:pt x="2" y="23"/>
                  </a:cubicBezTo>
                  <a:cubicBezTo>
                    <a:pt x="3" y="23"/>
                    <a:pt x="5" y="23"/>
                    <a:pt x="6" y="22"/>
                  </a:cubicBezTo>
                  <a:cubicBezTo>
                    <a:pt x="8" y="20"/>
                    <a:pt x="10" y="18"/>
                    <a:pt x="11" y="16"/>
                  </a:cubicBezTo>
                  <a:cubicBezTo>
                    <a:pt x="11" y="14"/>
                    <a:pt x="9" y="11"/>
                    <a:pt x="11" y="10"/>
                  </a:cubicBezTo>
                  <a:cubicBezTo>
                    <a:pt x="14" y="9"/>
                    <a:pt x="17" y="13"/>
                    <a:pt x="21" y="13"/>
                  </a:cubicBezTo>
                  <a:cubicBezTo>
                    <a:pt x="24" y="13"/>
                    <a:pt x="27" y="9"/>
                    <a:pt x="31" y="9"/>
                  </a:cubicBezTo>
                  <a:cubicBezTo>
                    <a:pt x="34" y="9"/>
                    <a:pt x="37" y="13"/>
                    <a:pt x="41" y="13"/>
                  </a:cubicBezTo>
                  <a:cubicBezTo>
                    <a:pt x="46" y="12"/>
                    <a:pt x="50" y="9"/>
                    <a:pt x="54" y="7"/>
                  </a:cubicBezTo>
                  <a:cubicBezTo>
                    <a:pt x="59" y="5"/>
                    <a:pt x="64" y="4"/>
                    <a:pt x="69" y="2"/>
                  </a:cubicBezTo>
                  <a:cubicBezTo>
                    <a:pt x="72" y="1"/>
                    <a:pt x="75" y="0"/>
                    <a:pt x="77" y="0"/>
                  </a:cubicBezTo>
                  <a:cubicBezTo>
                    <a:pt x="79" y="0"/>
                    <a:pt x="79" y="1"/>
                    <a:pt x="80" y="2"/>
                  </a:cubicBezTo>
                  <a:cubicBezTo>
                    <a:pt x="79" y="4"/>
                    <a:pt x="78" y="8"/>
                    <a:pt x="76" y="9"/>
                  </a:cubicBezTo>
                  <a:cubicBezTo>
                    <a:pt x="74" y="11"/>
                    <a:pt x="71" y="11"/>
                    <a:pt x="69" y="13"/>
                  </a:cubicBezTo>
                  <a:cubicBezTo>
                    <a:pt x="68" y="14"/>
                    <a:pt x="67" y="16"/>
                    <a:pt x="66" y="18"/>
                  </a:cubicBezTo>
                  <a:cubicBezTo>
                    <a:pt x="66" y="21"/>
                    <a:pt x="68" y="24"/>
                    <a:pt x="68" y="27"/>
                  </a:cubicBezTo>
                  <a:cubicBezTo>
                    <a:pt x="68" y="29"/>
                    <a:pt x="67" y="31"/>
                    <a:pt x="67" y="33"/>
                  </a:cubicBezTo>
                  <a:cubicBezTo>
                    <a:pt x="66" y="36"/>
                    <a:pt x="67" y="40"/>
                    <a:pt x="65" y="43"/>
                  </a:cubicBezTo>
                  <a:cubicBezTo>
                    <a:pt x="63" y="46"/>
                    <a:pt x="59" y="46"/>
                    <a:pt x="57" y="48"/>
                  </a:cubicBezTo>
                  <a:cubicBezTo>
                    <a:pt x="56" y="49"/>
                    <a:pt x="56" y="51"/>
                    <a:pt x="55" y="52"/>
                  </a:cubicBezTo>
                  <a:cubicBezTo>
                    <a:pt x="51" y="56"/>
                    <a:pt x="46" y="59"/>
                    <a:pt x="42" y="62"/>
                  </a:cubicBezTo>
                  <a:cubicBezTo>
                    <a:pt x="33" y="68"/>
                    <a:pt x="24" y="74"/>
                    <a:pt x="16" y="80"/>
                  </a:cubicBezTo>
                  <a:cubicBezTo>
                    <a:pt x="15" y="81"/>
                    <a:pt x="14" y="83"/>
                    <a:pt x="13" y="83"/>
                  </a:cubicBezTo>
                  <a:cubicBezTo>
                    <a:pt x="12" y="83"/>
                    <a:pt x="14" y="80"/>
                    <a:pt x="13" y="80"/>
                  </a:cubicBezTo>
                  <a:cubicBezTo>
                    <a:pt x="9" y="78"/>
                    <a:pt x="4" y="78"/>
                    <a:pt x="0" y="77"/>
                  </a:cubicBezTo>
                  <a:cubicBezTo>
                    <a:pt x="0" y="75"/>
                    <a:pt x="0" y="73"/>
                    <a:pt x="1" y="72"/>
                  </a:cubicBezTo>
                  <a:cubicBezTo>
                    <a:pt x="1" y="70"/>
                    <a:pt x="1" y="67"/>
                    <a:pt x="2" y="65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" name="Freeform 104"/>
            <p:cNvSpPr>
              <a:spLocks noChangeAspect="1"/>
            </p:cNvSpPr>
            <p:nvPr/>
          </p:nvSpPr>
          <p:spPr bwMode="auto">
            <a:xfrm>
              <a:off x="5367338" y="3219450"/>
              <a:ext cx="34925" cy="42863"/>
            </a:xfrm>
            <a:custGeom>
              <a:avLst/>
              <a:gdLst>
                <a:gd name="T0" fmla="*/ 0 w 18"/>
                <a:gd name="T1" fmla="*/ 42863 h 23"/>
                <a:gd name="T2" fmla="*/ 1940 w 18"/>
                <a:gd name="T3" fmla="*/ 27954 h 23"/>
                <a:gd name="T4" fmla="*/ 11642 w 18"/>
                <a:gd name="T5" fmla="*/ 13045 h 23"/>
                <a:gd name="T6" fmla="*/ 17463 w 18"/>
                <a:gd name="T7" fmla="*/ 0 h 23"/>
                <a:gd name="T8" fmla="*/ 27164 w 18"/>
                <a:gd name="T9" fmla="*/ 1864 h 23"/>
                <a:gd name="T10" fmla="*/ 34925 w 18"/>
                <a:gd name="T11" fmla="*/ 14909 h 23"/>
                <a:gd name="T12" fmla="*/ 29104 w 18"/>
                <a:gd name="T13" fmla="*/ 26091 h 23"/>
                <a:gd name="T14" fmla="*/ 19403 w 18"/>
                <a:gd name="T15" fmla="*/ 26091 h 23"/>
                <a:gd name="T16" fmla="*/ 15522 w 18"/>
                <a:gd name="T17" fmla="*/ 39136 h 23"/>
                <a:gd name="T18" fmla="*/ 11642 w 18"/>
                <a:gd name="T19" fmla="*/ 39136 h 23"/>
                <a:gd name="T20" fmla="*/ 5821 w 18"/>
                <a:gd name="T21" fmla="*/ 40999 h 23"/>
                <a:gd name="T22" fmla="*/ 0 w 18"/>
                <a:gd name="T23" fmla="*/ 42863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23"/>
                <a:gd name="T38" fmla="*/ 18 w 18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23">
                  <a:moveTo>
                    <a:pt x="0" y="23"/>
                  </a:moveTo>
                  <a:cubicBezTo>
                    <a:pt x="0" y="21"/>
                    <a:pt x="0" y="18"/>
                    <a:pt x="1" y="15"/>
                  </a:cubicBezTo>
                  <a:cubicBezTo>
                    <a:pt x="2" y="12"/>
                    <a:pt x="4" y="10"/>
                    <a:pt x="6" y="7"/>
                  </a:cubicBezTo>
                  <a:cubicBezTo>
                    <a:pt x="7" y="5"/>
                    <a:pt x="8" y="2"/>
                    <a:pt x="9" y="0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6" y="3"/>
                    <a:pt x="18" y="5"/>
                    <a:pt x="18" y="8"/>
                  </a:cubicBezTo>
                  <a:cubicBezTo>
                    <a:pt x="18" y="10"/>
                    <a:pt x="16" y="12"/>
                    <a:pt x="15" y="14"/>
                  </a:cubicBezTo>
                  <a:cubicBezTo>
                    <a:pt x="13" y="15"/>
                    <a:pt x="11" y="13"/>
                    <a:pt x="10" y="14"/>
                  </a:cubicBezTo>
                  <a:cubicBezTo>
                    <a:pt x="8" y="16"/>
                    <a:pt x="9" y="19"/>
                    <a:pt x="8" y="21"/>
                  </a:cubicBezTo>
                  <a:cubicBezTo>
                    <a:pt x="7" y="22"/>
                    <a:pt x="6" y="21"/>
                    <a:pt x="6" y="21"/>
                  </a:cubicBezTo>
                  <a:cubicBezTo>
                    <a:pt x="5" y="21"/>
                    <a:pt x="4" y="21"/>
                    <a:pt x="3" y="22"/>
                  </a:cubicBezTo>
                  <a:cubicBezTo>
                    <a:pt x="2" y="22"/>
                    <a:pt x="1" y="23"/>
                    <a:pt x="0" y="2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" name="Freeform 105"/>
            <p:cNvSpPr>
              <a:spLocks noChangeAspect="1"/>
            </p:cNvSpPr>
            <p:nvPr/>
          </p:nvSpPr>
          <p:spPr bwMode="auto">
            <a:xfrm>
              <a:off x="5357813" y="3287713"/>
              <a:ext cx="509587" cy="460375"/>
            </a:xfrm>
            <a:custGeom>
              <a:avLst/>
              <a:gdLst>
                <a:gd name="T0" fmla="*/ 395073 w 267"/>
                <a:gd name="T1" fmla="*/ 230188 h 242"/>
                <a:gd name="T2" fmla="*/ 385530 w 267"/>
                <a:gd name="T3" fmla="*/ 209261 h 242"/>
                <a:gd name="T4" fmla="*/ 368353 w 267"/>
                <a:gd name="T5" fmla="*/ 186433 h 242"/>
                <a:gd name="T6" fmla="*/ 370262 w 267"/>
                <a:gd name="T7" fmla="*/ 163604 h 242"/>
                <a:gd name="T8" fmla="*/ 349267 w 267"/>
                <a:gd name="T9" fmla="*/ 144581 h 242"/>
                <a:gd name="T10" fmla="*/ 339725 w 267"/>
                <a:gd name="T11" fmla="*/ 133166 h 242"/>
                <a:gd name="T12" fmla="*/ 309188 w 267"/>
                <a:gd name="T13" fmla="*/ 114143 h 242"/>
                <a:gd name="T14" fmla="*/ 278651 w 267"/>
                <a:gd name="T15" fmla="*/ 93216 h 242"/>
                <a:gd name="T16" fmla="*/ 179405 w 267"/>
                <a:gd name="T17" fmla="*/ 38048 h 242"/>
                <a:gd name="T18" fmla="*/ 141234 w 267"/>
                <a:gd name="T19" fmla="*/ 11414 h 242"/>
                <a:gd name="T20" fmla="*/ 99245 w 267"/>
                <a:gd name="T21" fmla="*/ 9512 h 242"/>
                <a:gd name="T22" fmla="*/ 55348 w 267"/>
                <a:gd name="T23" fmla="*/ 24731 h 242"/>
                <a:gd name="T24" fmla="*/ 68708 w 267"/>
                <a:gd name="T25" fmla="*/ 58974 h 242"/>
                <a:gd name="T26" fmla="*/ 43897 w 267"/>
                <a:gd name="T27" fmla="*/ 74193 h 242"/>
                <a:gd name="T28" fmla="*/ 7634 w 267"/>
                <a:gd name="T29" fmla="*/ 89412 h 242"/>
                <a:gd name="T30" fmla="*/ 1909 w 267"/>
                <a:gd name="T31" fmla="*/ 125557 h 242"/>
                <a:gd name="T32" fmla="*/ 20994 w 267"/>
                <a:gd name="T33" fmla="*/ 125557 h 242"/>
                <a:gd name="T34" fmla="*/ 49623 w 267"/>
                <a:gd name="T35" fmla="*/ 180726 h 242"/>
                <a:gd name="T36" fmla="*/ 70617 w 267"/>
                <a:gd name="T37" fmla="*/ 209261 h 242"/>
                <a:gd name="T38" fmla="*/ 82068 w 267"/>
                <a:gd name="T39" fmla="*/ 235895 h 242"/>
                <a:gd name="T40" fmla="*/ 104971 w 267"/>
                <a:gd name="T41" fmla="*/ 262528 h 242"/>
                <a:gd name="T42" fmla="*/ 112605 w 267"/>
                <a:gd name="T43" fmla="*/ 302478 h 242"/>
                <a:gd name="T44" fmla="*/ 127874 w 267"/>
                <a:gd name="T45" fmla="*/ 344330 h 242"/>
                <a:gd name="T46" fmla="*/ 152685 w 267"/>
                <a:gd name="T47" fmla="*/ 367159 h 242"/>
                <a:gd name="T48" fmla="*/ 169862 w 267"/>
                <a:gd name="T49" fmla="*/ 395694 h 242"/>
                <a:gd name="T50" fmla="*/ 190857 w 267"/>
                <a:gd name="T51" fmla="*/ 437546 h 242"/>
                <a:gd name="T52" fmla="*/ 200399 w 267"/>
                <a:gd name="T53" fmla="*/ 445156 h 242"/>
                <a:gd name="T54" fmla="*/ 215668 w 267"/>
                <a:gd name="T55" fmla="*/ 450863 h 242"/>
                <a:gd name="T56" fmla="*/ 221394 w 267"/>
                <a:gd name="T57" fmla="*/ 429937 h 242"/>
                <a:gd name="T58" fmla="*/ 295828 w 267"/>
                <a:gd name="T59" fmla="*/ 429937 h 242"/>
                <a:gd name="T60" fmla="*/ 322548 w 267"/>
                <a:gd name="T61" fmla="*/ 437546 h 242"/>
                <a:gd name="T62" fmla="*/ 423701 w 267"/>
                <a:gd name="T63" fmla="*/ 384280 h 242"/>
                <a:gd name="T64" fmla="*/ 509587 w 267"/>
                <a:gd name="T65" fmla="*/ 300575 h 242"/>
                <a:gd name="T66" fmla="*/ 490501 w 267"/>
                <a:gd name="T67" fmla="*/ 285356 h 242"/>
                <a:gd name="T68" fmla="*/ 408433 w 267"/>
                <a:gd name="T69" fmla="*/ 247309 h 242"/>
                <a:gd name="T70" fmla="*/ 410342 w 267"/>
                <a:gd name="T71" fmla="*/ 235895 h 242"/>
                <a:gd name="T72" fmla="*/ 408433 w 267"/>
                <a:gd name="T73" fmla="*/ 230188 h 2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67"/>
                <a:gd name="T112" fmla="*/ 0 h 242"/>
                <a:gd name="T113" fmla="*/ 267 w 267"/>
                <a:gd name="T114" fmla="*/ 242 h 2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67" h="242">
                  <a:moveTo>
                    <a:pt x="210" y="119"/>
                  </a:moveTo>
                  <a:cubicBezTo>
                    <a:pt x="209" y="120"/>
                    <a:pt x="208" y="121"/>
                    <a:pt x="207" y="121"/>
                  </a:cubicBezTo>
                  <a:cubicBezTo>
                    <a:pt x="206" y="120"/>
                    <a:pt x="205" y="118"/>
                    <a:pt x="205" y="117"/>
                  </a:cubicBezTo>
                  <a:cubicBezTo>
                    <a:pt x="204" y="115"/>
                    <a:pt x="204" y="112"/>
                    <a:pt x="202" y="110"/>
                  </a:cubicBezTo>
                  <a:cubicBezTo>
                    <a:pt x="201" y="108"/>
                    <a:pt x="199" y="106"/>
                    <a:pt x="197" y="104"/>
                  </a:cubicBezTo>
                  <a:cubicBezTo>
                    <a:pt x="196" y="102"/>
                    <a:pt x="193" y="101"/>
                    <a:pt x="193" y="98"/>
                  </a:cubicBezTo>
                  <a:cubicBezTo>
                    <a:pt x="192" y="96"/>
                    <a:pt x="194" y="94"/>
                    <a:pt x="194" y="92"/>
                  </a:cubicBezTo>
                  <a:cubicBezTo>
                    <a:pt x="195" y="90"/>
                    <a:pt x="195" y="87"/>
                    <a:pt x="194" y="86"/>
                  </a:cubicBezTo>
                  <a:cubicBezTo>
                    <a:pt x="192" y="83"/>
                    <a:pt x="188" y="82"/>
                    <a:pt x="186" y="80"/>
                  </a:cubicBezTo>
                  <a:cubicBezTo>
                    <a:pt x="184" y="79"/>
                    <a:pt x="184" y="77"/>
                    <a:pt x="183" y="76"/>
                  </a:cubicBezTo>
                  <a:cubicBezTo>
                    <a:pt x="182" y="74"/>
                    <a:pt x="179" y="75"/>
                    <a:pt x="178" y="74"/>
                  </a:cubicBezTo>
                  <a:cubicBezTo>
                    <a:pt x="177" y="73"/>
                    <a:pt x="178" y="71"/>
                    <a:pt x="178" y="70"/>
                  </a:cubicBezTo>
                  <a:cubicBezTo>
                    <a:pt x="176" y="67"/>
                    <a:pt x="175" y="63"/>
                    <a:pt x="173" y="60"/>
                  </a:cubicBezTo>
                  <a:cubicBezTo>
                    <a:pt x="169" y="60"/>
                    <a:pt x="165" y="60"/>
                    <a:pt x="162" y="60"/>
                  </a:cubicBezTo>
                  <a:cubicBezTo>
                    <a:pt x="160" y="58"/>
                    <a:pt x="160" y="54"/>
                    <a:pt x="158" y="52"/>
                  </a:cubicBezTo>
                  <a:cubicBezTo>
                    <a:pt x="154" y="51"/>
                    <a:pt x="150" y="50"/>
                    <a:pt x="146" y="49"/>
                  </a:cubicBezTo>
                  <a:cubicBezTo>
                    <a:pt x="139" y="48"/>
                    <a:pt x="131" y="48"/>
                    <a:pt x="124" y="48"/>
                  </a:cubicBezTo>
                  <a:cubicBezTo>
                    <a:pt x="114" y="38"/>
                    <a:pt x="104" y="29"/>
                    <a:pt x="94" y="20"/>
                  </a:cubicBezTo>
                  <a:cubicBezTo>
                    <a:pt x="91" y="18"/>
                    <a:pt x="87" y="16"/>
                    <a:pt x="84" y="14"/>
                  </a:cubicBezTo>
                  <a:cubicBezTo>
                    <a:pt x="80" y="11"/>
                    <a:pt x="77" y="9"/>
                    <a:pt x="74" y="6"/>
                  </a:cubicBezTo>
                  <a:cubicBezTo>
                    <a:pt x="68" y="4"/>
                    <a:pt x="63" y="2"/>
                    <a:pt x="58" y="0"/>
                  </a:cubicBezTo>
                  <a:cubicBezTo>
                    <a:pt x="56" y="1"/>
                    <a:pt x="54" y="4"/>
                    <a:pt x="52" y="5"/>
                  </a:cubicBezTo>
                  <a:cubicBezTo>
                    <a:pt x="45" y="8"/>
                    <a:pt x="38" y="9"/>
                    <a:pt x="29" y="11"/>
                  </a:cubicBezTo>
                  <a:cubicBezTo>
                    <a:pt x="29" y="11"/>
                    <a:pt x="28" y="12"/>
                    <a:pt x="29" y="13"/>
                  </a:cubicBezTo>
                  <a:cubicBezTo>
                    <a:pt x="32" y="19"/>
                    <a:pt x="38" y="23"/>
                    <a:pt x="40" y="29"/>
                  </a:cubicBezTo>
                  <a:cubicBezTo>
                    <a:pt x="41" y="30"/>
                    <a:pt x="37" y="29"/>
                    <a:pt x="36" y="31"/>
                  </a:cubicBezTo>
                  <a:cubicBezTo>
                    <a:pt x="35" y="32"/>
                    <a:pt x="36" y="35"/>
                    <a:pt x="34" y="36"/>
                  </a:cubicBezTo>
                  <a:cubicBezTo>
                    <a:pt x="31" y="37"/>
                    <a:pt x="26" y="37"/>
                    <a:pt x="23" y="39"/>
                  </a:cubicBezTo>
                  <a:cubicBezTo>
                    <a:pt x="21" y="41"/>
                    <a:pt x="20" y="45"/>
                    <a:pt x="18" y="49"/>
                  </a:cubicBezTo>
                  <a:cubicBezTo>
                    <a:pt x="13" y="49"/>
                    <a:pt x="9" y="47"/>
                    <a:pt x="4" y="47"/>
                  </a:cubicBezTo>
                  <a:cubicBezTo>
                    <a:pt x="3" y="50"/>
                    <a:pt x="3" y="55"/>
                    <a:pt x="2" y="58"/>
                  </a:cubicBezTo>
                  <a:cubicBezTo>
                    <a:pt x="1" y="61"/>
                    <a:pt x="0" y="64"/>
                    <a:pt x="1" y="66"/>
                  </a:cubicBezTo>
                  <a:cubicBezTo>
                    <a:pt x="1" y="67"/>
                    <a:pt x="4" y="66"/>
                    <a:pt x="5" y="66"/>
                  </a:cubicBezTo>
                  <a:cubicBezTo>
                    <a:pt x="7" y="66"/>
                    <a:pt x="10" y="65"/>
                    <a:pt x="11" y="66"/>
                  </a:cubicBezTo>
                  <a:cubicBezTo>
                    <a:pt x="15" y="72"/>
                    <a:pt x="16" y="80"/>
                    <a:pt x="19" y="86"/>
                  </a:cubicBezTo>
                  <a:cubicBezTo>
                    <a:pt x="21" y="89"/>
                    <a:pt x="24" y="92"/>
                    <a:pt x="26" y="95"/>
                  </a:cubicBezTo>
                  <a:cubicBezTo>
                    <a:pt x="28" y="98"/>
                    <a:pt x="30" y="100"/>
                    <a:pt x="32" y="103"/>
                  </a:cubicBezTo>
                  <a:cubicBezTo>
                    <a:pt x="34" y="105"/>
                    <a:pt x="37" y="107"/>
                    <a:pt x="37" y="110"/>
                  </a:cubicBezTo>
                  <a:cubicBezTo>
                    <a:pt x="38" y="112"/>
                    <a:pt x="35" y="115"/>
                    <a:pt x="36" y="117"/>
                  </a:cubicBezTo>
                  <a:cubicBezTo>
                    <a:pt x="37" y="120"/>
                    <a:pt x="41" y="123"/>
                    <a:pt x="43" y="124"/>
                  </a:cubicBezTo>
                  <a:cubicBezTo>
                    <a:pt x="46" y="126"/>
                    <a:pt x="48" y="129"/>
                    <a:pt x="51" y="132"/>
                  </a:cubicBezTo>
                  <a:cubicBezTo>
                    <a:pt x="52" y="134"/>
                    <a:pt x="54" y="136"/>
                    <a:pt x="55" y="138"/>
                  </a:cubicBezTo>
                  <a:cubicBezTo>
                    <a:pt x="56" y="142"/>
                    <a:pt x="58" y="146"/>
                    <a:pt x="59" y="151"/>
                  </a:cubicBezTo>
                  <a:cubicBezTo>
                    <a:pt x="59" y="153"/>
                    <a:pt x="59" y="156"/>
                    <a:pt x="59" y="159"/>
                  </a:cubicBezTo>
                  <a:cubicBezTo>
                    <a:pt x="59" y="161"/>
                    <a:pt x="58" y="164"/>
                    <a:pt x="59" y="167"/>
                  </a:cubicBezTo>
                  <a:cubicBezTo>
                    <a:pt x="61" y="172"/>
                    <a:pt x="64" y="177"/>
                    <a:pt x="67" y="181"/>
                  </a:cubicBezTo>
                  <a:cubicBezTo>
                    <a:pt x="69" y="183"/>
                    <a:pt x="72" y="183"/>
                    <a:pt x="74" y="185"/>
                  </a:cubicBezTo>
                  <a:cubicBezTo>
                    <a:pt x="76" y="187"/>
                    <a:pt x="78" y="190"/>
                    <a:pt x="80" y="193"/>
                  </a:cubicBezTo>
                  <a:cubicBezTo>
                    <a:pt x="82" y="195"/>
                    <a:pt x="84" y="198"/>
                    <a:pt x="86" y="200"/>
                  </a:cubicBezTo>
                  <a:cubicBezTo>
                    <a:pt x="87" y="203"/>
                    <a:pt x="88" y="206"/>
                    <a:pt x="89" y="208"/>
                  </a:cubicBezTo>
                  <a:cubicBezTo>
                    <a:pt x="93" y="214"/>
                    <a:pt x="96" y="219"/>
                    <a:pt x="100" y="224"/>
                  </a:cubicBezTo>
                  <a:cubicBezTo>
                    <a:pt x="101" y="226"/>
                    <a:pt x="99" y="228"/>
                    <a:pt x="100" y="230"/>
                  </a:cubicBezTo>
                  <a:cubicBezTo>
                    <a:pt x="101" y="231"/>
                    <a:pt x="102" y="227"/>
                    <a:pt x="103" y="228"/>
                  </a:cubicBezTo>
                  <a:cubicBezTo>
                    <a:pt x="105" y="229"/>
                    <a:pt x="103" y="232"/>
                    <a:pt x="105" y="234"/>
                  </a:cubicBezTo>
                  <a:cubicBezTo>
                    <a:pt x="106" y="237"/>
                    <a:pt x="108" y="240"/>
                    <a:pt x="109" y="242"/>
                  </a:cubicBezTo>
                  <a:cubicBezTo>
                    <a:pt x="111" y="240"/>
                    <a:pt x="112" y="239"/>
                    <a:pt x="113" y="237"/>
                  </a:cubicBezTo>
                  <a:cubicBezTo>
                    <a:pt x="114" y="234"/>
                    <a:pt x="113" y="231"/>
                    <a:pt x="113" y="229"/>
                  </a:cubicBezTo>
                  <a:cubicBezTo>
                    <a:pt x="114" y="227"/>
                    <a:pt x="115" y="226"/>
                    <a:pt x="116" y="226"/>
                  </a:cubicBezTo>
                  <a:cubicBezTo>
                    <a:pt x="118" y="225"/>
                    <a:pt x="119" y="228"/>
                    <a:pt x="120" y="228"/>
                  </a:cubicBezTo>
                  <a:cubicBezTo>
                    <a:pt x="132" y="228"/>
                    <a:pt x="144" y="226"/>
                    <a:pt x="155" y="226"/>
                  </a:cubicBezTo>
                  <a:lnTo>
                    <a:pt x="162" y="231"/>
                  </a:lnTo>
                  <a:cubicBezTo>
                    <a:pt x="164" y="233"/>
                    <a:pt x="167" y="232"/>
                    <a:pt x="169" y="230"/>
                  </a:cubicBezTo>
                  <a:cubicBezTo>
                    <a:pt x="174" y="226"/>
                    <a:pt x="176" y="220"/>
                    <a:pt x="180" y="215"/>
                  </a:cubicBezTo>
                  <a:cubicBezTo>
                    <a:pt x="194" y="211"/>
                    <a:pt x="208" y="206"/>
                    <a:pt x="222" y="202"/>
                  </a:cubicBezTo>
                  <a:lnTo>
                    <a:pt x="261" y="188"/>
                  </a:lnTo>
                  <a:lnTo>
                    <a:pt x="267" y="158"/>
                  </a:lnTo>
                  <a:lnTo>
                    <a:pt x="261" y="146"/>
                  </a:lnTo>
                  <a:lnTo>
                    <a:pt x="257" y="150"/>
                  </a:lnTo>
                  <a:lnTo>
                    <a:pt x="218" y="142"/>
                  </a:lnTo>
                  <a:lnTo>
                    <a:pt x="214" y="130"/>
                  </a:lnTo>
                  <a:lnTo>
                    <a:pt x="217" y="126"/>
                  </a:lnTo>
                  <a:cubicBezTo>
                    <a:pt x="217" y="125"/>
                    <a:pt x="216" y="124"/>
                    <a:pt x="215" y="124"/>
                  </a:cubicBezTo>
                  <a:cubicBezTo>
                    <a:pt x="214" y="124"/>
                    <a:pt x="212" y="127"/>
                    <a:pt x="212" y="126"/>
                  </a:cubicBezTo>
                  <a:cubicBezTo>
                    <a:pt x="211" y="124"/>
                    <a:pt x="214" y="123"/>
                    <a:pt x="214" y="121"/>
                  </a:cubicBezTo>
                  <a:cubicBezTo>
                    <a:pt x="213" y="120"/>
                    <a:pt x="211" y="120"/>
                    <a:pt x="210" y="1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" name="Freeform 106"/>
            <p:cNvSpPr>
              <a:spLocks noChangeAspect="1"/>
            </p:cNvSpPr>
            <p:nvPr/>
          </p:nvSpPr>
          <p:spPr bwMode="auto">
            <a:xfrm>
              <a:off x="5365750" y="3252788"/>
              <a:ext cx="103188" cy="128587"/>
            </a:xfrm>
            <a:custGeom>
              <a:avLst/>
              <a:gdLst>
                <a:gd name="T0" fmla="*/ 0 w 54"/>
                <a:gd name="T1" fmla="*/ 124749 h 67"/>
                <a:gd name="T2" fmla="*/ 0 w 54"/>
                <a:gd name="T3" fmla="*/ 120910 h 67"/>
                <a:gd name="T4" fmla="*/ 0 w 54"/>
                <a:gd name="T5" fmla="*/ 117072 h 67"/>
                <a:gd name="T6" fmla="*/ 0 w 54"/>
                <a:gd name="T7" fmla="*/ 101718 h 67"/>
                <a:gd name="T8" fmla="*/ 3822 w 54"/>
                <a:gd name="T9" fmla="*/ 78688 h 67"/>
                <a:gd name="T10" fmla="*/ 5733 w 54"/>
                <a:gd name="T11" fmla="*/ 67172 h 67"/>
                <a:gd name="T12" fmla="*/ 7644 w 54"/>
                <a:gd name="T13" fmla="*/ 44142 h 67"/>
                <a:gd name="T14" fmla="*/ 9554 w 54"/>
                <a:gd name="T15" fmla="*/ 28788 h 67"/>
                <a:gd name="T16" fmla="*/ 34396 w 54"/>
                <a:gd name="T17" fmla="*/ 34546 h 67"/>
                <a:gd name="T18" fmla="*/ 34396 w 54"/>
                <a:gd name="T19" fmla="*/ 40303 h 67"/>
                <a:gd name="T20" fmla="*/ 40129 w 54"/>
                <a:gd name="T21" fmla="*/ 34546 h 67"/>
                <a:gd name="T22" fmla="*/ 89812 w 54"/>
                <a:gd name="T23" fmla="*/ 0 h 67"/>
                <a:gd name="T24" fmla="*/ 91723 w 54"/>
                <a:gd name="T25" fmla="*/ 7677 h 67"/>
                <a:gd name="T26" fmla="*/ 95544 w 54"/>
                <a:gd name="T27" fmla="*/ 21111 h 67"/>
                <a:gd name="T28" fmla="*/ 91723 w 54"/>
                <a:gd name="T29" fmla="*/ 26869 h 67"/>
                <a:gd name="T30" fmla="*/ 103188 w 54"/>
                <a:gd name="T31" fmla="*/ 34546 h 67"/>
                <a:gd name="T32" fmla="*/ 91723 w 54"/>
                <a:gd name="T33" fmla="*/ 44142 h 67"/>
                <a:gd name="T34" fmla="*/ 47772 w 54"/>
                <a:gd name="T35" fmla="*/ 55657 h 67"/>
                <a:gd name="T36" fmla="*/ 47772 w 54"/>
                <a:gd name="T37" fmla="*/ 59495 h 67"/>
                <a:gd name="T38" fmla="*/ 68792 w 54"/>
                <a:gd name="T39" fmla="*/ 90203 h 67"/>
                <a:gd name="T40" fmla="*/ 61148 w 54"/>
                <a:gd name="T41" fmla="*/ 94041 h 67"/>
                <a:gd name="T42" fmla="*/ 57327 w 54"/>
                <a:gd name="T43" fmla="*/ 103637 h 67"/>
                <a:gd name="T44" fmla="*/ 36307 w 54"/>
                <a:gd name="T45" fmla="*/ 109395 h 67"/>
                <a:gd name="T46" fmla="*/ 26752 w 54"/>
                <a:gd name="T47" fmla="*/ 128587 h 67"/>
                <a:gd name="T48" fmla="*/ 0 w 54"/>
                <a:gd name="T49" fmla="*/ 124749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4"/>
                <a:gd name="T76" fmla="*/ 0 h 67"/>
                <a:gd name="T77" fmla="*/ 54 w 54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4" h="67">
                  <a:moveTo>
                    <a:pt x="0" y="65"/>
                  </a:moveTo>
                  <a:cubicBezTo>
                    <a:pt x="0" y="64"/>
                    <a:pt x="0" y="63"/>
                    <a:pt x="0" y="63"/>
                  </a:cubicBezTo>
                  <a:cubicBezTo>
                    <a:pt x="0" y="62"/>
                    <a:pt x="0" y="62"/>
                    <a:pt x="0" y="61"/>
                  </a:cubicBezTo>
                  <a:cubicBezTo>
                    <a:pt x="0" y="59"/>
                    <a:pt x="0" y="56"/>
                    <a:pt x="0" y="53"/>
                  </a:cubicBezTo>
                  <a:cubicBezTo>
                    <a:pt x="1" y="49"/>
                    <a:pt x="1" y="45"/>
                    <a:pt x="2" y="41"/>
                  </a:cubicBezTo>
                  <a:cubicBezTo>
                    <a:pt x="2" y="39"/>
                    <a:pt x="3" y="37"/>
                    <a:pt x="3" y="35"/>
                  </a:cubicBezTo>
                  <a:cubicBezTo>
                    <a:pt x="3" y="31"/>
                    <a:pt x="3" y="27"/>
                    <a:pt x="4" y="23"/>
                  </a:cubicBezTo>
                  <a:cubicBezTo>
                    <a:pt x="4" y="21"/>
                    <a:pt x="4" y="18"/>
                    <a:pt x="5" y="15"/>
                  </a:cubicBezTo>
                  <a:cubicBezTo>
                    <a:pt x="9" y="16"/>
                    <a:pt x="14" y="16"/>
                    <a:pt x="18" y="18"/>
                  </a:cubicBezTo>
                  <a:cubicBezTo>
                    <a:pt x="19" y="18"/>
                    <a:pt x="17" y="21"/>
                    <a:pt x="18" y="21"/>
                  </a:cubicBezTo>
                  <a:cubicBezTo>
                    <a:pt x="19" y="21"/>
                    <a:pt x="20" y="19"/>
                    <a:pt x="21" y="18"/>
                  </a:cubicBezTo>
                  <a:cubicBezTo>
                    <a:pt x="29" y="12"/>
                    <a:pt x="38" y="6"/>
                    <a:pt x="47" y="0"/>
                  </a:cubicBezTo>
                  <a:cubicBezTo>
                    <a:pt x="47" y="2"/>
                    <a:pt x="47" y="3"/>
                    <a:pt x="48" y="4"/>
                  </a:cubicBezTo>
                  <a:cubicBezTo>
                    <a:pt x="48" y="7"/>
                    <a:pt x="50" y="9"/>
                    <a:pt x="50" y="11"/>
                  </a:cubicBezTo>
                  <a:cubicBezTo>
                    <a:pt x="50" y="13"/>
                    <a:pt x="48" y="13"/>
                    <a:pt x="48" y="14"/>
                  </a:cubicBezTo>
                  <a:cubicBezTo>
                    <a:pt x="50" y="16"/>
                    <a:pt x="52" y="17"/>
                    <a:pt x="54" y="18"/>
                  </a:cubicBezTo>
                  <a:cubicBezTo>
                    <a:pt x="52" y="19"/>
                    <a:pt x="50" y="22"/>
                    <a:pt x="48" y="23"/>
                  </a:cubicBezTo>
                  <a:cubicBezTo>
                    <a:pt x="41" y="26"/>
                    <a:pt x="34" y="27"/>
                    <a:pt x="25" y="29"/>
                  </a:cubicBezTo>
                  <a:cubicBezTo>
                    <a:pt x="25" y="29"/>
                    <a:pt x="24" y="30"/>
                    <a:pt x="25" y="31"/>
                  </a:cubicBezTo>
                  <a:cubicBezTo>
                    <a:pt x="28" y="37"/>
                    <a:pt x="34" y="41"/>
                    <a:pt x="36" y="47"/>
                  </a:cubicBezTo>
                  <a:cubicBezTo>
                    <a:pt x="37" y="48"/>
                    <a:pt x="33" y="47"/>
                    <a:pt x="32" y="49"/>
                  </a:cubicBezTo>
                  <a:cubicBezTo>
                    <a:pt x="31" y="50"/>
                    <a:pt x="32" y="53"/>
                    <a:pt x="30" y="54"/>
                  </a:cubicBezTo>
                  <a:cubicBezTo>
                    <a:pt x="27" y="55"/>
                    <a:pt x="22" y="55"/>
                    <a:pt x="19" y="57"/>
                  </a:cubicBezTo>
                  <a:cubicBezTo>
                    <a:pt x="17" y="59"/>
                    <a:pt x="16" y="63"/>
                    <a:pt x="14" y="67"/>
                  </a:cubicBezTo>
                  <a:cubicBezTo>
                    <a:pt x="9" y="67"/>
                    <a:pt x="5" y="65"/>
                    <a:pt x="0" y="6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" name="Freeform 107"/>
            <p:cNvSpPr>
              <a:spLocks noChangeAspect="1"/>
            </p:cNvSpPr>
            <p:nvPr/>
          </p:nvSpPr>
          <p:spPr bwMode="auto">
            <a:xfrm>
              <a:off x="5299075" y="3319463"/>
              <a:ext cx="66675" cy="101600"/>
            </a:xfrm>
            <a:custGeom>
              <a:avLst/>
              <a:gdLst>
                <a:gd name="T0" fmla="*/ 66675 w 35"/>
                <a:gd name="T1" fmla="*/ 49842 h 53"/>
                <a:gd name="T2" fmla="*/ 59055 w 35"/>
                <a:gd name="T3" fmla="*/ 59426 h 53"/>
                <a:gd name="T4" fmla="*/ 59055 w 35"/>
                <a:gd name="T5" fmla="*/ 74762 h 53"/>
                <a:gd name="T6" fmla="*/ 53340 w 35"/>
                <a:gd name="T7" fmla="*/ 82430 h 53"/>
                <a:gd name="T8" fmla="*/ 55245 w 35"/>
                <a:gd name="T9" fmla="*/ 97766 h 53"/>
                <a:gd name="T10" fmla="*/ 53340 w 35"/>
                <a:gd name="T11" fmla="*/ 101600 h 53"/>
                <a:gd name="T12" fmla="*/ 36195 w 35"/>
                <a:gd name="T13" fmla="*/ 90098 h 53"/>
                <a:gd name="T14" fmla="*/ 32385 w 35"/>
                <a:gd name="T15" fmla="*/ 78596 h 53"/>
                <a:gd name="T16" fmla="*/ 13335 w 35"/>
                <a:gd name="T17" fmla="*/ 55592 h 53"/>
                <a:gd name="T18" fmla="*/ 13335 w 35"/>
                <a:gd name="T19" fmla="*/ 47925 h 53"/>
                <a:gd name="T20" fmla="*/ 7620 w 35"/>
                <a:gd name="T21" fmla="*/ 34506 h 53"/>
                <a:gd name="T22" fmla="*/ 1905 w 35"/>
                <a:gd name="T23" fmla="*/ 19170 h 53"/>
                <a:gd name="T24" fmla="*/ 3810 w 35"/>
                <a:gd name="T25" fmla="*/ 3834 h 53"/>
                <a:gd name="T26" fmla="*/ 17145 w 35"/>
                <a:gd name="T27" fmla="*/ 0 h 53"/>
                <a:gd name="T28" fmla="*/ 32385 w 35"/>
                <a:gd name="T29" fmla="*/ 3834 h 53"/>
                <a:gd name="T30" fmla="*/ 45720 w 35"/>
                <a:gd name="T31" fmla="*/ 1917 h 53"/>
                <a:gd name="T32" fmla="*/ 66675 w 35"/>
                <a:gd name="T33" fmla="*/ 49842 h 5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5"/>
                <a:gd name="T52" fmla="*/ 0 h 53"/>
                <a:gd name="T53" fmla="*/ 35 w 35"/>
                <a:gd name="T54" fmla="*/ 53 h 5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5" h="53">
                  <a:moveTo>
                    <a:pt x="35" y="26"/>
                  </a:moveTo>
                  <a:cubicBezTo>
                    <a:pt x="33" y="27"/>
                    <a:pt x="31" y="29"/>
                    <a:pt x="31" y="31"/>
                  </a:cubicBezTo>
                  <a:cubicBezTo>
                    <a:pt x="30" y="34"/>
                    <a:pt x="32" y="36"/>
                    <a:pt x="31" y="39"/>
                  </a:cubicBezTo>
                  <a:cubicBezTo>
                    <a:pt x="31" y="40"/>
                    <a:pt x="28" y="41"/>
                    <a:pt x="28" y="43"/>
                  </a:cubicBezTo>
                  <a:cubicBezTo>
                    <a:pt x="28" y="46"/>
                    <a:pt x="29" y="48"/>
                    <a:pt x="29" y="51"/>
                  </a:cubicBezTo>
                  <a:cubicBezTo>
                    <a:pt x="29" y="52"/>
                    <a:pt x="29" y="53"/>
                    <a:pt x="28" y="53"/>
                  </a:cubicBezTo>
                  <a:cubicBezTo>
                    <a:pt x="25" y="52"/>
                    <a:pt x="21" y="50"/>
                    <a:pt x="19" y="47"/>
                  </a:cubicBezTo>
                  <a:cubicBezTo>
                    <a:pt x="17" y="46"/>
                    <a:pt x="18" y="43"/>
                    <a:pt x="17" y="41"/>
                  </a:cubicBezTo>
                  <a:cubicBezTo>
                    <a:pt x="14" y="37"/>
                    <a:pt x="10" y="33"/>
                    <a:pt x="7" y="29"/>
                  </a:cubicBezTo>
                  <a:cubicBezTo>
                    <a:pt x="6" y="28"/>
                    <a:pt x="7" y="26"/>
                    <a:pt x="7" y="25"/>
                  </a:cubicBezTo>
                  <a:cubicBezTo>
                    <a:pt x="6" y="23"/>
                    <a:pt x="5" y="20"/>
                    <a:pt x="4" y="18"/>
                  </a:cubicBezTo>
                  <a:cubicBezTo>
                    <a:pt x="3" y="15"/>
                    <a:pt x="1" y="13"/>
                    <a:pt x="1" y="10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4" y="0"/>
                    <a:pt x="7" y="0"/>
                    <a:pt x="9" y="0"/>
                  </a:cubicBezTo>
                  <a:cubicBezTo>
                    <a:pt x="12" y="0"/>
                    <a:pt x="15" y="2"/>
                    <a:pt x="17" y="2"/>
                  </a:cubicBezTo>
                  <a:cubicBezTo>
                    <a:pt x="20" y="2"/>
                    <a:pt x="22" y="1"/>
                    <a:pt x="24" y="1"/>
                  </a:cubicBezTo>
                  <a:lnTo>
                    <a:pt x="35" y="26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" name="Freeform 108"/>
            <p:cNvSpPr>
              <a:spLocks noChangeAspect="1"/>
            </p:cNvSpPr>
            <p:nvPr/>
          </p:nvSpPr>
          <p:spPr bwMode="auto">
            <a:xfrm>
              <a:off x="5781675" y="3505200"/>
              <a:ext cx="187325" cy="233363"/>
            </a:xfrm>
            <a:custGeom>
              <a:avLst/>
              <a:gdLst>
                <a:gd name="T0" fmla="*/ 32495 w 98"/>
                <a:gd name="T1" fmla="*/ 233363 h 123"/>
                <a:gd name="T2" fmla="*/ 49698 w 98"/>
                <a:gd name="T3" fmla="*/ 225774 h 123"/>
                <a:gd name="T4" fmla="*/ 63079 w 98"/>
                <a:gd name="T5" fmla="*/ 221979 h 123"/>
                <a:gd name="T6" fmla="*/ 74548 w 98"/>
                <a:gd name="T7" fmla="*/ 225774 h 123"/>
                <a:gd name="T8" fmla="*/ 86017 w 98"/>
                <a:gd name="T9" fmla="*/ 214390 h 123"/>
                <a:gd name="T10" fmla="*/ 80282 w 98"/>
                <a:gd name="T11" fmla="*/ 206801 h 123"/>
                <a:gd name="T12" fmla="*/ 103220 w 98"/>
                <a:gd name="T13" fmla="*/ 197315 h 123"/>
                <a:gd name="T14" fmla="*/ 112777 w 98"/>
                <a:gd name="T15" fmla="*/ 195418 h 123"/>
                <a:gd name="T16" fmla="*/ 118512 w 98"/>
                <a:gd name="T17" fmla="*/ 178342 h 123"/>
                <a:gd name="T18" fmla="*/ 139538 w 98"/>
                <a:gd name="T19" fmla="*/ 168856 h 123"/>
                <a:gd name="T20" fmla="*/ 139538 w 98"/>
                <a:gd name="T21" fmla="*/ 163164 h 123"/>
                <a:gd name="T22" fmla="*/ 133804 w 98"/>
                <a:gd name="T23" fmla="*/ 149884 h 123"/>
                <a:gd name="T24" fmla="*/ 147184 w 98"/>
                <a:gd name="T25" fmla="*/ 130911 h 123"/>
                <a:gd name="T26" fmla="*/ 149095 w 98"/>
                <a:gd name="T27" fmla="*/ 121425 h 123"/>
                <a:gd name="T28" fmla="*/ 151007 w 98"/>
                <a:gd name="T29" fmla="*/ 129014 h 123"/>
                <a:gd name="T30" fmla="*/ 156741 w 98"/>
                <a:gd name="T31" fmla="*/ 129014 h 123"/>
                <a:gd name="T32" fmla="*/ 162476 w 98"/>
                <a:gd name="T33" fmla="*/ 111938 h 123"/>
                <a:gd name="T34" fmla="*/ 185414 w 98"/>
                <a:gd name="T35" fmla="*/ 73993 h 123"/>
                <a:gd name="T36" fmla="*/ 183502 w 98"/>
                <a:gd name="T37" fmla="*/ 64507 h 123"/>
                <a:gd name="T38" fmla="*/ 166299 w 98"/>
                <a:gd name="T39" fmla="*/ 55021 h 123"/>
                <a:gd name="T40" fmla="*/ 154830 w 98"/>
                <a:gd name="T41" fmla="*/ 32253 h 123"/>
                <a:gd name="T42" fmla="*/ 143361 w 98"/>
                <a:gd name="T43" fmla="*/ 36048 h 123"/>
                <a:gd name="T44" fmla="*/ 118512 w 98"/>
                <a:gd name="T45" fmla="*/ 28459 h 123"/>
                <a:gd name="T46" fmla="*/ 101308 w 98"/>
                <a:gd name="T47" fmla="*/ 3795 h 123"/>
                <a:gd name="T48" fmla="*/ 93663 w 98"/>
                <a:gd name="T49" fmla="*/ 5692 h 123"/>
                <a:gd name="T50" fmla="*/ 89840 w 98"/>
                <a:gd name="T51" fmla="*/ 1897 h 123"/>
                <a:gd name="T52" fmla="*/ 82194 w 98"/>
                <a:gd name="T53" fmla="*/ 11384 h 123"/>
                <a:gd name="T54" fmla="*/ 86017 w 98"/>
                <a:gd name="T55" fmla="*/ 22767 h 123"/>
                <a:gd name="T56" fmla="*/ 76459 w 98"/>
                <a:gd name="T57" fmla="*/ 28459 h 123"/>
                <a:gd name="T58" fmla="*/ 76459 w 98"/>
                <a:gd name="T59" fmla="*/ 37945 h 123"/>
                <a:gd name="T60" fmla="*/ 70725 w 98"/>
                <a:gd name="T61" fmla="*/ 45534 h 123"/>
                <a:gd name="T62" fmla="*/ 74548 w 98"/>
                <a:gd name="T63" fmla="*/ 60712 h 123"/>
                <a:gd name="T64" fmla="*/ 86017 w 98"/>
                <a:gd name="T65" fmla="*/ 83479 h 123"/>
                <a:gd name="T66" fmla="*/ 74548 w 98"/>
                <a:gd name="T67" fmla="*/ 140397 h 123"/>
                <a:gd name="T68" fmla="*/ 0 w 98"/>
                <a:gd name="T69" fmla="*/ 166959 h 123"/>
                <a:gd name="T70" fmla="*/ 32495 w 98"/>
                <a:gd name="T71" fmla="*/ 233363 h 12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8"/>
                <a:gd name="T109" fmla="*/ 0 h 123"/>
                <a:gd name="T110" fmla="*/ 98 w 98"/>
                <a:gd name="T111" fmla="*/ 123 h 12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8" h="123">
                  <a:moveTo>
                    <a:pt x="17" y="123"/>
                  </a:moveTo>
                  <a:cubicBezTo>
                    <a:pt x="20" y="122"/>
                    <a:pt x="23" y="120"/>
                    <a:pt x="26" y="119"/>
                  </a:cubicBezTo>
                  <a:cubicBezTo>
                    <a:pt x="28" y="118"/>
                    <a:pt x="31" y="117"/>
                    <a:pt x="33" y="117"/>
                  </a:cubicBezTo>
                  <a:cubicBezTo>
                    <a:pt x="35" y="117"/>
                    <a:pt x="37" y="119"/>
                    <a:pt x="39" y="119"/>
                  </a:cubicBezTo>
                  <a:cubicBezTo>
                    <a:pt x="42" y="118"/>
                    <a:pt x="44" y="115"/>
                    <a:pt x="45" y="113"/>
                  </a:cubicBezTo>
                  <a:cubicBezTo>
                    <a:pt x="45" y="111"/>
                    <a:pt x="41" y="110"/>
                    <a:pt x="42" y="109"/>
                  </a:cubicBezTo>
                  <a:cubicBezTo>
                    <a:pt x="45" y="106"/>
                    <a:pt x="50" y="105"/>
                    <a:pt x="54" y="104"/>
                  </a:cubicBezTo>
                  <a:cubicBezTo>
                    <a:pt x="56" y="103"/>
                    <a:pt x="58" y="104"/>
                    <a:pt x="59" y="103"/>
                  </a:cubicBezTo>
                  <a:cubicBezTo>
                    <a:pt x="61" y="101"/>
                    <a:pt x="60" y="96"/>
                    <a:pt x="62" y="94"/>
                  </a:cubicBezTo>
                  <a:cubicBezTo>
                    <a:pt x="65" y="91"/>
                    <a:pt x="69" y="92"/>
                    <a:pt x="73" y="89"/>
                  </a:cubicBezTo>
                  <a:cubicBezTo>
                    <a:pt x="73" y="89"/>
                    <a:pt x="73" y="87"/>
                    <a:pt x="73" y="86"/>
                  </a:cubicBezTo>
                  <a:cubicBezTo>
                    <a:pt x="72" y="84"/>
                    <a:pt x="70" y="81"/>
                    <a:pt x="70" y="79"/>
                  </a:cubicBezTo>
                  <a:cubicBezTo>
                    <a:pt x="71" y="75"/>
                    <a:pt x="75" y="72"/>
                    <a:pt x="77" y="69"/>
                  </a:cubicBezTo>
                  <a:cubicBezTo>
                    <a:pt x="77" y="67"/>
                    <a:pt x="77" y="65"/>
                    <a:pt x="78" y="64"/>
                  </a:cubicBezTo>
                  <a:cubicBezTo>
                    <a:pt x="79" y="64"/>
                    <a:pt x="78" y="67"/>
                    <a:pt x="79" y="68"/>
                  </a:cubicBezTo>
                  <a:cubicBezTo>
                    <a:pt x="79" y="69"/>
                    <a:pt x="81" y="69"/>
                    <a:pt x="82" y="68"/>
                  </a:cubicBezTo>
                  <a:cubicBezTo>
                    <a:pt x="84" y="65"/>
                    <a:pt x="84" y="62"/>
                    <a:pt x="85" y="59"/>
                  </a:cubicBezTo>
                  <a:cubicBezTo>
                    <a:pt x="89" y="52"/>
                    <a:pt x="94" y="46"/>
                    <a:pt x="97" y="39"/>
                  </a:cubicBezTo>
                  <a:cubicBezTo>
                    <a:pt x="98" y="37"/>
                    <a:pt x="97" y="35"/>
                    <a:pt x="96" y="34"/>
                  </a:cubicBezTo>
                  <a:cubicBezTo>
                    <a:pt x="94" y="32"/>
                    <a:pt x="90" y="31"/>
                    <a:pt x="87" y="29"/>
                  </a:cubicBezTo>
                  <a:cubicBezTo>
                    <a:pt x="84" y="26"/>
                    <a:pt x="85" y="20"/>
                    <a:pt x="81" y="17"/>
                  </a:cubicBezTo>
                  <a:cubicBezTo>
                    <a:pt x="79" y="16"/>
                    <a:pt x="77" y="19"/>
                    <a:pt x="75" y="19"/>
                  </a:cubicBezTo>
                  <a:cubicBezTo>
                    <a:pt x="71" y="18"/>
                    <a:pt x="66" y="18"/>
                    <a:pt x="62" y="15"/>
                  </a:cubicBezTo>
                  <a:cubicBezTo>
                    <a:pt x="58" y="12"/>
                    <a:pt x="57" y="7"/>
                    <a:pt x="53" y="2"/>
                  </a:cubicBezTo>
                  <a:cubicBezTo>
                    <a:pt x="52" y="2"/>
                    <a:pt x="51" y="3"/>
                    <a:pt x="49" y="3"/>
                  </a:cubicBezTo>
                  <a:cubicBezTo>
                    <a:pt x="48" y="3"/>
                    <a:pt x="48" y="0"/>
                    <a:pt x="47" y="1"/>
                  </a:cubicBezTo>
                  <a:cubicBezTo>
                    <a:pt x="45" y="2"/>
                    <a:pt x="43" y="4"/>
                    <a:pt x="43" y="6"/>
                  </a:cubicBezTo>
                  <a:cubicBezTo>
                    <a:pt x="43" y="8"/>
                    <a:pt x="46" y="10"/>
                    <a:pt x="45" y="12"/>
                  </a:cubicBezTo>
                  <a:cubicBezTo>
                    <a:pt x="44" y="14"/>
                    <a:pt x="41" y="13"/>
                    <a:pt x="40" y="15"/>
                  </a:cubicBezTo>
                  <a:cubicBezTo>
                    <a:pt x="39" y="16"/>
                    <a:pt x="41" y="18"/>
                    <a:pt x="40" y="20"/>
                  </a:cubicBezTo>
                  <a:cubicBezTo>
                    <a:pt x="40" y="21"/>
                    <a:pt x="37" y="23"/>
                    <a:pt x="37" y="24"/>
                  </a:cubicBezTo>
                  <a:cubicBezTo>
                    <a:pt x="37" y="27"/>
                    <a:pt x="38" y="29"/>
                    <a:pt x="39" y="32"/>
                  </a:cubicBezTo>
                  <a:lnTo>
                    <a:pt x="45" y="44"/>
                  </a:lnTo>
                  <a:lnTo>
                    <a:pt x="39" y="74"/>
                  </a:lnTo>
                  <a:lnTo>
                    <a:pt x="0" y="88"/>
                  </a:lnTo>
                  <a:lnTo>
                    <a:pt x="17" y="123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" name="Freeform 109"/>
            <p:cNvSpPr>
              <a:spLocks noChangeAspect="1"/>
            </p:cNvSpPr>
            <p:nvPr/>
          </p:nvSpPr>
          <p:spPr bwMode="auto">
            <a:xfrm>
              <a:off x="5765800" y="3468688"/>
              <a:ext cx="119063" cy="104775"/>
            </a:xfrm>
            <a:custGeom>
              <a:avLst/>
              <a:gdLst>
                <a:gd name="T0" fmla="*/ 107541 w 62"/>
                <a:gd name="T1" fmla="*/ 0 h 55"/>
                <a:gd name="T2" fmla="*/ 99859 w 62"/>
                <a:gd name="T3" fmla="*/ 13335 h 55"/>
                <a:gd name="T4" fmla="*/ 82576 w 62"/>
                <a:gd name="T5" fmla="*/ 34290 h 55"/>
                <a:gd name="T6" fmla="*/ 69133 w 62"/>
                <a:gd name="T7" fmla="*/ 51435 h 55"/>
                <a:gd name="T8" fmla="*/ 48009 w 62"/>
                <a:gd name="T9" fmla="*/ 59055 h 55"/>
                <a:gd name="T10" fmla="*/ 24965 w 62"/>
                <a:gd name="T11" fmla="*/ 57150 h 55"/>
                <a:gd name="T12" fmla="*/ 19204 w 62"/>
                <a:gd name="T13" fmla="*/ 64770 h 55"/>
                <a:gd name="T14" fmla="*/ 9602 w 62"/>
                <a:gd name="T15" fmla="*/ 64770 h 55"/>
                <a:gd name="T16" fmla="*/ 5761 w 62"/>
                <a:gd name="T17" fmla="*/ 59055 h 55"/>
                <a:gd name="T18" fmla="*/ 0 w 62"/>
                <a:gd name="T19" fmla="*/ 66675 h 55"/>
                <a:gd name="T20" fmla="*/ 7681 w 62"/>
                <a:gd name="T21" fmla="*/ 89535 h 55"/>
                <a:gd name="T22" fmla="*/ 82576 w 62"/>
                <a:gd name="T23" fmla="*/ 104775 h 55"/>
                <a:gd name="T24" fmla="*/ 90257 w 62"/>
                <a:gd name="T25" fmla="*/ 97155 h 55"/>
                <a:gd name="T26" fmla="*/ 86417 w 62"/>
                <a:gd name="T27" fmla="*/ 81915 h 55"/>
                <a:gd name="T28" fmla="*/ 92178 w 62"/>
                <a:gd name="T29" fmla="*/ 74295 h 55"/>
                <a:gd name="T30" fmla="*/ 92178 w 62"/>
                <a:gd name="T31" fmla="*/ 64770 h 55"/>
                <a:gd name="T32" fmla="*/ 101780 w 62"/>
                <a:gd name="T33" fmla="*/ 59055 h 55"/>
                <a:gd name="T34" fmla="*/ 97939 w 62"/>
                <a:gd name="T35" fmla="*/ 47625 h 55"/>
                <a:gd name="T36" fmla="*/ 105620 w 62"/>
                <a:gd name="T37" fmla="*/ 38100 h 55"/>
                <a:gd name="T38" fmla="*/ 109461 w 62"/>
                <a:gd name="T39" fmla="*/ 41910 h 55"/>
                <a:gd name="T40" fmla="*/ 117143 w 62"/>
                <a:gd name="T41" fmla="*/ 40005 h 55"/>
                <a:gd name="T42" fmla="*/ 117143 w 62"/>
                <a:gd name="T43" fmla="*/ 28575 h 55"/>
                <a:gd name="T44" fmla="*/ 117143 w 62"/>
                <a:gd name="T45" fmla="*/ 19050 h 55"/>
                <a:gd name="T46" fmla="*/ 113302 w 62"/>
                <a:gd name="T47" fmla="*/ 19050 h 55"/>
                <a:gd name="T48" fmla="*/ 109461 w 62"/>
                <a:gd name="T49" fmla="*/ 20955 h 55"/>
                <a:gd name="T50" fmla="*/ 109461 w 62"/>
                <a:gd name="T51" fmla="*/ 9525 h 55"/>
                <a:gd name="T52" fmla="*/ 107541 w 62"/>
                <a:gd name="T53" fmla="*/ 0 h 5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2"/>
                <a:gd name="T82" fmla="*/ 0 h 55"/>
                <a:gd name="T83" fmla="*/ 62 w 62"/>
                <a:gd name="T84" fmla="*/ 55 h 5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2" h="55">
                  <a:moveTo>
                    <a:pt x="56" y="0"/>
                  </a:moveTo>
                  <a:cubicBezTo>
                    <a:pt x="55" y="2"/>
                    <a:pt x="54" y="5"/>
                    <a:pt x="52" y="7"/>
                  </a:cubicBezTo>
                  <a:cubicBezTo>
                    <a:pt x="49" y="10"/>
                    <a:pt x="46" y="14"/>
                    <a:pt x="43" y="18"/>
                  </a:cubicBezTo>
                  <a:cubicBezTo>
                    <a:pt x="41" y="21"/>
                    <a:pt x="39" y="24"/>
                    <a:pt x="36" y="27"/>
                  </a:cubicBezTo>
                  <a:cubicBezTo>
                    <a:pt x="33" y="29"/>
                    <a:pt x="29" y="30"/>
                    <a:pt x="25" y="31"/>
                  </a:cubicBezTo>
                  <a:cubicBezTo>
                    <a:pt x="21" y="32"/>
                    <a:pt x="17" y="30"/>
                    <a:pt x="13" y="30"/>
                  </a:cubicBezTo>
                  <a:cubicBezTo>
                    <a:pt x="12" y="31"/>
                    <a:pt x="12" y="33"/>
                    <a:pt x="10" y="34"/>
                  </a:cubicBezTo>
                  <a:cubicBezTo>
                    <a:pt x="9" y="35"/>
                    <a:pt x="7" y="34"/>
                    <a:pt x="5" y="34"/>
                  </a:cubicBezTo>
                  <a:cubicBezTo>
                    <a:pt x="4" y="33"/>
                    <a:pt x="4" y="32"/>
                    <a:pt x="3" y="31"/>
                  </a:cubicBezTo>
                  <a:lnTo>
                    <a:pt x="0" y="35"/>
                  </a:lnTo>
                  <a:lnTo>
                    <a:pt x="4" y="47"/>
                  </a:lnTo>
                  <a:lnTo>
                    <a:pt x="43" y="55"/>
                  </a:lnTo>
                  <a:lnTo>
                    <a:pt x="47" y="51"/>
                  </a:lnTo>
                  <a:cubicBezTo>
                    <a:pt x="46" y="48"/>
                    <a:pt x="45" y="46"/>
                    <a:pt x="45" y="43"/>
                  </a:cubicBezTo>
                  <a:cubicBezTo>
                    <a:pt x="45" y="42"/>
                    <a:pt x="48" y="40"/>
                    <a:pt x="48" y="39"/>
                  </a:cubicBezTo>
                  <a:cubicBezTo>
                    <a:pt x="49" y="37"/>
                    <a:pt x="47" y="35"/>
                    <a:pt x="48" y="34"/>
                  </a:cubicBezTo>
                  <a:cubicBezTo>
                    <a:pt x="49" y="32"/>
                    <a:pt x="52" y="33"/>
                    <a:pt x="53" y="31"/>
                  </a:cubicBezTo>
                  <a:cubicBezTo>
                    <a:pt x="54" y="29"/>
                    <a:pt x="51" y="27"/>
                    <a:pt x="51" y="25"/>
                  </a:cubicBezTo>
                  <a:cubicBezTo>
                    <a:pt x="51" y="23"/>
                    <a:pt x="53" y="21"/>
                    <a:pt x="55" y="20"/>
                  </a:cubicBezTo>
                  <a:cubicBezTo>
                    <a:pt x="56" y="19"/>
                    <a:pt x="56" y="22"/>
                    <a:pt x="57" y="22"/>
                  </a:cubicBezTo>
                  <a:cubicBezTo>
                    <a:pt x="59" y="22"/>
                    <a:pt x="60" y="21"/>
                    <a:pt x="61" y="21"/>
                  </a:cubicBezTo>
                  <a:cubicBezTo>
                    <a:pt x="62" y="19"/>
                    <a:pt x="62" y="17"/>
                    <a:pt x="61" y="15"/>
                  </a:cubicBezTo>
                  <a:cubicBezTo>
                    <a:pt x="61" y="14"/>
                    <a:pt x="62" y="12"/>
                    <a:pt x="61" y="10"/>
                  </a:cubicBezTo>
                  <a:cubicBezTo>
                    <a:pt x="61" y="10"/>
                    <a:pt x="60" y="10"/>
                    <a:pt x="59" y="10"/>
                  </a:cubicBezTo>
                  <a:cubicBezTo>
                    <a:pt x="58" y="11"/>
                    <a:pt x="57" y="11"/>
                    <a:pt x="57" y="11"/>
                  </a:cubicBezTo>
                  <a:cubicBezTo>
                    <a:pt x="56" y="9"/>
                    <a:pt x="57" y="7"/>
                    <a:pt x="57" y="5"/>
                  </a:cubicBezTo>
                  <a:cubicBezTo>
                    <a:pt x="57" y="3"/>
                    <a:pt x="57" y="1"/>
                    <a:pt x="56" y="0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" name="Freeform 110"/>
            <p:cNvSpPr>
              <a:spLocks noChangeAspect="1"/>
            </p:cNvSpPr>
            <p:nvPr/>
          </p:nvSpPr>
          <p:spPr bwMode="auto">
            <a:xfrm>
              <a:off x="5637213" y="3352800"/>
              <a:ext cx="50800" cy="49213"/>
            </a:xfrm>
            <a:custGeom>
              <a:avLst/>
              <a:gdLst>
                <a:gd name="T0" fmla="*/ 50800 w 27"/>
                <a:gd name="T1" fmla="*/ 49213 h 26"/>
                <a:gd name="T2" fmla="*/ 43274 w 27"/>
                <a:gd name="T3" fmla="*/ 35963 h 26"/>
                <a:gd name="T4" fmla="*/ 37630 w 27"/>
                <a:gd name="T5" fmla="*/ 30285 h 26"/>
                <a:gd name="T6" fmla="*/ 26341 w 27"/>
                <a:gd name="T7" fmla="*/ 26499 h 26"/>
                <a:gd name="T8" fmla="*/ 35748 w 27"/>
                <a:gd name="T9" fmla="*/ 18928 h 26"/>
                <a:gd name="T10" fmla="*/ 39511 w 27"/>
                <a:gd name="T11" fmla="*/ 15142 h 26"/>
                <a:gd name="T12" fmla="*/ 35748 w 27"/>
                <a:gd name="T13" fmla="*/ 5678 h 26"/>
                <a:gd name="T14" fmla="*/ 33867 w 27"/>
                <a:gd name="T15" fmla="*/ 1893 h 26"/>
                <a:gd name="T16" fmla="*/ 16933 w 27"/>
                <a:gd name="T17" fmla="*/ 3786 h 26"/>
                <a:gd name="T18" fmla="*/ 9407 w 27"/>
                <a:gd name="T19" fmla="*/ 15142 h 26"/>
                <a:gd name="T20" fmla="*/ 0 w 27"/>
                <a:gd name="T21" fmla="*/ 28392 h 26"/>
                <a:gd name="T22" fmla="*/ 22578 w 27"/>
                <a:gd name="T23" fmla="*/ 34071 h 26"/>
                <a:gd name="T24" fmla="*/ 30104 w 27"/>
                <a:gd name="T25" fmla="*/ 49213 h 26"/>
                <a:gd name="T26" fmla="*/ 50800 w 27"/>
                <a:gd name="T27" fmla="*/ 49213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7"/>
                <a:gd name="T43" fmla="*/ 0 h 26"/>
                <a:gd name="T44" fmla="*/ 27 w 27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7" h="26">
                  <a:moveTo>
                    <a:pt x="27" y="26"/>
                  </a:moveTo>
                  <a:cubicBezTo>
                    <a:pt x="26" y="24"/>
                    <a:pt x="24" y="21"/>
                    <a:pt x="23" y="19"/>
                  </a:cubicBezTo>
                  <a:cubicBezTo>
                    <a:pt x="22" y="18"/>
                    <a:pt x="22" y="17"/>
                    <a:pt x="20" y="16"/>
                  </a:cubicBezTo>
                  <a:cubicBezTo>
                    <a:pt x="19" y="15"/>
                    <a:pt x="15" y="16"/>
                    <a:pt x="14" y="14"/>
                  </a:cubicBezTo>
                  <a:cubicBezTo>
                    <a:pt x="14" y="12"/>
                    <a:pt x="17" y="11"/>
                    <a:pt x="19" y="10"/>
                  </a:cubicBezTo>
                  <a:cubicBezTo>
                    <a:pt x="19" y="9"/>
                    <a:pt x="21" y="9"/>
                    <a:pt x="21" y="8"/>
                  </a:cubicBezTo>
                  <a:cubicBezTo>
                    <a:pt x="21" y="6"/>
                    <a:pt x="20" y="5"/>
                    <a:pt x="19" y="3"/>
                  </a:cubicBezTo>
                  <a:cubicBezTo>
                    <a:pt x="19" y="2"/>
                    <a:pt x="18" y="1"/>
                    <a:pt x="18" y="1"/>
                  </a:cubicBezTo>
                  <a:cubicBezTo>
                    <a:pt x="15" y="1"/>
                    <a:pt x="12" y="0"/>
                    <a:pt x="9" y="2"/>
                  </a:cubicBezTo>
                  <a:cubicBezTo>
                    <a:pt x="7" y="3"/>
                    <a:pt x="7" y="6"/>
                    <a:pt x="5" y="8"/>
                  </a:cubicBezTo>
                  <a:cubicBezTo>
                    <a:pt x="4" y="11"/>
                    <a:pt x="1" y="13"/>
                    <a:pt x="0" y="15"/>
                  </a:cubicBezTo>
                  <a:cubicBezTo>
                    <a:pt x="4" y="16"/>
                    <a:pt x="8" y="17"/>
                    <a:pt x="12" y="18"/>
                  </a:cubicBezTo>
                  <a:cubicBezTo>
                    <a:pt x="14" y="20"/>
                    <a:pt x="14" y="24"/>
                    <a:pt x="16" y="26"/>
                  </a:cubicBezTo>
                  <a:cubicBezTo>
                    <a:pt x="19" y="26"/>
                    <a:pt x="23" y="26"/>
                    <a:pt x="27" y="2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" name="Freeform 111"/>
            <p:cNvSpPr>
              <a:spLocks noChangeAspect="1"/>
            </p:cNvSpPr>
            <p:nvPr/>
          </p:nvSpPr>
          <p:spPr bwMode="auto">
            <a:xfrm>
              <a:off x="5456238" y="3132138"/>
              <a:ext cx="233362" cy="249237"/>
            </a:xfrm>
            <a:custGeom>
              <a:avLst/>
              <a:gdLst>
                <a:gd name="T0" fmla="*/ 233362 w 123"/>
                <a:gd name="T1" fmla="*/ 226406 h 131"/>
                <a:gd name="T2" fmla="*/ 220081 w 123"/>
                <a:gd name="T3" fmla="*/ 222601 h 131"/>
                <a:gd name="T4" fmla="*/ 214389 w 123"/>
                <a:gd name="T5" fmla="*/ 222601 h 131"/>
                <a:gd name="T6" fmla="*/ 197314 w 123"/>
                <a:gd name="T7" fmla="*/ 224504 h 131"/>
                <a:gd name="T8" fmla="*/ 189725 w 123"/>
                <a:gd name="T9" fmla="*/ 235919 h 131"/>
                <a:gd name="T10" fmla="*/ 180239 w 123"/>
                <a:gd name="T11" fmla="*/ 249237 h 131"/>
                <a:gd name="T12" fmla="*/ 138499 w 123"/>
                <a:gd name="T13" fmla="*/ 247334 h 131"/>
                <a:gd name="T14" fmla="*/ 81582 w 123"/>
                <a:gd name="T15" fmla="*/ 194062 h 131"/>
                <a:gd name="T16" fmla="*/ 62609 w 123"/>
                <a:gd name="T17" fmla="*/ 182647 h 131"/>
                <a:gd name="T18" fmla="*/ 43637 w 123"/>
                <a:gd name="T19" fmla="*/ 167426 h 131"/>
                <a:gd name="T20" fmla="*/ 13281 w 123"/>
                <a:gd name="T21" fmla="*/ 156011 h 131"/>
                <a:gd name="T22" fmla="*/ 1897 w 123"/>
                <a:gd name="T23" fmla="*/ 148401 h 131"/>
                <a:gd name="T24" fmla="*/ 5692 w 123"/>
                <a:gd name="T25" fmla="*/ 142693 h 131"/>
                <a:gd name="T26" fmla="*/ 1897 w 123"/>
                <a:gd name="T27" fmla="*/ 129375 h 131"/>
                <a:gd name="T28" fmla="*/ 0 w 123"/>
                <a:gd name="T29" fmla="*/ 121765 h 131"/>
                <a:gd name="T30" fmla="*/ 24664 w 123"/>
                <a:gd name="T31" fmla="*/ 102739 h 131"/>
                <a:gd name="T32" fmla="*/ 28459 w 123"/>
                <a:gd name="T33" fmla="*/ 95129 h 131"/>
                <a:gd name="T34" fmla="*/ 43637 w 123"/>
                <a:gd name="T35" fmla="*/ 85616 h 131"/>
                <a:gd name="T36" fmla="*/ 47431 w 123"/>
                <a:gd name="T37" fmla="*/ 66590 h 131"/>
                <a:gd name="T38" fmla="*/ 49329 w 123"/>
                <a:gd name="T39" fmla="*/ 55175 h 131"/>
                <a:gd name="T40" fmla="*/ 45534 w 123"/>
                <a:gd name="T41" fmla="*/ 38051 h 131"/>
                <a:gd name="T42" fmla="*/ 51226 w 123"/>
                <a:gd name="T43" fmla="*/ 28539 h 131"/>
                <a:gd name="T44" fmla="*/ 64507 w 123"/>
                <a:gd name="T45" fmla="*/ 20928 h 131"/>
                <a:gd name="T46" fmla="*/ 72096 w 123"/>
                <a:gd name="T47" fmla="*/ 7610 h 131"/>
                <a:gd name="T48" fmla="*/ 81582 w 123"/>
                <a:gd name="T49" fmla="*/ 0 h 131"/>
                <a:gd name="T50" fmla="*/ 94863 w 123"/>
                <a:gd name="T51" fmla="*/ 5708 h 131"/>
                <a:gd name="T52" fmla="*/ 104349 w 123"/>
                <a:gd name="T53" fmla="*/ 9513 h 131"/>
                <a:gd name="T54" fmla="*/ 111938 w 123"/>
                <a:gd name="T55" fmla="*/ 3805 h 131"/>
                <a:gd name="T56" fmla="*/ 115732 w 123"/>
                <a:gd name="T57" fmla="*/ 13318 h 131"/>
                <a:gd name="T58" fmla="*/ 125219 w 123"/>
                <a:gd name="T59" fmla="*/ 9513 h 131"/>
                <a:gd name="T60" fmla="*/ 130910 w 123"/>
                <a:gd name="T61" fmla="*/ 20928 h 131"/>
                <a:gd name="T62" fmla="*/ 136602 w 123"/>
                <a:gd name="T63" fmla="*/ 28539 h 131"/>
                <a:gd name="T64" fmla="*/ 147986 w 123"/>
                <a:gd name="T65" fmla="*/ 43759 h 131"/>
                <a:gd name="T66" fmla="*/ 151780 w 123"/>
                <a:gd name="T67" fmla="*/ 43759 h 131"/>
                <a:gd name="T68" fmla="*/ 157472 w 123"/>
                <a:gd name="T69" fmla="*/ 47564 h 131"/>
                <a:gd name="T70" fmla="*/ 163164 w 123"/>
                <a:gd name="T71" fmla="*/ 47564 h 131"/>
                <a:gd name="T72" fmla="*/ 161266 w 123"/>
                <a:gd name="T73" fmla="*/ 57077 h 131"/>
                <a:gd name="T74" fmla="*/ 163164 w 123"/>
                <a:gd name="T75" fmla="*/ 72298 h 131"/>
                <a:gd name="T76" fmla="*/ 155575 w 123"/>
                <a:gd name="T77" fmla="*/ 74200 h 131"/>
                <a:gd name="T78" fmla="*/ 151780 w 123"/>
                <a:gd name="T79" fmla="*/ 91323 h 131"/>
                <a:gd name="T80" fmla="*/ 151780 w 123"/>
                <a:gd name="T81" fmla="*/ 106544 h 131"/>
                <a:gd name="T82" fmla="*/ 168855 w 123"/>
                <a:gd name="T83" fmla="*/ 129375 h 131"/>
                <a:gd name="T84" fmla="*/ 168855 w 123"/>
                <a:gd name="T85" fmla="*/ 135083 h 131"/>
                <a:gd name="T86" fmla="*/ 199211 w 123"/>
                <a:gd name="T87" fmla="*/ 157914 h 131"/>
                <a:gd name="T88" fmla="*/ 210595 w 123"/>
                <a:gd name="T89" fmla="*/ 178842 h 131"/>
                <a:gd name="T90" fmla="*/ 210595 w 123"/>
                <a:gd name="T91" fmla="*/ 194062 h 131"/>
                <a:gd name="T92" fmla="*/ 216287 w 123"/>
                <a:gd name="T93" fmla="*/ 199770 h 131"/>
                <a:gd name="T94" fmla="*/ 216287 w 123"/>
                <a:gd name="T95" fmla="*/ 211186 h 131"/>
                <a:gd name="T96" fmla="*/ 233362 w 123"/>
                <a:gd name="T97" fmla="*/ 226406 h 13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23"/>
                <a:gd name="T148" fmla="*/ 0 h 131"/>
                <a:gd name="T149" fmla="*/ 123 w 123"/>
                <a:gd name="T150" fmla="*/ 131 h 13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23" h="131">
                  <a:moveTo>
                    <a:pt x="123" y="119"/>
                  </a:moveTo>
                  <a:cubicBezTo>
                    <a:pt x="121" y="118"/>
                    <a:pt x="119" y="118"/>
                    <a:pt x="116" y="117"/>
                  </a:cubicBezTo>
                  <a:cubicBezTo>
                    <a:pt x="115" y="117"/>
                    <a:pt x="114" y="117"/>
                    <a:pt x="113" y="117"/>
                  </a:cubicBezTo>
                  <a:cubicBezTo>
                    <a:pt x="110" y="117"/>
                    <a:pt x="107" y="116"/>
                    <a:pt x="104" y="118"/>
                  </a:cubicBezTo>
                  <a:cubicBezTo>
                    <a:pt x="102" y="119"/>
                    <a:pt x="102" y="122"/>
                    <a:pt x="100" y="124"/>
                  </a:cubicBezTo>
                  <a:cubicBezTo>
                    <a:pt x="99" y="127"/>
                    <a:pt x="96" y="129"/>
                    <a:pt x="95" y="131"/>
                  </a:cubicBezTo>
                  <a:cubicBezTo>
                    <a:pt x="88" y="130"/>
                    <a:pt x="80" y="130"/>
                    <a:pt x="73" y="130"/>
                  </a:cubicBezTo>
                  <a:cubicBezTo>
                    <a:pt x="63" y="120"/>
                    <a:pt x="53" y="111"/>
                    <a:pt x="43" y="102"/>
                  </a:cubicBezTo>
                  <a:cubicBezTo>
                    <a:pt x="40" y="100"/>
                    <a:pt x="36" y="98"/>
                    <a:pt x="33" y="96"/>
                  </a:cubicBezTo>
                  <a:cubicBezTo>
                    <a:pt x="29" y="93"/>
                    <a:pt x="26" y="91"/>
                    <a:pt x="23" y="88"/>
                  </a:cubicBezTo>
                  <a:cubicBezTo>
                    <a:pt x="17" y="86"/>
                    <a:pt x="12" y="84"/>
                    <a:pt x="7" y="82"/>
                  </a:cubicBezTo>
                  <a:cubicBezTo>
                    <a:pt x="5" y="81"/>
                    <a:pt x="3" y="80"/>
                    <a:pt x="1" y="78"/>
                  </a:cubicBezTo>
                  <a:cubicBezTo>
                    <a:pt x="1" y="77"/>
                    <a:pt x="3" y="77"/>
                    <a:pt x="3" y="75"/>
                  </a:cubicBezTo>
                  <a:cubicBezTo>
                    <a:pt x="3" y="73"/>
                    <a:pt x="1" y="71"/>
                    <a:pt x="1" y="68"/>
                  </a:cubicBezTo>
                  <a:cubicBezTo>
                    <a:pt x="0" y="67"/>
                    <a:pt x="0" y="66"/>
                    <a:pt x="0" y="64"/>
                  </a:cubicBezTo>
                  <a:cubicBezTo>
                    <a:pt x="4" y="61"/>
                    <a:pt x="9" y="58"/>
                    <a:pt x="13" y="54"/>
                  </a:cubicBezTo>
                  <a:cubicBezTo>
                    <a:pt x="14" y="53"/>
                    <a:pt x="14" y="51"/>
                    <a:pt x="15" y="50"/>
                  </a:cubicBezTo>
                  <a:cubicBezTo>
                    <a:pt x="17" y="48"/>
                    <a:pt x="21" y="48"/>
                    <a:pt x="23" y="45"/>
                  </a:cubicBezTo>
                  <a:cubicBezTo>
                    <a:pt x="25" y="42"/>
                    <a:pt x="24" y="38"/>
                    <a:pt x="25" y="35"/>
                  </a:cubicBezTo>
                  <a:cubicBezTo>
                    <a:pt x="25" y="33"/>
                    <a:pt x="26" y="31"/>
                    <a:pt x="26" y="29"/>
                  </a:cubicBezTo>
                  <a:cubicBezTo>
                    <a:pt x="26" y="26"/>
                    <a:pt x="24" y="23"/>
                    <a:pt x="24" y="20"/>
                  </a:cubicBezTo>
                  <a:cubicBezTo>
                    <a:pt x="25" y="18"/>
                    <a:pt x="26" y="16"/>
                    <a:pt x="27" y="15"/>
                  </a:cubicBezTo>
                  <a:cubicBezTo>
                    <a:pt x="29" y="13"/>
                    <a:pt x="32" y="13"/>
                    <a:pt x="34" y="11"/>
                  </a:cubicBezTo>
                  <a:cubicBezTo>
                    <a:pt x="36" y="10"/>
                    <a:pt x="37" y="6"/>
                    <a:pt x="38" y="4"/>
                  </a:cubicBezTo>
                  <a:cubicBezTo>
                    <a:pt x="40" y="3"/>
                    <a:pt x="40" y="1"/>
                    <a:pt x="43" y="0"/>
                  </a:cubicBezTo>
                  <a:cubicBezTo>
                    <a:pt x="45" y="0"/>
                    <a:pt x="47" y="2"/>
                    <a:pt x="50" y="3"/>
                  </a:cubicBezTo>
                  <a:cubicBezTo>
                    <a:pt x="52" y="3"/>
                    <a:pt x="53" y="5"/>
                    <a:pt x="55" y="5"/>
                  </a:cubicBezTo>
                  <a:cubicBezTo>
                    <a:pt x="57" y="5"/>
                    <a:pt x="58" y="1"/>
                    <a:pt x="59" y="2"/>
                  </a:cubicBezTo>
                  <a:cubicBezTo>
                    <a:pt x="61" y="3"/>
                    <a:pt x="59" y="7"/>
                    <a:pt x="61" y="7"/>
                  </a:cubicBezTo>
                  <a:cubicBezTo>
                    <a:pt x="63" y="8"/>
                    <a:pt x="64" y="6"/>
                    <a:pt x="66" y="5"/>
                  </a:cubicBezTo>
                  <a:cubicBezTo>
                    <a:pt x="67" y="7"/>
                    <a:pt x="68" y="9"/>
                    <a:pt x="69" y="11"/>
                  </a:cubicBezTo>
                  <a:cubicBezTo>
                    <a:pt x="70" y="12"/>
                    <a:pt x="71" y="14"/>
                    <a:pt x="72" y="15"/>
                  </a:cubicBezTo>
                  <a:cubicBezTo>
                    <a:pt x="74" y="18"/>
                    <a:pt x="76" y="21"/>
                    <a:pt x="78" y="23"/>
                  </a:cubicBezTo>
                  <a:cubicBezTo>
                    <a:pt x="78" y="24"/>
                    <a:pt x="79" y="23"/>
                    <a:pt x="80" y="23"/>
                  </a:cubicBezTo>
                  <a:cubicBezTo>
                    <a:pt x="81" y="24"/>
                    <a:pt x="82" y="25"/>
                    <a:pt x="83" y="25"/>
                  </a:cubicBezTo>
                  <a:cubicBezTo>
                    <a:pt x="84" y="25"/>
                    <a:pt x="86" y="24"/>
                    <a:pt x="86" y="25"/>
                  </a:cubicBezTo>
                  <a:cubicBezTo>
                    <a:pt x="87" y="27"/>
                    <a:pt x="85" y="29"/>
                    <a:pt x="85" y="30"/>
                  </a:cubicBezTo>
                  <a:cubicBezTo>
                    <a:pt x="84" y="33"/>
                    <a:pt x="86" y="35"/>
                    <a:pt x="86" y="38"/>
                  </a:cubicBezTo>
                  <a:cubicBezTo>
                    <a:pt x="85" y="39"/>
                    <a:pt x="83" y="38"/>
                    <a:pt x="82" y="39"/>
                  </a:cubicBezTo>
                  <a:cubicBezTo>
                    <a:pt x="80" y="42"/>
                    <a:pt x="80" y="45"/>
                    <a:pt x="80" y="48"/>
                  </a:cubicBezTo>
                  <a:cubicBezTo>
                    <a:pt x="80" y="51"/>
                    <a:pt x="79" y="54"/>
                    <a:pt x="80" y="56"/>
                  </a:cubicBezTo>
                  <a:cubicBezTo>
                    <a:pt x="82" y="61"/>
                    <a:pt x="86" y="64"/>
                    <a:pt x="89" y="68"/>
                  </a:cubicBezTo>
                  <a:cubicBezTo>
                    <a:pt x="89" y="69"/>
                    <a:pt x="88" y="70"/>
                    <a:pt x="89" y="71"/>
                  </a:cubicBezTo>
                  <a:cubicBezTo>
                    <a:pt x="94" y="75"/>
                    <a:pt x="100" y="78"/>
                    <a:pt x="105" y="83"/>
                  </a:cubicBezTo>
                  <a:cubicBezTo>
                    <a:pt x="108" y="87"/>
                    <a:pt x="110" y="90"/>
                    <a:pt x="111" y="94"/>
                  </a:cubicBezTo>
                  <a:cubicBezTo>
                    <a:pt x="112" y="97"/>
                    <a:pt x="111" y="100"/>
                    <a:pt x="111" y="102"/>
                  </a:cubicBezTo>
                  <a:cubicBezTo>
                    <a:pt x="112" y="104"/>
                    <a:pt x="114" y="103"/>
                    <a:pt x="114" y="105"/>
                  </a:cubicBezTo>
                  <a:cubicBezTo>
                    <a:pt x="115" y="107"/>
                    <a:pt x="113" y="109"/>
                    <a:pt x="114" y="111"/>
                  </a:cubicBezTo>
                  <a:cubicBezTo>
                    <a:pt x="117" y="114"/>
                    <a:pt x="120" y="116"/>
                    <a:pt x="123" y="119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" name="Freeform 112"/>
            <p:cNvSpPr>
              <a:spLocks noChangeAspect="1"/>
            </p:cNvSpPr>
            <p:nvPr/>
          </p:nvSpPr>
          <p:spPr bwMode="auto">
            <a:xfrm>
              <a:off x="5561013" y="3057524"/>
              <a:ext cx="477837" cy="442913"/>
            </a:xfrm>
            <a:custGeom>
              <a:avLst/>
              <a:gdLst>
                <a:gd name="T0" fmla="*/ 20941 w 251"/>
                <a:gd name="T1" fmla="*/ 72235 h 233"/>
                <a:gd name="T2" fmla="*/ 9519 w 251"/>
                <a:gd name="T3" fmla="*/ 51325 h 233"/>
                <a:gd name="T4" fmla="*/ 1904 w 251"/>
                <a:gd name="T5" fmla="*/ 15207 h 233"/>
                <a:gd name="T6" fmla="*/ 22845 w 251"/>
                <a:gd name="T7" fmla="*/ 9505 h 233"/>
                <a:gd name="T8" fmla="*/ 38075 w 251"/>
                <a:gd name="T9" fmla="*/ 19009 h 233"/>
                <a:gd name="T10" fmla="*/ 53305 w 251"/>
                <a:gd name="T11" fmla="*/ 32316 h 233"/>
                <a:gd name="T12" fmla="*/ 60919 w 251"/>
                <a:gd name="T13" fmla="*/ 28514 h 233"/>
                <a:gd name="T14" fmla="*/ 70438 w 251"/>
                <a:gd name="T15" fmla="*/ 20910 h 233"/>
                <a:gd name="T16" fmla="*/ 100898 w 251"/>
                <a:gd name="T17" fmla="*/ 11405 h 233"/>
                <a:gd name="T18" fmla="*/ 102802 w 251"/>
                <a:gd name="T19" fmla="*/ 28514 h 233"/>
                <a:gd name="T20" fmla="*/ 108513 w 251"/>
                <a:gd name="T21" fmla="*/ 41820 h 233"/>
                <a:gd name="T22" fmla="*/ 118031 w 251"/>
                <a:gd name="T23" fmla="*/ 64631 h 233"/>
                <a:gd name="T24" fmla="*/ 152299 w 251"/>
                <a:gd name="T25" fmla="*/ 81739 h 233"/>
                <a:gd name="T26" fmla="*/ 201796 w 251"/>
                <a:gd name="T27" fmla="*/ 98848 h 233"/>
                <a:gd name="T28" fmla="*/ 241774 w 251"/>
                <a:gd name="T29" fmla="*/ 93145 h 233"/>
                <a:gd name="T30" fmla="*/ 237967 w 251"/>
                <a:gd name="T31" fmla="*/ 77937 h 233"/>
                <a:gd name="T32" fmla="*/ 262715 w 251"/>
                <a:gd name="T33" fmla="*/ 60829 h 233"/>
                <a:gd name="T34" fmla="*/ 295079 w 251"/>
                <a:gd name="T35" fmla="*/ 49424 h 233"/>
                <a:gd name="T36" fmla="*/ 312212 w 251"/>
                <a:gd name="T37" fmla="*/ 58928 h 233"/>
                <a:gd name="T38" fmla="*/ 348383 w 251"/>
                <a:gd name="T39" fmla="*/ 70334 h 233"/>
                <a:gd name="T40" fmla="*/ 359806 w 251"/>
                <a:gd name="T41" fmla="*/ 83640 h 233"/>
                <a:gd name="T42" fmla="*/ 382650 w 251"/>
                <a:gd name="T43" fmla="*/ 95046 h 233"/>
                <a:gd name="T44" fmla="*/ 409303 w 251"/>
                <a:gd name="T45" fmla="*/ 110253 h 233"/>
                <a:gd name="T46" fmla="*/ 415014 w 251"/>
                <a:gd name="T47" fmla="*/ 133064 h 233"/>
                <a:gd name="T48" fmla="*/ 401688 w 251"/>
                <a:gd name="T49" fmla="*/ 159677 h 233"/>
                <a:gd name="T50" fmla="*/ 399784 w 251"/>
                <a:gd name="T51" fmla="*/ 165380 h 233"/>
                <a:gd name="T52" fmla="*/ 403591 w 251"/>
                <a:gd name="T53" fmla="*/ 193893 h 233"/>
                <a:gd name="T54" fmla="*/ 403591 w 251"/>
                <a:gd name="T55" fmla="*/ 212902 h 233"/>
                <a:gd name="T56" fmla="*/ 413110 w 251"/>
                <a:gd name="T57" fmla="*/ 252822 h 233"/>
                <a:gd name="T58" fmla="*/ 432147 w 251"/>
                <a:gd name="T59" fmla="*/ 268029 h 233"/>
                <a:gd name="T60" fmla="*/ 415014 w 251"/>
                <a:gd name="T61" fmla="*/ 298444 h 233"/>
                <a:gd name="T62" fmla="*/ 434051 w 251"/>
                <a:gd name="T63" fmla="*/ 330759 h 233"/>
                <a:gd name="T64" fmla="*/ 453088 w 251"/>
                <a:gd name="T65" fmla="*/ 342165 h 233"/>
                <a:gd name="T66" fmla="*/ 464511 w 251"/>
                <a:gd name="T67" fmla="*/ 376381 h 233"/>
                <a:gd name="T68" fmla="*/ 474030 w 251"/>
                <a:gd name="T69" fmla="*/ 391588 h 233"/>
                <a:gd name="T70" fmla="*/ 460703 w 251"/>
                <a:gd name="T71" fmla="*/ 399192 h 233"/>
                <a:gd name="T72" fmla="*/ 443570 w 251"/>
                <a:gd name="T73" fmla="*/ 422003 h 233"/>
                <a:gd name="T74" fmla="*/ 439762 w 251"/>
                <a:gd name="T75" fmla="*/ 442913 h 233"/>
                <a:gd name="T76" fmla="*/ 409303 w 251"/>
                <a:gd name="T77" fmla="*/ 435309 h 233"/>
                <a:gd name="T78" fmla="*/ 371228 w 251"/>
                <a:gd name="T79" fmla="*/ 429607 h 233"/>
                <a:gd name="T80" fmla="*/ 336961 w 251"/>
                <a:gd name="T81" fmla="*/ 412498 h 233"/>
                <a:gd name="T82" fmla="*/ 314116 w 251"/>
                <a:gd name="T83" fmla="*/ 380183 h 233"/>
                <a:gd name="T84" fmla="*/ 281753 w 251"/>
                <a:gd name="T85" fmla="*/ 397291 h 233"/>
                <a:gd name="T86" fmla="*/ 251293 w 251"/>
                <a:gd name="T87" fmla="*/ 391588 h 233"/>
                <a:gd name="T88" fmla="*/ 236063 w 251"/>
                <a:gd name="T89" fmla="*/ 380183 h 233"/>
                <a:gd name="T90" fmla="*/ 226544 w 251"/>
                <a:gd name="T91" fmla="*/ 368777 h 233"/>
                <a:gd name="T92" fmla="*/ 203699 w 251"/>
                <a:gd name="T93" fmla="*/ 363075 h 233"/>
                <a:gd name="T94" fmla="*/ 184662 w 251"/>
                <a:gd name="T95" fmla="*/ 325056 h 233"/>
                <a:gd name="T96" fmla="*/ 177047 w 251"/>
                <a:gd name="T97" fmla="*/ 315552 h 233"/>
                <a:gd name="T98" fmla="*/ 148491 w 251"/>
                <a:gd name="T99" fmla="*/ 296543 h 233"/>
                <a:gd name="T100" fmla="*/ 138973 w 251"/>
                <a:gd name="T101" fmla="*/ 294642 h 233"/>
                <a:gd name="T102" fmla="*/ 135165 w 251"/>
                <a:gd name="T103" fmla="*/ 298444 h 233"/>
                <a:gd name="T104" fmla="*/ 112320 w 251"/>
                <a:gd name="T105" fmla="*/ 285137 h 233"/>
                <a:gd name="T106" fmla="*/ 106609 w 251"/>
                <a:gd name="T107" fmla="*/ 268029 h 233"/>
                <a:gd name="T108" fmla="*/ 95187 w 251"/>
                <a:gd name="T109" fmla="*/ 231912 h 233"/>
                <a:gd name="T110" fmla="*/ 64727 w 251"/>
                <a:gd name="T111" fmla="*/ 203398 h 233"/>
                <a:gd name="T112" fmla="*/ 47593 w 251"/>
                <a:gd name="T113" fmla="*/ 165380 h 233"/>
                <a:gd name="T114" fmla="*/ 59016 w 251"/>
                <a:gd name="T115" fmla="*/ 146370 h 233"/>
                <a:gd name="T116" fmla="*/ 59016 w 251"/>
                <a:gd name="T117" fmla="*/ 121659 h 233"/>
                <a:gd name="T118" fmla="*/ 47593 w 251"/>
                <a:gd name="T119" fmla="*/ 117857 h 233"/>
                <a:gd name="T120" fmla="*/ 32363 w 251"/>
                <a:gd name="T121" fmla="*/ 102649 h 233"/>
                <a:gd name="T122" fmla="*/ 20941 w 251"/>
                <a:gd name="T123" fmla="*/ 83640 h 23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"/>
                <a:gd name="T187" fmla="*/ 0 h 233"/>
                <a:gd name="T188" fmla="*/ 251 w 251"/>
                <a:gd name="T189" fmla="*/ 233 h 23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" h="233">
                  <a:moveTo>
                    <a:pt x="11" y="44"/>
                  </a:moveTo>
                  <a:cubicBezTo>
                    <a:pt x="11" y="42"/>
                    <a:pt x="12" y="40"/>
                    <a:pt x="11" y="38"/>
                  </a:cubicBezTo>
                  <a:cubicBezTo>
                    <a:pt x="10" y="36"/>
                    <a:pt x="6" y="36"/>
                    <a:pt x="5" y="34"/>
                  </a:cubicBezTo>
                  <a:cubicBezTo>
                    <a:pt x="4" y="32"/>
                    <a:pt x="5" y="29"/>
                    <a:pt x="5" y="27"/>
                  </a:cubicBezTo>
                  <a:cubicBezTo>
                    <a:pt x="5" y="24"/>
                    <a:pt x="7" y="22"/>
                    <a:pt x="6" y="20"/>
                  </a:cubicBezTo>
                  <a:cubicBezTo>
                    <a:pt x="5" y="16"/>
                    <a:pt x="0" y="12"/>
                    <a:pt x="1" y="8"/>
                  </a:cubicBezTo>
                  <a:cubicBezTo>
                    <a:pt x="2" y="5"/>
                    <a:pt x="7" y="4"/>
                    <a:pt x="10" y="2"/>
                  </a:cubicBezTo>
                  <a:cubicBezTo>
                    <a:pt x="11" y="3"/>
                    <a:pt x="11" y="4"/>
                    <a:pt x="12" y="5"/>
                  </a:cubicBezTo>
                  <a:cubicBezTo>
                    <a:pt x="13" y="7"/>
                    <a:pt x="15" y="9"/>
                    <a:pt x="17" y="10"/>
                  </a:cubicBezTo>
                  <a:cubicBezTo>
                    <a:pt x="18" y="11"/>
                    <a:pt x="20" y="9"/>
                    <a:pt x="20" y="10"/>
                  </a:cubicBezTo>
                  <a:cubicBezTo>
                    <a:pt x="22" y="11"/>
                    <a:pt x="19" y="14"/>
                    <a:pt x="20" y="15"/>
                  </a:cubicBezTo>
                  <a:cubicBezTo>
                    <a:pt x="22" y="17"/>
                    <a:pt x="26" y="16"/>
                    <a:pt x="28" y="17"/>
                  </a:cubicBezTo>
                  <a:cubicBezTo>
                    <a:pt x="29" y="16"/>
                    <a:pt x="29" y="16"/>
                    <a:pt x="30" y="16"/>
                  </a:cubicBezTo>
                  <a:cubicBezTo>
                    <a:pt x="31" y="16"/>
                    <a:pt x="31" y="16"/>
                    <a:pt x="32" y="15"/>
                  </a:cubicBezTo>
                  <a:cubicBezTo>
                    <a:pt x="34" y="15"/>
                    <a:pt x="36" y="17"/>
                    <a:pt x="37" y="16"/>
                  </a:cubicBezTo>
                  <a:cubicBezTo>
                    <a:pt x="38" y="15"/>
                    <a:pt x="36" y="12"/>
                    <a:pt x="37" y="11"/>
                  </a:cubicBezTo>
                  <a:cubicBezTo>
                    <a:pt x="41" y="7"/>
                    <a:pt x="44" y="3"/>
                    <a:pt x="49" y="1"/>
                  </a:cubicBezTo>
                  <a:cubicBezTo>
                    <a:pt x="51" y="0"/>
                    <a:pt x="53" y="3"/>
                    <a:pt x="53" y="6"/>
                  </a:cubicBezTo>
                  <a:cubicBezTo>
                    <a:pt x="53" y="7"/>
                    <a:pt x="49" y="7"/>
                    <a:pt x="50" y="9"/>
                  </a:cubicBezTo>
                  <a:cubicBezTo>
                    <a:pt x="50" y="11"/>
                    <a:pt x="54" y="12"/>
                    <a:pt x="54" y="15"/>
                  </a:cubicBezTo>
                  <a:cubicBezTo>
                    <a:pt x="55" y="16"/>
                    <a:pt x="50" y="16"/>
                    <a:pt x="50" y="18"/>
                  </a:cubicBezTo>
                  <a:cubicBezTo>
                    <a:pt x="51" y="21"/>
                    <a:pt x="54" y="21"/>
                    <a:pt x="57" y="22"/>
                  </a:cubicBezTo>
                  <a:cubicBezTo>
                    <a:pt x="58" y="23"/>
                    <a:pt x="58" y="22"/>
                    <a:pt x="59" y="22"/>
                  </a:cubicBezTo>
                  <a:cubicBezTo>
                    <a:pt x="60" y="26"/>
                    <a:pt x="60" y="30"/>
                    <a:pt x="62" y="34"/>
                  </a:cubicBezTo>
                  <a:cubicBezTo>
                    <a:pt x="64" y="37"/>
                    <a:pt x="68" y="38"/>
                    <a:pt x="71" y="40"/>
                  </a:cubicBezTo>
                  <a:cubicBezTo>
                    <a:pt x="74" y="41"/>
                    <a:pt x="77" y="41"/>
                    <a:pt x="80" y="43"/>
                  </a:cubicBezTo>
                  <a:cubicBezTo>
                    <a:pt x="83" y="45"/>
                    <a:pt x="85" y="48"/>
                    <a:pt x="89" y="50"/>
                  </a:cubicBezTo>
                  <a:cubicBezTo>
                    <a:pt x="94" y="52"/>
                    <a:pt x="100" y="52"/>
                    <a:pt x="106" y="52"/>
                  </a:cubicBezTo>
                  <a:cubicBezTo>
                    <a:pt x="111" y="52"/>
                    <a:pt x="115" y="50"/>
                    <a:pt x="120" y="49"/>
                  </a:cubicBezTo>
                  <a:cubicBezTo>
                    <a:pt x="122" y="49"/>
                    <a:pt x="125" y="51"/>
                    <a:pt x="127" y="49"/>
                  </a:cubicBezTo>
                  <a:cubicBezTo>
                    <a:pt x="128" y="48"/>
                    <a:pt x="125" y="46"/>
                    <a:pt x="125" y="44"/>
                  </a:cubicBezTo>
                  <a:cubicBezTo>
                    <a:pt x="124" y="43"/>
                    <a:pt x="125" y="42"/>
                    <a:pt x="125" y="41"/>
                  </a:cubicBezTo>
                  <a:cubicBezTo>
                    <a:pt x="128" y="40"/>
                    <a:pt x="132" y="40"/>
                    <a:pt x="135" y="38"/>
                  </a:cubicBezTo>
                  <a:cubicBezTo>
                    <a:pt x="137" y="37"/>
                    <a:pt x="136" y="33"/>
                    <a:pt x="138" y="32"/>
                  </a:cubicBezTo>
                  <a:cubicBezTo>
                    <a:pt x="141" y="29"/>
                    <a:pt x="146" y="30"/>
                    <a:pt x="150" y="29"/>
                  </a:cubicBezTo>
                  <a:cubicBezTo>
                    <a:pt x="152" y="28"/>
                    <a:pt x="152" y="26"/>
                    <a:pt x="155" y="26"/>
                  </a:cubicBezTo>
                  <a:cubicBezTo>
                    <a:pt x="157" y="26"/>
                    <a:pt x="159" y="27"/>
                    <a:pt x="161" y="28"/>
                  </a:cubicBezTo>
                  <a:cubicBezTo>
                    <a:pt x="162" y="29"/>
                    <a:pt x="163" y="30"/>
                    <a:pt x="164" y="31"/>
                  </a:cubicBezTo>
                  <a:cubicBezTo>
                    <a:pt x="168" y="32"/>
                    <a:pt x="171" y="33"/>
                    <a:pt x="175" y="34"/>
                  </a:cubicBezTo>
                  <a:cubicBezTo>
                    <a:pt x="177" y="35"/>
                    <a:pt x="180" y="36"/>
                    <a:pt x="183" y="37"/>
                  </a:cubicBezTo>
                  <a:cubicBezTo>
                    <a:pt x="185" y="38"/>
                    <a:pt x="188" y="38"/>
                    <a:pt x="189" y="39"/>
                  </a:cubicBezTo>
                  <a:cubicBezTo>
                    <a:pt x="190" y="41"/>
                    <a:pt x="187" y="43"/>
                    <a:pt x="189" y="44"/>
                  </a:cubicBezTo>
                  <a:cubicBezTo>
                    <a:pt x="191" y="46"/>
                    <a:pt x="195" y="44"/>
                    <a:pt x="197" y="45"/>
                  </a:cubicBezTo>
                  <a:cubicBezTo>
                    <a:pt x="199" y="46"/>
                    <a:pt x="199" y="50"/>
                    <a:pt x="201" y="50"/>
                  </a:cubicBezTo>
                  <a:cubicBezTo>
                    <a:pt x="205" y="52"/>
                    <a:pt x="210" y="51"/>
                    <a:pt x="214" y="53"/>
                  </a:cubicBezTo>
                  <a:cubicBezTo>
                    <a:pt x="215" y="54"/>
                    <a:pt x="215" y="56"/>
                    <a:pt x="215" y="58"/>
                  </a:cubicBezTo>
                  <a:cubicBezTo>
                    <a:pt x="215" y="60"/>
                    <a:pt x="215" y="62"/>
                    <a:pt x="215" y="64"/>
                  </a:cubicBezTo>
                  <a:cubicBezTo>
                    <a:pt x="215" y="66"/>
                    <a:pt x="217" y="68"/>
                    <a:pt x="218" y="70"/>
                  </a:cubicBezTo>
                  <a:cubicBezTo>
                    <a:pt x="217" y="72"/>
                    <a:pt x="217" y="75"/>
                    <a:pt x="216" y="77"/>
                  </a:cubicBezTo>
                  <a:cubicBezTo>
                    <a:pt x="215" y="79"/>
                    <a:pt x="212" y="81"/>
                    <a:pt x="211" y="84"/>
                  </a:cubicBezTo>
                  <a:cubicBezTo>
                    <a:pt x="211" y="85"/>
                    <a:pt x="213" y="86"/>
                    <a:pt x="213" y="87"/>
                  </a:cubicBezTo>
                  <a:cubicBezTo>
                    <a:pt x="212" y="88"/>
                    <a:pt x="210" y="86"/>
                    <a:pt x="210" y="87"/>
                  </a:cubicBezTo>
                  <a:cubicBezTo>
                    <a:pt x="209" y="90"/>
                    <a:pt x="208" y="94"/>
                    <a:pt x="209" y="97"/>
                  </a:cubicBezTo>
                  <a:cubicBezTo>
                    <a:pt x="209" y="99"/>
                    <a:pt x="212" y="100"/>
                    <a:pt x="212" y="102"/>
                  </a:cubicBezTo>
                  <a:cubicBezTo>
                    <a:pt x="212" y="104"/>
                    <a:pt x="209" y="104"/>
                    <a:pt x="209" y="106"/>
                  </a:cubicBezTo>
                  <a:cubicBezTo>
                    <a:pt x="209" y="108"/>
                    <a:pt x="212" y="110"/>
                    <a:pt x="212" y="112"/>
                  </a:cubicBezTo>
                  <a:cubicBezTo>
                    <a:pt x="213" y="116"/>
                    <a:pt x="214" y="122"/>
                    <a:pt x="212" y="126"/>
                  </a:cubicBezTo>
                  <a:cubicBezTo>
                    <a:pt x="213" y="129"/>
                    <a:pt x="215" y="131"/>
                    <a:pt x="217" y="133"/>
                  </a:cubicBezTo>
                  <a:cubicBezTo>
                    <a:pt x="219" y="134"/>
                    <a:pt x="223" y="131"/>
                    <a:pt x="225" y="133"/>
                  </a:cubicBezTo>
                  <a:cubicBezTo>
                    <a:pt x="227" y="134"/>
                    <a:pt x="228" y="138"/>
                    <a:pt x="227" y="141"/>
                  </a:cubicBezTo>
                  <a:cubicBezTo>
                    <a:pt x="226" y="145"/>
                    <a:pt x="222" y="148"/>
                    <a:pt x="220" y="152"/>
                  </a:cubicBezTo>
                  <a:cubicBezTo>
                    <a:pt x="219" y="153"/>
                    <a:pt x="219" y="155"/>
                    <a:pt x="218" y="157"/>
                  </a:cubicBezTo>
                  <a:cubicBezTo>
                    <a:pt x="221" y="160"/>
                    <a:pt x="224" y="163"/>
                    <a:pt x="226" y="166"/>
                  </a:cubicBezTo>
                  <a:cubicBezTo>
                    <a:pt x="228" y="169"/>
                    <a:pt x="227" y="172"/>
                    <a:pt x="228" y="174"/>
                  </a:cubicBezTo>
                  <a:cubicBezTo>
                    <a:pt x="228" y="176"/>
                    <a:pt x="230" y="177"/>
                    <a:pt x="231" y="178"/>
                  </a:cubicBezTo>
                  <a:cubicBezTo>
                    <a:pt x="233" y="179"/>
                    <a:pt x="236" y="179"/>
                    <a:pt x="238" y="180"/>
                  </a:cubicBezTo>
                  <a:cubicBezTo>
                    <a:pt x="240" y="181"/>
                    <a:pt x="241" y="182"/>
                    <a:pt x="242" y="183"/>
                  </a:cubicBezTo>
                  <a:cubicBezTo>
                    <a:pt x="243" y="188"/>
                    <a:pt x="241" y="194"/>
                    <a:pt x="244" y="198"/>
                  </a:cubicBezTo>
                  <a:cubicBezTo>
                    <a:pt x="245" y="200"/>
                    <a:pt x="249" y="198"/>
                    <a:pt x="250" y="200"/>
                  </a:cubicBezTo>
                  <a:cubicBezTo>
                    <a:pt x="251" y="201"/>
                    <a:pt x="250" y="204"/>
                    <a:pt x="249" y="206"/>
                  </a:cubicBezTo>
                  <a:cubicBezTo>
                    <a:pt x="249" y="207"/>
                    <a:pt x="250" y="208"/>
                    <a:pt x="249" y="209"/>
                  </a:cubicBezTo>
                  <a:cubicBezTo>
                    <a:pt x="247" y="210"/>
                    <a:pt x="244" y="209"/>
                    <a:pt x="242" y="210"/>
                  </a:cubicBezTo>
                  <a:cubicBezTo>
                    <a:pt x="239" y="211"/>
                    <a:pt x="237" y="212"/>
                    <a:pt x="235" y="214"/>
                  </a:cubicBezTo>
                  <a:cubicBezTo>
                    <a:pt x="234" y="216"/>
                    <a:pt x="233" y="219"/>
                    <a:pt x="233" y="222"/>
                  </a:cubicBezTo>
                  <a:cubicBezTo>
                    <a:pt x="233" y="224"/>
                    <a:pt x="234" y="227"/>
                    <a:pt x="234" y="229"/>
                  </a:cubicBezTo>
                  <a:cubicBezTo>
                    <a:pt x="233" y="230"/>
                    <a:pt x="232" y="233"/>
                    <a:pt x="231" y="233"/>
                  </a:cubicBezTo>
                  <a:cubicBezTo>
                    <a:pt x="229" y="232"/>
                    <a:pt x="227" y="230"/>
                    <a:pt x="225" y="230"/>
                  </a:cubicBezTo>
                  <a:cubicBezTo>
                    <a:pt x="221" y="229"/>
                    <a:pt x="218" y="229"/>
                    <a:pt x="215" y="229"/>
                  </a:cubicBezTo>
                  <a:cubicBezTo>
                    <a:pt x="210" y="229"/>
                    <a:pt x="205" y="230"/>
                    <a:pt x="201" y="229"/>
                  </a:cubicBezTo>
                  <a:cubicBezTo>
                    <a:pt x="199" y="229"/>
                    <a:pt x="197" y="227"/>
                    <a:pt x="195" y="226"/>
                  </a:cubicBezTo>
                  <a:cubicBezTo>
                    <a:pt x="190" y="225"/>
                    <a:pt x="185" y="225"/>
                    <a:pt x="181" y="222"/>
                  </a:cubicBezTo>
                  <a:cubicBezTo>
                    <a:pt x="179" y="221"/>
                    <a:pt x="178" y="219"/>
                    <a:pt x="177" y="217"/>
                  </a:cubicBezTo>
                  <a:cubicBezTo>
                    <a:pt x="176" y="213"/>
                    <a:pt x="176" y="208"/>
                    <a:pt x="173" y="204"/>
                  </a:cubicBezTo>
                  <a:cubicBezTo>
                    <a:pt x="171" y="202"/>
                    <a:pt x="168" y="200"/>
                    <a:pt x="165" y="200"/>
                  </a:cubicBezTo>
                  <a:cubicBezTo>
                    <a:pt x="162" y="201"/>
                    <a:pt x="159" y="203"/>
                    <a:pt x="156" y="205"/>
                  </a:cubicBezTo>
                  <a:cubicBezTo>
                    <a:pt x="153" y="206"/>
                    <a:pt x="151" y="209"/>
                    <a:pt x="148" y="209"/>
                  </a:cubicBezTo>
                  <a:cubicBezTo>
                    <a:pt x="145" y="209"/>
                    <a:pt x="143" y="206"/>
                    <a:pt x="141" y="205"/>
                  </a:cubicBezTo>
                  <a:cubicBezTo>
                    <a:pt x="138" y="205"/>
                    <a:pt x="135" y="206"/>
                    <a:pt x="132" y="206"/>
                  </a:cubicBezTo>
                  <a:cubicBezTo>
                    <a:pt x="131" y="206"/>
                    <a:pt x="132" y="204"/>
                    <a:pt x="132" y="203"/>
                  </a:cubicBezTo>
                  <a:cubicBezTo>
                    <a:pt x="129" y="202"/>
                    <a:pt x="126" y="202"/>
                    <a:pt x="124" y="200"/>
                  </a:cubicBezTo>
                  <a:cubicBezTo>
                    <a:pt x="122" y="200"/>
                    <a:pt x="120" y="199"/>
                    <a:pt x="119" y="197"/>
                  </a:cubicBezTo>
                  <a:cubicBezTo>
                    <a:pt x="118" y="196"/>
                    <a:pt x="120" y="195"/>
                    <a:pt x="119" y="194"/>
                  </a:cubicBezTo>
                  <a:cubicBezTo>
                    <a:pt x="118" y="192"/>
                    <a:pt x="116" y="192"/>
                    <a:pt x="114" y="192"/>
                  </a:cubicBezTo>
                  <a:cubicBezTo>
                    <a:pt x="112" y="191"/>
                    <a:pt x="109" y="193"/>
                    <a:pt x="107" y="191"/>
                  </a:cubicBezTo>
                  <a:cubicBezTo>
                    <a:pt x="103" y="188"/>
                    <a:pt x="101" y="184"/>
                    <a:pt x="99" y="179"/>
                  </a:cubicBezTo>
                  <a:cubicBezTo>
                    <a:pt x="97" y="177"/>
                    <a:pt x="99" y="173"/>
                    <a:pt x="97" y="171"/>
                  </a:cubicBezTo>
                  <a:cubicBezTo>
                    <a:pt x="96" y="169"/>
                    <a:pt x="94" y="172"/>
                    <a:pt x="93" y="171"/>
                  </a:cubicBezTo>
                  <a:cubicBezTo>
                    <a:pt x="92" y="170"/>
                    <a:pt x="94" y="168"/>
                    <a:pt x="93" y="166"/>
                  </a:cubicBezTo>
                  <a:cubicBezTo>
                    <a:pt x="91" y="161"/>
                    <a:pt x="88" y="155"/>
                    <a:pt x="83" y="152"/>
                  </a:cubicBezTo>
                  <a:cubicBezTo>
                    <a:pt x="81" y="151"/>
                    <a:pt x="80" y="156"/>
                    <a:pt x="78" y="156"/>
                  </a:cubicBezTo>
                  <a:cubicBezTo>
                    <a:pt x="78" y="156"/>
                    <a:pt x="78" y="155"/>
                    <a:pt x="78" y="155"/>
                  </a:cubicBezTo>
                  <a:cubicBezTo>
                    <a:pt x="76" y="155"/>
                    <a:pt x="75" y="156"/>
                    <a:pt x="73" y="155"/>
                  </a:cubicBezTo>
                  <a:cubicBezTo>
                    <a:pt x="72" y="154"/>
                    <a:pt x="72" y="151"/>
                    <a:pt x="71" y="152"/>
                  </a:cubicBezTo>
                  <a:cubicBezTo>
                    <a:pt x="70" y="153"/>
                    <a:pt x="72" y="155"/>
                    <a:pt x="71" y="157"/>
                  </a:cubicBezTo>
                  <a:cubicBezTo>
                    <a:pt x="71" y="157"/>
                    <a:pt x="69" y="158"/>
                    <a:pt x="68" y="158"/>
                  </a:cubicBezTo>
                  <a:cubicBezTo>
                    <a:pt x="65" y="155"/>
                    <a:pt x="62" y="153"/>
                    <a:pt x="59" y="150"/>
                  </a:cubicBezTo>
                  <a:cubicBezTo>
                    <a:pt x="58" y="148"/>
                    <a:pt x="60" y="146"/>
                    <a:pt x="59" y="144"/>
                  </a:cubicBezTo>
                  <a:cubicBezTo>
                    <a:pt x="59" y="142"/>
                    <a:pt x="57" y="143"/>
                    <a:pt x="56" y="141"/>
                  </a:cubicBezTo>
                  <a:cubicBezTo>
                    <a:pt x="56" y="139"/>
                    <a:pt x="57" y="136"/>
                    <a:pt x="56" y="133"/>
                  </a:cubicBezTo>
                  <a:cubicBezTo>
                    <a:pt x="55" y="129"/>
                    <a:pt x="53" y="126"/>
                    <a:pt x="50" y="122"/>
                  </a:cubicBezTo>
                  <a:cubicBezTo>
                    <a:pt x="45" y="117"/>
                    <a:pt x="39" y="114"/>
                    <a:pt x="34" y="110"/>
                  </a:cubicBezTo>
                  <a:cubicBezTo>
                    <a:pt x="33" y="109"/>
                    <a:pt x="34" y="108"/>
                    <a:pt x="34" y="107"/>
                  </a:cubicBezTo>
                  <a:cubicBezTo>
                    <a:pt x="31" y="103"/>
                    <a:pt x="27" y="100"/>
                    <a:pt x="25" y="95"/>
                  </a:cubicBezTo>
                  <a:cubicBezTo>
                    <a:pt x="24" y="93"/>
                    <a:pt x="25" y="90"/>
                    <a:pt x="25" y="87"/>
                  </a:cubicBezTo>
                  <a:cubicBezTo>
                    <a:pt x="25" y="84"/>
                    <a:pt x="25" y="81"/>
                    <a:pt x="27" y="78"/>
                  </a:cubicBezTo>
                  <a:cubicBezTo>
                    <a:pt x="28" y="77"/>
                    <a:pt x="30" y="78"/>
                    <a:pt x="31" y="77"/>
                  </a:cubicBezTo>
                  <a:cubicBezTo>
                    <a:pt x="31" y="74"/>
                    <a:pt x="29" y="72"/>
                    <a:pt x="30" y="69"/>
                  </a:cubicBezTo>
                  <a:cubicBezTo>
                    <a:pt x="30" y="68"/>
                    <a:pt x="32" y="66"/>
                    <a:pt x="31" y="64"/>
                  </a:cubicBezTo>
                  <a:cubicBezTo>
                    <a:pt x="31" y="63"/>
                    <a:pt x="29" y="64"/>
                    <a:pt x="28" y="64"/>
                  </a:cubicBezTo>
                  <a:cubicBezTo>
                    <a:pt x="27" y="64"/>
                    <a:pt x="26" y="63"/>
                    <a:pt x="25" y="62"/>
                  </a:cubicBezTo>
                  <a:cubicBezTo>
                    <a:pt x="24" y="62"/>
                    <a:pt x="23" y="63"/>
                    <a:pt x="23" y="62"/>
                  </a:cubicBezTo>
                  <a:cubicBezTo>
                    <a:pt x="21" y="60"/>
                    <a:pt x="19" y="57"/>
                    <a:pt x="17" y="54"/>
                  </a:cubicBezTo>
                  <a:cubicBezTo>
                    <a:pt x="16" y="53"/>
                    <a:pt x="15" y="51"/>
                    <a:pt x="14" y="50"/>
                  </a:cubicBezTo>
                  <a:cubicBezTo>
                    <a:pt x="13" y="48"/>
                    <a:pt x="12" y="46"/>
                    <a:pt x="11" y="44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" name="Freeform 113"/>
            <p:cNvSpPr>
              <a:spLocks noChangeAspect="1"/>
            </p:cNvSpPr>
            <p:nvPr/>
          </p:nvSpPr>
          <p:spPr bwMode="auto">
            <a:xfrm>
              <a:off x="5461000" y="2938463"/>
              <a:ext cx="158750" cy="80962"/>
            </a:xfrm>
            <a:custGeom>
              <a:avLst/>
              <a:gdLst>
                <a:gd name="T0" fmla="*/ 0 w 83"/>
                <a:gd name="T1" fmla="*/ 1928 h 42"/>
                <a:gd name="T2" fmla="*/ 15301 w 83"/>
                <a:gd name="T3" fmla="*/ 11566 h 42"/>
                <a:gd name="T4" fmla="*/ 22952 w 83"/>
                <a:gd name="T5" fmla="*/ 21204 h 42"/>
                <a:gd name="T6" fmla="*/ 36340 w 83"/>
                <a:gd name="T7" fmla="*/ 26987 h 42"/>
                <a:gd name="T8" fmla="*/ 36340 w 83"/>
                <a:gd name="T9" fmla="*/ 38553 h 42"/>
                <a:gd name="T10" fmla="*/ 43991 w 83"/>
                <a:gd name="T11" fmla="*/ 53975 h 42"/>
                <a:gd name="T12" fmla="*/ 38253 w 83"/>
                <a:gd name="T13" fmla="*/ 69396 h 42"/>
                <a:gd name="T14" fmla="*/ 47816 w 83"/>
                <a:gd name="T15" fmla="*/ 69396 h 42"/>
                <a:gd name="T16" fmla="*/ 61205 w 83"/>
                <a:gd name="T17" fmla="*/ 65541 h 42"/>
                <a:gd name="T18" fmla="*/ 74593 w 83"/>
                <a:gd name="T19" fmla="*/ 71324 h 42"/>
                <a:gd name="T20" fmla="*/ 84157 w 83"/>
                <a:gd name="T21" fmla="*/ 77107 h 42"/>
                <a:gd name="T22" fmla="*/ 93720 w 83"/>
                <a:gd name="T23" fmla="*/ 73251 h 42"/>
                <a:gd name="T24" fmla="*/ 101370 w 83"/>
                <a:gd name="T25" fmla="*/ 73251 h 42"/>
                <a:gd name="T26" fmla="*/ 110934 w 83"/>
                <a:gd name="T27" fmla="*/ 73251 h 42"/>
                <a:gd name="T28" fmla="*/ 118584 w 83"/>
                <a:gd name="T29" fmla="*/ 73251 h 42"/>
                <a:gd name="T30" fmla="*/ 124322 w 83"/>
                <a:gd name="T31" fmla="*/ 65541 h 42"/>
                <a:gd name="T32" fmla="*/ 133886 w 83"/>
                <a:gd name="T33" fmla="*/ 71324 h 42"/>
                <a:gd name="T34" fmla="*/ 143449 w 83"/>
                <a:gd name="T35" fmla="*/ 75179 h 42"/>
                <a:gd name="T36" fmla="*/ 156837 w 83"/>
                <a:gd name="T37" fmla="*/ 79034 h 42"/>
                <a:gd name="T38" fmla="*/ 156837 w 83"/>
                <a:gd name="T39" fmla="*/ 71324 h 42"/>
                <a:gd name="T40" fmla="*/ 149187 w 83"/>
                <a:gd name="T41" fmla="*/ 67468 h 42"/>
                <a:gd name="T42" fmla="*/ 143449 w 83"/>
                <a:gd name="T43" fmla="*/ 57830 h 42"/>
                <a:gd name="T44" fmla="*/ 151099 w 83"/>
                <a:gd name="T45" fmla="*/ 52047 h 42"/>
                <a:gd name="T46" fmla="*/ 130060 w 83"/>
                <a:gd name="T47" fmla="*/ 40481 h 42"/>
                <a:gd name="T48" fmla="*/ 130060 w 83"/>
                <a:gd name="T49" fmla="*/ 32770 h 42"/>
                <a:gd name="T50" fmla="*/ 116672 w 83"/>
                <a:gd name="T51" fmla="*/ 25060 h 42"/>
                <a:gd name="T52" fmla="*/ 110934 w 83"/>
                <a:gd name="T53" fmla="*/ 25060 h 42"/>
                <a:gd name="T54" fmla="*/ 103283 w 83"/>
                <a:gd name="T55" fmla="*/ 26987 h 42"/>
                <a:gd name="T56" fmla="*/ 91807 w 83"/>
                <a:gd name="T57" fmla="*/ 30843 h 42"/>
                <a:gd name="T58" fmla="*/ 86069 w 83"/>
                <a:gd name="T59" fmla="*/ 25060 h 42"/>
                <a:gd name="T60" fmla="*/ 70768 w 83"/>
                <a:gd name="T61" fmla="*/ 17349 h 42"/>
                <a:gd name="T62" fmla="*/ 55467 w 83"/>
                <a:gd name="T63" fmla="*/ 7711 h 42"/>
                <a:gd name="T64" fmla="*/ 36340 w 83"/>
                <a:gd name="T65" fmla="*/ 9638 h 42"/>
                <a:gd name="T66" fmla="*/ 21039 w 83"/>
                <a:gd name="T67" fmla="*/ 1928 h 42"/>
                <a:gd name="T68" fmla="*/ 0 w 83"/>
                <a:gd name="T69" fmla="*/ 1928 h 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3"/>
                <a:gd name="T106" fmla="*/ 0 h 42"/>
                <a:gd name="T107" fmla="*/ 83 w 83"/>
                <a:gd name="T108" fmla="*/ 42 h 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3" h="42">
                  <a:moveTo>
                    <a:pt x="0" y="1"/>
                  </a:moveTo>
                  <a:cubicBezTo>
                    <a:pt x="3" y="3"/>
                    <a:pt x="6" y="4"/>
                    <a:pt x="8" y="6"/>
                  </a:cubicBezTo>
                  <a:cubicBezTo>
                    <a:pt x="10" y="7"/>
                    <a:pt x="10" y="10"/>
                    <a:pt x="12" y="11"/>
                  </a:cubicBezTo>
                  <a:cubicBezTo>
                    <a:pt x="14" y="13"/>
                    <a:pt x="18" y="12"/>
                    <a:pt x="19" y="14"/>
                  </a:cubicBezTo>
                  <a:cubicBezTo>
                    <a:pt x="20" y="16"/>
                    <a:pt x="18" y="18"/>
                    <a:pt x="19" y="20"/>
                  </a:cubicBezTo>
                  <a:cubicBezTo>
                    <a:pt x="20" y="23"/>
                    <a:pt x="23" y="25"/>
                    <a:pt x="23" y="28"/>
                  </a:cubicBezTo>
                  <a:cubicBezTo>
                    <a:pt x="23" y="30"/>
                    <a:pt x="21" y="33"/>
                    <a:pt x="20" y="36"/>
                  </a:cubicBezTo>
                  <a:cubicBezTo>
                    <a:pt x="21" y="36"/>
                    <a:pt x="23" y="36"/>
                    <a:pt x="25" y="36"/>
                  </a:cubicBezTo>
                  <a:cubicBezTo>
                    <a:pt x="27" y="35"/>
                    <a:pt x="29" y="33"/>
                    <a:pt x="32" y="34"/>
                  </a:cubicBezTo>
                  <a:cubicBezTo>
                    <a:pt x="34" y="34"/>
                    <a:pt x="37" y="36"/>
                    <a:pt x="39" y="37"/>
                  </a:cubicBezTo>
                  <a:cubicBezTo>
                    <a:pt x="41" y="38"/>
                    <a:pt x="42" y="39"/>
                    <a:pt x="44" y="40"/>
                  </a:cubicBezTo>
                  <a:cubicBezTo>
                    <a:pt x="46" y="40"/>
                    <a:pt x="47" y="39"/>
                    <a:pt x="49" y="38"/>
                  </a:cubicBezTo>
                  <a:cubicBezTo>
                    <a:pt x="50" y="38"/>
                    <a:pt x="52" y="38"/>
                    <a:pt x="53" y="38"/>
                  </a:cubicBezTo>
                  <a:cubicBezTo>
                    <a:pt x="55" y="38"/>
                    <a:pt x="56" y="38"/>
                    <a:pt x="58" y="38"/>
                  </a:cubicBezTo>
                  <a:cubicBezTo>
                    <a:pt x="59" y="38"/>
                    <a:pt x="60" y="38"/>
                    <a:pt x="62" y="38"/>
                  </a:cubicBezTo>
                  <a:cubicBezTo>
                    <a:pt x="63" y="37"/>
                    <a:pt x="63" y="34"/>
                    <a:pt x="65" y="34"/>
                  </a:cubicBezTo>
                  <a:cubicBezTo>
                    <a:pt x="67" y="34"/>
                    <a:pt x="68" y="36"/>
                    <a:pt x="70" y="37"/>
                  </a:cubicBezTo>
                  <a:cubicBezTo>
                    <a:pt x="72" y="38"/>
                    <a:pt x="74" y="39"/>
                    <a:pt x="75" y="39"/>
                  </a:cubicBezTo>
                  <a:cubicBezTo>
                    <a:pt x="78" y="40"/>
                    <a:pt x="80" y="42"/>
                    <a:pt x="82" y="41"/>
                  </a:cubicBezTo>
                  <a:cubicBezTo>
                    <a:pt x="83" y="41"/>
                    <a:pt x="83" y="38"/>
                    <a:pt x="82" y="37"/>
                  </a:cubicBezTo>
                  <a:cubicBezTo>
                    <a:pt x="82" y="36"/>
                    <a:pt x="79" y="36"/>
                    <a:pt x="78" y="35"/>
                  </a:cubicBezTo>
                  <a:cubicBezTo>
                    <a:pt x="77" y="33"/>
                    <a:pt x="75" y="32"/>
                    <a:pt x="75" y="30"/>
                  </a:cubicBezTo>
                  <a:cubicBezTo>
                    <a:pt x="76" y="28"/>
                    <a:pt x="78" y="28"/>
                    <a:pt x="79" y="27"/>
                  </a:cubicBezTo>
                  <a:cubicBezTo>
                    <a:pt x="75" y="25"/>
                    <a:pt x="71" y="24"/>
                    <a:pt x="68" y="21"/>
                  </a:cubicBezTo>
                  <a:cubicBezTo>
                    <a:pt x="67" y="20"/>
                    <a:pt x="69" y="18"/>
                    <a:pt x="68" y="17"/>
                  </a:cubicBezTo>
                  <a:cubicBezTo>
                    <a:pt x="67" y="15"/>
                    <a:pt x="64" y="14"/>
                    <a:pt x="61" y="13"/>
                  </a:cubicBezTo>
                  <a:cubicBezTo>
                    <a:pt x="60" y="13"/>
                    <a:pt x="59" y="13"/>
                    <a:pt x="58" y="13"/>
                  </a:cubicBezTo>
                  <a:cubicBezTo>
                    <a:pt x="57" y="13"/>
                    <a:pt x="55" y="13"/>
                    <a:pt x="54" y="14"/>
                  </a:cubicBezTo>
                  <a:cubicBezTo>
                    <a:pt x="52" y="14"/>
                    <a:pt x="50" y="16"/>
                    <a:pt x="48" y="16"/>
                  </a:cubicBezTo>
                  <a:cubicBezTo>
                    <a:pt x="46" y="16"/>
                    <a:pt x="46" y="14"/>
                    <a:pt x="45" y="13"/>
                  </a:cubicBezTo>
                  <a:cubicBezTo>
                    <a:pt x="42" y="11"/>
                    <a:pt x="40" y="11"/>
                    <a:pt x="37" y="9"/>
                  </a:cubicBezTo>
                  <a:cubicBezTo>
                    <a:pt x="34" y="8"/>
                    <a:pt x="32" y="5"/>
                    <a:pt x="29" y="4"/>
                  </a:cubicBezTo>
                  <a:cubicBezTo>
                    <a:pt x="26" y="3"/>
                    <a:pt x="22" y="6"/>
                    <a:pt x="19" y="5"/>
                  </a:cubicBezTo>
                  <a:cubicBezTo>
                    <a:pt x="16" y="5"/>
                    <a:pt x="14" y="2"/>
                    <a:pt x="11" y="1"/>
                  </a:cubicBezTo>
                  <a:cubicBezTo>
                    <a:pt x="7" y="0"/>
                    <a:pt x="3" y="0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" name="Freeform 114"/>
            <p:cNvSpPr>
              <a:spLocks noChangeAspect="1"/>
            </p:cNvSpPr>
            <p:nvPr/>
          </p:nvSpPr>
          <p:spPr bwMode="auto">
            <a:xfrm>
              <a:off x="5580063" y="3060700"/>
              <a:ext cx="33337" cy="28575"/>
            </a:xfrm>
            <a:custGeom>
              <a:avLst/>
              <a:gdLst>
                <a:gd name="T0" fmla="*/ 33337 w 18"/>
                <a:gd name="T1" fmla="*/ 28575 h 15"/>
                <a:gd name="T2" fmla="*/ 25929 w 18"/>
                <a:gd name="T3" fmla="*/ 11430 h 15"/>
                <a:gd name="T4" fmla="*/ 22225 w 18"/>
                <a:gd name="T5" fmla="*/ 1905 h 15"/>
                <a:gd name="T6" fmla="*/ 12964 w 18"/>
                <a:gd name="T7" fmla="*/ 5715 h 15"/>
                <a:gd name="T8" fmla="*/ 11112 w 18"/>
                <a:gd name="T9" fmla="*/ 0 h 15"/>
                <a:gd name="T10" fmla="*/ 0 w 18"/>
                <a:gd name="T11" fmla="*/ 0 h 15"/>
                <a:gd name="T12" fmla="*/ 3704 w 18"/>
                <a:gd name="T13" fmla="*/ 5715 h 15"/>
                <a:gd name="T14" fmla="*/ 12964 w 18"/>
                <a:gd name="T15" fmla="*/ 15240 h 15"/>
                <a:gd name="T16" fmla="*/ 18521 w 18"/>
                <a:gd name="T17" fmla="*/ 15240 h 15"/>
                <a:gd name="T18" fmla="*/ 18521 w 18"/>
                <a:gd name="T19" fmla="*/ 24765 h 15"/>
                <a:gd name="T20" fmla="*/ 33337 w 18"/>
                <a:gd name="T21" fmla="*/ 28575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15"/>
                <a:gd name="T35" fmla="*/ 18 w 18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15">
                  <a:moveTo>
                    <a:pt x="18" y="15"/>
                  </a:moveTo>
                  <a:cubicBezTo>
                    <a:pt x="17" y="12"/>
                    <a:pt x="16" y="9"/>
                    <a:pt x="14" y="6"/>
                  </a:cubicBezTo>
                  <a:cubicBezTo>
                    <a:pt x="13" y="5"/>
                    <a:pt x="13" y="2"/>
                    <a:pt x="12" y="1"/>
                  </a:cubicBezTo>
                  <a:cubicBezTo>
                    <a:pt x="10" y="1"/>
                    <a:pt x="9" y="3"/>
                    <a:pt x="7" y="3"/>
                  </a:cubicBezTo>
                  <a:cubicBezTo>
                    <a:pt x="6" y="2"/>
                    <a:pt x="6" y="1"/>
                    <a:pt x="6" y="0"/>
                  </a:cubicBezTo>
                  <a:cubicBezTo>
                    <a:pt x="4" y="0"/>
                    <a:pt x="2" y="1"/>
                    <a:pt x="0" y="0"/>
                  </a:cubicBezTo>
                  <a:cubicBezTo>
                    <a:pt x="1" y="1"/>
                    <a:pt x="1" y="2"/>
                    <a:pt x="2" y="3"/>
                  </a:cubicBezTo>
                  <a:cubicBezTo>
                    <a:pt x="3" y="5"/>
                    <a:pt x="5" y="7"/>
                    <a:pt x="7" y="8"/>
                  </a:cubicBezTo>
                  <a:cubicBezTo>
                    <a:pt x="8" y="9"/>
                    <a:pt x="10" y="7"/>
                    <a:pt x="10" y="8"/>
                  </a:cubicBezTo>
                  <a:cubicBezTo>
                    <a:pt x="12" y="9"/>
                    <a:pt x="9" y="12"/>
                    <a:pt x="10" y="13"/>
                  </a:cubicBezTo>
                  <a:cubicBezTo>
                    <a:pt x="12" y="15"/>
                    <a:pt x="16" y="14"/>
                    <a:pt x="18" y="1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5" name="Freeform 115"/>
            <p:cNvSpPr>
              <a:spLocks noChangeAspect="1"/>
            </p:cNvSpPr>
            <p:nvPr/>
          </p:nvSpPr>
          <p:spPr bwMode="auto">
            <a:xfrm>
              <a:off x="5545138" y="3011488"/>
              <a:ext cx="77787" cy="77787"/>
            </a:xfrm>
            <a:custGeom>
              <a:avLst/>
              <a:gdLst>
                <a:gd name="T0" fmla="*/ 75890 w 41"/>
                <a:gd name="T1" fmla="*/ 73993 h 41"/>
                <a:gd name="T2" fmla="*/ 75890 w 41"/>
                <a:gd name="T3" fmla="*/ 62609 h 41"/>
                <a:gd name="T4" fmla="*/ 70198 w 41"/>
                <a:gd name="T5" fmla="*/ 56917 h 41"/>
                <a:gd name="T6" fmla="*/ 62609 w 41"/>
                <a:gd name="T7" fmla="*/ 49328 h 41"/>
                <a:gd name="T8" fmla="*/ 51226 w 41"/>
                <a:gd name="T9" fmla="*/ 41739 h 41"/>
                <a:gd name="T10" fmla="*/ 56917 w 41"/>
                <a:gd name="T11" fmla="*/ 37945 h 41"/>
                <a:gd name="T12" fmla="*/ 56917 w 41"/>
                <a:gd name="T13" fmla="*/ 32253 h 41"/>
                <a:gd name="T14" fmla="*/ 45534 w 41"/>
                <a:gd name="T15" fmla="*/ 26561 h 41"/>
                <a:gd name="T16" fmla="*/ 47431 w 41"/>
                <a:gd name="T17" fmla="*/ 17075 h 41"/>
                <a:gd name="T18" fmla="*/ 45534 w 41"/>
                <a:gd name="T19" fmla="*/ 9486 h 41"/>
                <a:gd name="T20" fmla="*/ 36048 w 41"/>
                <a:gd name="T21" fmla="*/ 7589 h 41"/>
                <a:gd name="T22" fmla="*/ 34150 w 41"/>
                <a:gd name="T23" fmla="*/ 0 h 41"/>
                <a:gd name="T24" fmla="*/ 26561 w 41"/>
                <a:gd name="T25" fmla="*/ 0 h 41"/>
                <a:gd name="T26" fmla="*/ 17075 w 41"/>
                <a:gd name="T27" fmla="*/ 0 h 41"/>
                <a:gd name="T28" fmla="*/ 9486 w 41"/>
                <a:gd name="T29" fmla="*/ 0 h 41"/>
                <a:gd name="T30" fmla="*/ 0 w 41"/>
                <a:gd name="T31" fmla="*/ 3794 h 41"/>
                <a:gd name="T32" fmla="*/ 3794 w 41"/>
                <a:gd name="T33" fmla="*/ 17075 h 41"/>
                <a:gd name="T34" fmla="*/ 3794 w 41"/>
                <a:gd name="T35" fmla="*/ 30356 h 41"/>
                <a:gd name="T36" fmla="*/ 9486 w 41"/>
                <a:gd name="T37" fmla="*/ 37945 h 41"/>
                <a:gd name="T38" fmla="*/ 24664 w 41"/>
                <a:gd name="T39" fmla="*/ 39842 h 41"/>
                <a:gd name="T40" fmla="*/ 34150 w 41"/>
                <a:gd name="T41" fmla="*/ 49328 h 41"/>
                <a:gd name="T42" fmla="*/ 45534 w 41"/>
                <a:gd name="T43" fmla="*/ 49328 h 41"/>
                <a:gd name="T44" fmla="*/ 47431 w 41"/>
                <a:gd name="T45" fmla="*/ 55020 h 41"/>
                <a:gd name="T46" fmla="*/ 56917 w 41"/>
                <a:gd name="T47" fmla="*/ 51226 h 41"/>
                <a:gd name="T48" fmla="*/ 60712 w 41"/>
                <a:gd name="T49" fmla="*/ 60712 h 41"/>
                <a:gd name="T50" fmla="*/ 68301 w 41"/>
                <a:gd name="T51" fmla="*/ 77787 h 41"/>
                <a:gd name="T52" fmla="*/ 72095 w 41"/>
                <a:gd name="T53" fmla="*/ 75890 h 41"/>
                <a:gd name="T54" fmla="*/ 75890 w 41"/>
                <a:gd name="T55" fmla="*/ 73993 h 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1"/>
                <a:gd name="T85" fmla="*/ 0 h 41"/>
                <a:gd name="T86" fmla="*/ 41 w 41"/>
                <a:gd name="T87" fmla="*/ 41 h 4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1" h="41">
                  <a:moveTo>
                    <a:pt x="40" y="39"/>
                  </a:moveTo>
                  <a:cubicBezTo>
                    <a:pt x="40" y="37"/>
                    <a:pt x="41" y="35"/>
                    <a:pt x="40" y="33"/>
                  </a:cubicBezTo>
                  <a:cubicBezTo>
                    <a:pt x="40" y="32"/>
                    <a:pt x="38" y="31"/>
                    <a:pt x="37" y="30"/>
                  </a:cubicBezTo>
                  <a:cubicBezTo>
                    <a:pt x="36" y="29"/>
                    <a:pt x="34" y="27"/>
                    <a:pt x="33" y="26"/>
                  </a:cubicBezTo>
                  <a:cubicBezTo>
                    <a:pt x="31" y="25"/>
                    <a:pt x="28" y="24"/>
                    <a:pt x="27" y="22"/>
                  </a:cubicBezTo>
                  <a:cubicBezTo>
                    <a:pt x="27" y="21"/>
                    <a:pt x="29" y="21"/>
                    <a:pt x="30" y="20"/>
                  </a:cubicBezTo>
                  <a:cubicBezTo>
                    <a:pt x="30" y="19"/>
                    <a:pt x="31" y="18"/>
                    <a:pt x="30" y="17"/>
                  </a:cubicBezTo>
                  <a:cubicBezTo>
                    <a:pt x="29" y="15"/>
                    <a:pt x="26" y="16"/>
                    <a:pt x="24" y="14"/>
                  </a:cubicBezTo>
                  <a:cubicBezTo>
                    <a:pt x="23" y="13"/>
                    <a:pt x="25" y="11"/>
                    <a:pt x="25" y="9"/>
                  </a:cubicBezTo>
                  <a:cubicBezTo>
                    <a:pt x="25" y="8"/>
                    <a:pt x="25" y="6"/>
                    <a:pt x="24" y="5"/>
                  </a:cubicBezTo>
                  <a:cubicBezTo>
                    <a:pt x="23" y="4"/>
                    <a:pt x="20" y="5"/>
                    <a:pt x="19" y="4"/>
                  </a:cubicBezTo>
                  <a:cubicBezTo>
                    <a:pt x="18" y="3"/>
                    <a:pt x="18" y="1"/>
                    <a:pt x="18" y="0"/>
                  </a:cubicBezTo>
                  <a:cubicBezTo>
                    <a:pt x="16" y="0"/>
                    <a:pt x="15" y="0"/>
                    <a:pt x="14" y="0"/>
                  </a:cubicBezTo>
                  <a:cubicBezTo>
                    <a:pt x="12" y="0"/>
                    <a:pt x="11" y="0"/>
                    <a:pt x="9" y="0"/>
                  </a:cubicBezTo>
                  <a:cubicBezTo>
                    <a:pt x="8" y="0"/>
                    <a:pt x="6" y="0"/>
                    <a:pt x="5" y="0"/>
                  </a:cubicBezTo>
                  <a:cubicBezTo>
                    <a:pt x="3" y="1"/>
                    <a:pt x="2" y="2"/>
                    <a:pt x="0" y="2"/>
                  </a:cubicBezTo>
                  <a:cubicBezTo>
                    <a:pt x="1" y="5"/>
                    <a:pt x="2" y="7"/>
                    <a:pt x="2" y="9"/>
                  </a:cubicBezTo>
                  <a:cubicBezTo>
                    <a:pt x="2" y="11"/>
                    <a:pt x="1" y="14"/>
                    <a:pt x="2" y="16"/>
                  </a:cubicBezTo>
                  <a:cubicBezTo>
                    <a:pt x="2" y="17"/>
                    <a:pt x="4" y="19"/>
                    <a:pt x="5" y="20"/>
                  </a:cubicBezTo>
                  <a:cubicBezTo>
                    <a:pt x="8" y="21"/>
                    <a:pt x="11" y="20"/>
                    <a:pt x="13" y="21"/>
                  </a:cubicBezTo>
                  <a:cubicBezTo>
                    <a:pt x="15" y="22"/>
                    <a:pt x="17" y="25"/>
                    <a:pt x="18" y="26"/>
                  </a:cubicBezTo>
                  <a:cubicBezTo>
                    <a:pt x="20" y="27"/>
                    <a:pt x="22" y="26"/>
                    <a:pt x="24" y="26"/>
                  </a:cubicBezTo>
                  <a:cubicBezTo>
                    <a:pt x="24" y="27"/>
                    <a:pt x="24" y="28"/>
                    <a:pt x="25" y="29"/>
                  </a:cubicBezTo>
                  <a:cubicBezTo>
                    <a:pt x="27" y="29"/>
                    <a:pt x="28" y="27"/>
                    <a:pt x="30" y="27"/>
                  </a:cubicBezTo>
                  <a:cubicBezTo>
                    <a:pt x="31" y="28"/>
                    <a:pt x="31" y="31"/>
                    <a:pt x="32" y="32"/>
                  </a:cubicBezTo>
                  <a:cubicBezTo>
                    <a:pt x="34" y="35"/>
                    <a:pt x="35" y="38"/>
                    <a:pt x="36" y="41"/>
                  </a:cubicBezTo>
                  <a:cubicBezTo>
                    <a:pt x="37" y="40"/>
                    <a:pt x="37" y="40"/>
                    <a:pt x="38" y="40"/>
                  </a:cubicBezTo>
                  <a:cubicBezTo>
                    <a:pt x="39" y="40"/>
                    <a:pt x="39" y="40"/>
                    <a:pt x="40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6" name="Freeform 116"/>
            <p:cNvSpPr>
              <a:spLocks noChangeAspect="1"/>
            </p:cNvSpPr>
            <p:nvPr/>
          </p:nvSpPr>
          <p:spPr bwMode="auto">
            <a:xfrm>
              <a:off x="5580063" y="2990850"/>
              <a:ext cx="127000" cy="109538"/>
            </a:xfrm>
            <a:custGeom>
              <a:avLst/>
              <a:gdLst>
                <a:gd name="T0" fmla="*/ 92881 w 67"/>
                <a:gd name="T1" fmla="*/ 107649 h 58"/>
                <a:gd name="T2" fmla="*/ 89090 w 67"/>
                <a:gd name="T3" fmla="*/ 107649 h 58"/>
                <a:gd name="T4" fmla="*/ 75821 w 67"/>
                <a:gd name="T5" fmla="*/ 100095 h 58"/>
                <a:gd name="T6" fmla="*/ 83403 w 67"/>
                <a:gd name="T7" fmla="*/ 94429 h 58"/>
                <a:gd name="T8" fmla="*/ 75821 w 67"/>
                <a:gd name="T9" fmla="*/ 83098 h 58"/>
                <a:gd name="T10" fmla="*/ 81507 w 67"/>
                <a:gd name="T11" fmla="*/ 77432 h 58"/>
                <a:gd name="T12" fmla="*/ 73925 w 67"/>
                <a:gd name="T13" fmla="*/ 67989 h 58"/>
                <a:gd name="T14" fmla="*/ 51179 w 67"/>
                <a:gd name="T15" fmla="*/ 86875 h 58"/>
                <a:gd name="T16" fmla="*/ 51179 w 67"/>
                <a:gd name="T17" fmla="*/ 96318 h 58"/>
                <a:gd name="T18" fmla="*/ 41701 w 67"/>
                <a:gd name="T19" fmla="*/ 94429 h 58"/>
                <a:gd name="T20" fmla="*/ 41701 w 67"/>
                <a:gd name="T21" fmla="*/ 83098 h 58"/>
                <a:gd name="T22" fmla="*/ 36015 w 67"/>
                <a:gd name="T23" fmla="*/ 77432 h 58"/>
                <a:gd name="T24" fmla="*/ 28433 w 67"/>
                <a:gd name="T25" fmla="*/ 69878 h 58"/>
                <a:gd name="T26" fmla="*/ 17060 w 67"/>
                <a:gd name="T27" fmla="*/ 62323 h 58"/>
                <a:gd name="T28" fmla="*/ 22746 w 67"/>
                <a:gd name="T29" fmla="*/ 58546 h 58"/>
                <a:gd name="T30" fmla="*/ 22746 w 67"/>
                <a:gd name="T31" fmla="*/ 52880 h 58"/>
                <a:gd name="T32" fmla="*/ 11373 w 67"/>
                <a:gd name="T33" fmla="*/ 47215 h 58"/>
                <a:gd name="T34" fmla="*/ 13269 w 67"/>
                <a:gd name="T35" fmla="*/ 37772 h 58"/>
                <a:gd name="T36" fmla="*/ 11373 w 67"/>
                <a:gd name="T37" fmla="*/ 30217 h 58"/>
                <a:gd name="T38" fmla="*/ 1896 w 67"/>
                <a:gd name="T39" fmla="*/ 28329 h 58"/>
                <a:gd name="T40" fmla="*/ 0 w 67"/>
                <a:gd name="T41" fmla="*/ 20774 h 58"/>
                <a:gd name="T42" fmla="*/ 5687 w 67"/>
                <a:gd name="T43" fmla="*/ 13220 h 58"/>
                <a:gd name="T44" fmla="*/ 15164 w 67"/>
                <a:gd name="T45" fmla="*/ 18886 h 58"/>
                <a:gd name="T46" fmla="*/ 24642 w 67"/>
                <a:gd name="T47" fmla="*/ 22663 h 58"/>
                <a:gd name="T48" fmla="*/ 37910 w 67"/>
                <a:gd name="T49" fmla="*/ 26440 h 58"/>
                <a:gd name="T50" fmla="*/ 37910 w 67"/>
                <a:gd name="T51" fmla="*/ 18886 h 58"/>
                <a:gd name="T52" fmla="*/ 30328 w 67"/>
                <a:gd name="T53" fmla="*/ 15109 h 58"/>
                <a:gd name="T54" fmla="*/ 24642 w 67"/>
                <a:gd name="T55" fmla="*/ 5666 h 58"/>
                <a:gd name="T56" fmla="*/ 32224 w 67"/>
                <a:gd name="T57" fmla="*/ 0 h 58"/>
                <a:gd name="T58" fmla="*/ 45493 w 67"/>
                <a:gd name="T59" fmla="*/ 7554 h 58"/>
                <a:gd name="T60" fmla="*/ 51179 w 67"/>
                <a:gd name="T61" fmla="*/ 18886 h 58"/>
                <a:gd name="T62" fmla="*/ 66343 w 67"/>
                <a:gd name="T63" fmla="*/ 22663 h 58"/>
                <a:gd name="T64" fmla="*/ 68239 w 67"/>
                <a:gd name="T65" fmla="*/ 13220 h 58"/>
                <a:gd name="T66" fmla="*/ 75821 w 67"/>
                <a:gd name="T67" fmla="*/ 11332 h 58"/>
                <a:gd name="T68" fmla="*/ 79612 w 67"/>
                <a:gd name="T69" fmla="*/ 3777 h 58"/>
                <a:gd name="T70" fmla="*/ 92881 w 67"/>
                <a:gd name="T71" fmla="*/ 18886 h 58"/>
                <a:gd name="T72" fmla="*/ 98567 w 67"/>
                <a:gd name="T73" fmla="*/ 33995 h 58"/>
                <a:gd name="T74" fmla="*/ 109940 w 67"/>
                <a:gd name="T75" fmla="*/ 41549 h 58"/>
                <a:gd name="T76" fmla="*/ 119418 w 67"/>
                <a:gd name="T77" fmla="*/ 41549 h 58"/>
                <a:gd name="T78" fmla="*/ 127000 w 67"/>
                <a:gd name="T79" fmla="*/ 45326 h 58"/>
                <a:gd name="T80" fmla="*/ 125104 w 67"/>
                <a:gd name="T81" fmla="*/ 47215 h 58"/>
                <a:gd name="T82" fmla="*/ 111836 w 67"/>
                <a:gd name="T83" fmla="*/ 47215 h 58"/>
                <a:gd name="T84" fmla="*/ 104254 w 67"/>
                <a:gd name="T85" fmla="*/ 60435 h 58"/>
                <a:gd name="T86" fmla="*/ 104254 w 67"/>
                <a:gd name="T87" fmla="*/ 73655 h 58"/>
                <a:gd name="T88" fmla="*/ 108045 w 67"/>
                <a:gd name="T89" fmla="*/ 81209 h 58"/>
                <a:gd name="T90" fmla="*/ 104254 w 67"/>
                <a:gd name="T91" fmla="*/ 88764 h 58"/>
                <a:gd name="T92" fmla="*/ 94776 w 67"/>
                <a:gd name="T93" fmla="*/ 86875 h 58"/>
                <a:gd name="T94" fmla="*/ 92881 w 67"/>
                <a:gd name="T95" fmla="*/ 94429 h 58"/>
                <a:gd name="T96" fmla="*/ 92881 w 67"/>
                <a:gd name="T97" fmla="*/ 107649 h 5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7"/>
                <a:gd name="T148" fmla="*/ 0 h 58"/>
                <a:gd name="T149" fmla="*/ 67 w 67"/>
                <a:gd name="T150" fmla="*/ 58 h 5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7" h="58">
                  <a:moveTo>
                    <a:pt x="49" y="57"/>
                  </a:moveTo>
                  <a:cubicBezTo>
                    <a:pt x="48" y="57"/>
                    <a:pt x="48" y="58"/>
                    <a:pt x="47" y="57"/>
                  </a:cubicBezTo>
                  <a:cubicBezTo>
                    <a:pt x="44" y="56"/>
                    <a:pt x="41" y="56"/>
                    <a:pt x="40" y="53"/>
                  </a:cubicBezTo>
                  <a:cubicBezTo>
                    <a:pt x="40" y="51"/>
                    <a:pt x="45" y="51"/>
                    <a:pt x="44" y="50"/>
                  </a:cubicBezTo>
                  <a:cubicBezTo>
                    <a:pt x="44" y="47"/>
                    <a:pt x="40" y="46"/>
                    <a:pt x="40" y="44"/>
                  </a:cubicBezTo>
                  <a:cubicBezTo>
                    <a:pt x="39" y="42"/>
                    <a:pt x="43" y="42"/>
                    <a:pt x="43" y="41"/>
                  </a:cubicBezTo>
                  <a:cubicBezTo>
                    <a:pt x="43" y="38"/>
                    <a:pt x="41" y="35"/>
                    <a:pt x="39" y="36"/>
                  </a:cubicBezTo>
                  <a:cubicBezTo>
                    <a:pt x="34" y="38"/>
                    <a:pt x="31" y="42"/>
                    <a:pt x="27" y="46"/>
                  </a:cubicBezTo>
                  <a:cubicBezTo>
                    <a:pt x="26" y="47"/>
                    <a:pt x="28" y="50"/>
                    <a:pt x="27" y="51"/>
                  </a:cubicBezTo>
                  <a:cubicBezTo>
                    <a:pt x="26" y="52"/>
                    <a:pt x="24" y="50"/>
                    <a:pt x="22" y="50"/>
                  </a:cubicBezTo>
                  <a:cubicBezTo>
                    <a:pt x="22" y="48"/>
                    <a:pt x="23" y="46"/>
                    <a:pt x="22" y="44"/>
                  </a:cubicBezTo>
                  <a:cubicBezTo>
                    <a:pt x="22" y="43"/>
                    <a:pt x="20" y="42"/>
                    <a:pt x="19" y="41"/>
                  </a:cubicBezTo>
                  <a:cubicBezTo>
                    <a:pt x="18" y="40"/>
                    <a:pt x="16" y="38"/>
                    <a:pt x="15" y="37"/>
                  </a:cubicBezTo>
                  <a:cubicBezTo>
                    <a:pt x="13" y="36"/>
                    <a:pt x="10" y="35"/>
                    <a:pt x="9" y="33"/>
                  </a:cubicBezTo>
                  <a:cubicBezTo>
                    <a:pt x="9" y="32"/>
                    <a:pt x="11" y="32"/>
                    <a:pt x="12" y="31"/>
                  </a:cubicBezTo>
                  <a:cubicBezTo>
                    <a:pt x="12" y="30"/>
                    <a:pt x="13" y="29"/>
                    <a:pt x="12" y="28"/>
                  </a:cubicBezTo>
                  <a:cubicBezTo>
                    <a:pt x="11" y="26"/>
                    <a:pt x="8" y="27"/>
                    <a:pt x="6" y="25"/>
                  </a:cubicBezTo>
                  <a:cubicBezTo>
                    <a:pt x="5" y="24"/>
                    <a:pt x="7" y="22"/>
                    <a:pt x="7" y="20"/>
                  </a:cubicBezTo>
                  <a:cubicBezTo>
                    <a:pt x="7" y="19"/>
                    <a:pt x="7" y="17"/>
                    <a:pt x="6" y="16"/>
                  </a:cubicBezTo>
                  <a:cubicBezTo>
                    <a:pt x="5" y="15"/>
                    <a:pt x="2" y="16"/>
                    <a:pt x="1" y="15"/>
                  </a:cubicBezTo>
                  <a:cubicBezTo>
                    <a:pt x="0" y="14"/>
                    <a:pt x="0" y="12"/>
                    <a:pt x="0" y="11"/>
                  </a:cubicBezTo>
                  <a:cubicBezTo>
                    <a:pt x="1" y="10"/>
                    <a:pt x="1" y="7"/>
                    <a:pt x="3" y="7"/>
                  </a:cubicBezTo>
                  <a:cubicBezTo>
                    <a:pt x="5" y="7"/>
                    <a:pt x="6" y="9"/>
                    <a:pt x="8" y="10"/>
                  </a:cubicBezTo>
                  <a:cubicBezTo>
                    <a:pt x="10" y="11"/>
                    <a:pt x="12" y="12"/>
                    <a:pt x="13" y="12"/>
                  </a:cubicBezTo>
                  <a:cubicBezTo>
                    <a:pt x="16" y="13"/>
                    <a:pt x="18" y="15"/>
                    <a:pt x="20" y="14"/>
                  </a:cubicBezTo>
                  <a:cubicBezTo>
                    <a:pt x="21" y="14"/>
                    <a:pt x="21" y="11"/>
                    <a:pt x="20" y="10"/>
                  </a:cubicBezTo>
                  <a:cubicBezTo>
                    <a:pt x="20" y="9"/>
                    <a:pt x="17" y="9"/>
                    <a:pt x="16" y="8"/>
                  </a:cubicBezTo>
                  <a:cubicBezTo>
                    <a:pt x="15" y="6"/>
                    <a:pt x="13" y="5"/>
                    <a:pt x="13" y="3"/>
                  </a:cubicBezTo>
                  <a:cubicBezTo>
                    <a:pt x="14" y="1"/>
                    <a:pt x="16" y="1"/>
                    <a:pt x="17" y="0"/>
                  </a:cubicBezTo>
                  <a:cubicBezTo>
                    <a:pt x="19" y="1"/>
                    <a:pt x="22" y="2"/>
                    <a:pt x="24" y="4"/>
                  </a:cubicBezTo>
                  <a:cubicBezTo>
                    <a:pt x="25" y="5"/>
                    <a:pt x="26" y="9"/>
                    <a:pt x="27" y="10"/>
                  </a:cubicBezTo>
                  <a:cubicBezTo>
                    <a:pt x="29" y="12"/>
                    <a:pt x="32" y="13"/>
                    <a:pt x="35" y="12"/>
                  </a:cubicBezTo>
                  <a:cubicBezTo>
                    <a:pt x="36" y="11"/>
                    <a:pt x="35" y="8"/>
                    <a:pt x="36" y="7"/>
                  </a:cubicBezTo>
                  <a:cubicBezTo>
                    <a:pt x="37" y="6"/>
                    <a:pt x="39" y="7"/>
                    <a:pt x="40" y="6"/>
                  </a:cubicBezTo>
                  <a:cubicBezTo>
                    <a:pt x="41" y="5"/>
                    <a:pt x="41" y="4"/>
                    <a:pt x="42" y="2"/>
                  </a:cubicBezTo>
                  <a:cubicBezTo>
                    <a:pt x="44" y="5"/>
                    <a:pt x="47" y="8"/>
                    <a:pt x="49" y="10"/>
                  </a:cubicBezTo>
                  <a:cubicBezTo>
                    <a:pt x="50" y="13"/>
                    <a:pt x="51" y="16"/>
                    <a:pt x="52" y="18"/>
                  </a:cubicBezTo>
                  <a:cubicBezTo>
                    <a:pt x="54" y="20"/>
                    <a:pt x="56" y="22"/>
                    <a:pt x="58" y="22"/>
                  </a:cubicBezTo>
                  <a:cubicBezTo>
                    <a:pt x="60" y="23"/>
                    <a:pt x="62" y="22"/>
                    <a:pt x="63" y="22"/>
                  </a:cubicBezTo>
                  <a:cubicBezTo>
                    <a:pt x="65" y="22"/>
                    <a:pt x="66" y="23"/>
                    <a:pt x="67" y="24"/>
                  </a:cubicBezTo>
                  <a:cubicBezTo>
                    <a:pt x="67" y="25"/>
                    <a:pt x="66" y="25"/>
                    <a:pt x="66" y="25"/>
                  </a:cubicBezTo>
                  <a:cubicBezTo>
                    <a:pt x="63" y="25"/>
                    <a:pt x="61" y="24"/>
                    <a:pt x="59" y="25"/>
                  </a:cubicBezTo>
                  <a:cubicBezTo>
                    <a:pt x="57" y="27"/>
                    <a:pt x="56" y="30"/>
                    <a:pt x="55" y="32"/>
                  </a:cubicBezTo>
                  <a:cubicBezTo>
                    <a:pt x="54" y="34"/>
                    <a:pt x="55" y="37"/>
                    <a:pt x="55" y="39"/>
                  </a:cubicBezTo>
                  <a:cubicBezTo>
                    <a:pt x="55" y="40"/>
                    <a:pt x="57" y="41"/>
                    <a:pt x="57" y="43"/>
                  </a:cubicBezTo>
                  <a:cubicBezTo>
                    <a:pt x="54" y="43"/>
                    <a:pt x="56" y="47"/>
                    <a:pt x="55" y="47"/>
                  </a:cubicBezTo>
                  <a:cubicBezTo>
                    <a:pt x="53" y="48"/>
                    <a:pt x="51" y="45"/>
                    <a:pt x="50" y="46"/>
                  </a:cubicBezTo>
                  <a:cubicBezTo>
                    <a:pt x="48" y="46"/>
                    <a:pt x="49" y="49"/>
                    <a:pt x="49" y="50"/>
                  </a:cubicBezTo>
                  <a:cubicBezTo>
                    <a:pt x="48" y="53"/>
                    <a:pt x="49" y="55"/>
                    <a:pt x="49" y="5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7" name="Freeform 117"/>
            <p:cNvSpPr>
              <a:spLocks noChangeAspect="1"/>
            </p:cNvSpPr>
            <p:nvPr/>
          </p:nvSpPr>
          <p:spPr bwMode="auto">
            <a:xfrm>
              <a:off x="5753100" y="2965450"/>
              <a:ext cx="341313" cy="233363"/>
            </a:xfrm>
            <a:custGeom>
              <a:avLst/>
              <a:gdLst>
                <a:gd name="T0" fmla="*/ 333686 w 179"/>
                <a:gd name="T1" fmla="*/ 170240 h 122"/>
                <a:gd name="T2" fmla="*/ 314618 w 179"/>
                <a:gd name="T3" fmla="*/ 170240 h 122"/>
                <a:gd name="T4" fmla="*/ 301271 w 179"/>
                <a:gd name="T5" fmla="*/ 172153 h 122"/>
                <a:gd name="T6" fmla="*/ 291737 w 179"/>
                <a:gd name="T7" fmla="*/ 197020 h 122"/>
                <a:gd name="T8" fmla="*/ 265042 w 179"/>
                <a:gd name="T9" fmla="*/ 216148 h 122"/>
                <a:gd name="T10" fmla="*/ 255508 w 179"/>
                <a:gd name="T11" fmla="*/ 233363 h 122"/>
                <a:gd name="T12" fmla="*/ 242161 w 179"/>
                <a:gd name="T13" fmla="*/ 231450 h 122"/>
                <a:gd name="T14" fmla="*/ 223093 w 179"/>
                <a:gd name="T15" fmla="*/ 225712 h 122"/>
                <a:gd name="T16" fmla="*/ 217373 w 179"/>
                <a:gd name="T17" fmla="*/ 202758 h 122"/>
                <a:gd name="T18" fmla="*/ 190678 w 179"/>
                <a:gd name="T19" fmla="*/ 187456 h 122"/>
                <a:gd name="T20" fmla="*/ 167796 w 179"/>
                <a:gd name="T21" fmla="*/ 175979 h 122"/>
                <a:gd name="T22" fmla="*/ 156356 w 179"/>
                <a:gd name="T23" fmla="*/ 162589 h 122"/>
                <a:gd name="T24" fmla="*/ 120127 w 179"/>
                <a:gd name="T25" fmla="*/ 151112 h 122"/>
                <a:gd name="T26" fmla="*/ 102966 w 179"/>
                <a:gd name="T27" fmla="*/ 141548 h 122"/>
                <a:gd name="T28" fmla="*/ 70551 w 179"/>
                <a:gd name="T29" fmla="*/ 153025 h 122"/>
                <a:gd name="T30" fmla="*/ 45763 w 179"/>
                <a:gd name="T31" fmla="*/ 170240 h 122"/>
                <a:gd name="T32" fmla="*/ 38136 w 179"/>
                <a:gd name="T33" fmla="*/ 135810 h 122"/>
                <a:gd name="T34" fmla="*/ 30508 w 179"/>
                <a:gd name="T35" fmla="*/ 105205 h 122"/>
                <a:gd name="T36" fmla="*/ 20975 w 179"/>
                <a:gd name="T37" fmla="*/ 112856 h 122"/>
                <a:gd name="T38" fmla="*/ 20975 w 179"/>
                <a:gd name="T39" fmla="*/ 95641 h 122"/>
                <a:gd name="T40" fmla="*/ 32415 w 179"/>
                <a:gd name="T41" fmla="*/ 99466 h 122"/>
                <a:gd name="T42" fmla="*/ 26695 w 179"/>
                <a:gd name="T43" fmla="*/ 87989 h 122"/>
                <a:gd name="T44" fmla="*/ 9534 w 179"/>
                <a:gd name="T45" fmla="*/ 87989 h 122"/>
                <a:gd name="T46" fmla="*/ 7627 w 179"/>
                <a:gd name="T47" fmla="*/ 61210 h 122"/>
                <a:gd name="T48" fmla="*/ 15254 w 179"/>
                <a:gd name="T49" fmla="*/ 63123 h 122"/>
                <a:gd name="T50" fmla="*/ 32415 w 179"/>
                <a:gd name="T51" fmla="*/ 59297 h 122"/>
                <a:gd name="T52" fmla="*/ 45763 w 179"/>
                <a:gd name="T53" fmla="*/ 65036 h 122"/>
                <a:gd name="T54" fmla="*/ 51483 w 179"/>
                <a:gd name="T55" fmla="*/ 59297 h 122"/>
                <a:gd name="T56" fmla="*/ 53390 w 179"/>
                <a:gd name="T57" fmla="*/ 47820 h 122"/>
                <a:gd name="T58" fmla="*/ 30508 w 179"/>
                <a:gd name="T59" fmla="*/ 17215 h 122"/>
                <a:gd name="T60" fmla="*/ 7627 w 179"/>
                <a:gd name="T61" fmla="*/ 28692 h 122"/>
                <a:gd name="T62" fmla="*/ 5720 w 179"/>
                <a:gd name="T63" fmla="*/ 49733 h 122"/>
                <a:gd name="T64" fmla="*/ 0 w 179"/>
                <a:gd name="T65" fmla="*/ 30605 h 122"/>
                <a:gd name="T66" fmla="*/ 17161 w 179"/>
                <a:gd name="T67" fmla="*/ 11477 h 122"/>
                <a:gd name="T68" fmla="*/ 47669 w 179"/>
                <a:gd name="T69" fmla="*/ 17215 h 122"/>
                <a:gd name="T70" fmla="*/ 64830 w 179"/>
                <a:gd name="T71" fmla="*/ 45907 h 122"/>
                <a:gd name="T72" fmla="*/ 80085 w 179"/>
                <a:gd name="T73" fmla="*/ 43995 h 122"/>
                <a:gd name="T74" fmla="*/ 104873 w 179"/>
                <a:gd name="T75" fmla="*/ 49733 h 122"/>
                <a:gd name="T76" fmla="*/ 104873 w 179"/>
                <a:gd name="T77" fmla="*/ 32518 h 122"/>
                <a:gd name="T78" fmla="*/ 116313 w 179"/>
                <a:gd name="T79" fmla="*/ 17215 h 122"/>
                <a:gd name="T80" fmla="*/ 133474 w 179"/>
                <a:gd name="T81" fmla="*/ 15302 h 122"/>
                <a:gd name="T82" fmla="*/ 141101 w 179"/>
                <a:gd name="T83" fmla="*/ 1913 h 122"/>
                <a:gd name="T84" fmla="*/ 152542 w 179"/>
                <a:gd name="T85" fmla="*/ 15302 h 122"/>
                <a:gd name="T86" fmla="*/ 167796 w 179"/>
                <a:gd name="T87" fmla="*/ 30605 h 122"/>
                <a:gd name="T88" fmla="*/ 175423 w 179"/>
                <a:gd name="T89" fmla="*/ 47820 h 122"/>
                <a:gd name="T90" fmla="*/ 205932 w 179"/>
                <a:gd name="T91" fmla="*/ 47820 h 122"/>
                <a:gd name="T92" fmla="*/ 225000 w 179"/>
                <a:gd name="T93" fmla="*/ 55472 h 122"/>
                <a:gd name="T94" fmla="*/ 232627 w 179"/>
                <a:gd name="T95" fmla="*/ 72687 h 122"/>
                <a:gd name="T96" fmla="*/ 238347 w 179"/>
                <a:gd name="T97" fmla="*/ 84164 h 122"/>
                <a:gd name="T98" fmla="*/ 263135 w 179"/>
                <a:gd name="T99" fmla="*/ 109030 h 122"/>
                <a:gd name="T100" fmla="*/ 314618 w 179"/>
                <a:gd name="T101" fmla="*/ 143461 h 122"/>
                <a:gd name="T102" fmla="*/ 337499 w 179"/>
                <a:gd name="T103" fmla="*/ 153025 h 122"/>
                <a:gd name="T104" fmla="*/ 339406 w 179"/>
                <a:gd name="T105" fmla="*/ 164502 h 1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79"/>
                <a:gd name="T160" fmla="*/ 0 h 122"/>
                <a:gd name="T161" fmla="*/ 179 w 179"/>
                <a:gd name="T162" fmla="*/ 122 h 1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79" h="122">
                  <a:moveTo>
                    <a:pt x="179" y="89"/>
                  </a:moveTo>
                  <a:cubicBezTo>
                    <a:pt x="177" y="89"/>
                    <a:pt x="176" y="89"/>
                    <a:pt x="175" y="89"/>
                  </a:cubicBezTo>
                  <a:cubicBezTo>
                    <a:pt x="173" y="88"/>
                    <a:pt x="171" y="86"/>
                    <a:pt x="168" y="86"/>
                  </a:cubicBezTo>
                  <a:cubicBezTo>
                    <a:pt x="167" y="86"/>
                    <a:pt x="166" y="88"/>
                    <a:pt x="165" y="89"/>
                  </a:cubicBezTo>
                  <a:cubicBezTo>
                    <a:pt x="165" y="90"/>
                    <a:pt x="164" y="90"/>
                    <a:pt x="163" y="90"/>
                  </a:cubicBezTo>
                  <a:cubicBezTo>
                    <a:pt x="161" y="90"/>
                    <a:pt x="160" y="90"/>
                    <a:pt x="158" y="90"/>
                  </a:cubicBezTo>
                  <a:cubicBezTo>
                    <a:pt x="157" y="91"/>
                    <a:pt x="156" y="92"/>
                    <a:pt x="156" y="93"/>
                  </a:cubicBezTo>
                  <a:cubicBezTo>
                    <a:pt x="154" y="96"/>
                    <a:pt x="155" y="100"/>
                    <a:pt x="153" y="103"/>
                  </a:cubicBezTo>
                  <a:cubicBezTo>
                    <a:pt x="151" y="106"/>
                    <a:pt x="148" y="109"/>
                    <a:pt x="144" y="111"/>
                  </a:cubicBezTo>
                  <a:cubicBezTo>
                    <a:pt x="143" y="112"/>
                    <a:pt x="140" y="112"/>
                    <a:pt x="139" y="113"/>
                  </a:cubicBezTo>
                  <a:cubicBezTo>
                    <a:pt x="138" y="114"/>
                    <a:pt x="139" y="116"/>
                    <a:pt x="138" y="117"/>
                  </a:cubicBezTo>
                  <a:cubicBezTo>
                    <a:pt x="137" y="119"/>
                    <a:pt x="136" y="121"/>
                    <a:pt x="134" y="122"/>
                  </a:cubicBezTo>
                  <a:cubicBezTo>
                    <a:pt x="133" y="122"/>
                    <a:pt x="132" y="121"/>
                    <a:pt x="131" y="121"/>
                  </a:cubicBezTo>
                  <a:cubicBezTo>
                    <a:pt x="130" y="121"/>
                    <a:pt x="128" y="122"/>
                    <a:pt x="127" y="121"/>
                  </a:cubicBezTo>
                  <a:cubicBezTo>
                    <a:pt x="125" y="121"/>
                    <a:pt x="123" y="120"/>
                    <a:pt x="121" y="119"/>
                  </a:cubicBezTo>
                  <a:cubicBezTo>
                    <a:pt x="120" y="119"/>
                    <a:pt x="118" y="118"/>
                    <a:pt x="117" y="118"/>
                  </a:cubicBezTo>
                  <a:cubicBezTo>
                    <a:pt x="116" y="116"/>
                    <a:pt x="114" y="114"/>
                    <a:pt x="114" y="112"/>
                  </a:cubicBezTo>
                  <a:cubicBezTo>
                    <a:pt x="114" y="110"/>
                    <a:pt x="114" y="108"/>
                    <a:pt x="114" y="106"/>
                  </a:cubicBezTo>
                  <a:cubicBezTo>
                    <a:pt x="114" y="104"/>
                    <a:pt x="114" y="102"/>
                    <a:pt x="113" y="101"/>
                  </a:cubicBezTo>
                  <a:cubicBezTo>
                    <a:pt x="109" y="99"/>
                    <a:pt x="104" y="100"/>
                    <a:pt x="100" y="98"/>
                  </a:cubicBezTo>
                  <a:cubicBezTo>
                    <a:pt x="98" y="98"/>
                    <a:pt x="98" y="94"/>
                    <a:pt x="96" y="93"/>
                  </a:cubicBezTo>
                  <a:cubicBezTo>
                    <a:pt x="94" y="92"/>
                    <a:pt x="90" y="94"/>
                    <a:pt x="88" y="92"/>
                  </a:cubicBezTo>
                  <a:cubicBezTo>
                    <a:pt x="86" y="91"/>
                    <a:pt x="89" y="89"/>
                    <a:pt x="88" y="87"/>
                  </a:cubicBezTo>
                  <a:cubicBezTo>
                    <a:pt x="87" y="86"/>
                    <a:pt x="84" y="86"/>
                    <a:pt x="82" y="85"/>
                  </a:cubicBezTo>
                  <a:cubicBezTo>
                    <a:pt x="79" y="84"/>
                    <a:pt x="76" y="83"/>
                    <a:pt x="74" y="82"/>
                  </a:cubicBezTo>
                  <a:cubicBezTo>
                    <a:pt x="70" y="81"/>
                    <a:pt x="67" y="80"/>
                    <a:pt x="63" y="79"/>
                  </a:cubicBezTo>
                  <a:cubicBezTo>
                    <a:pt x="62" y="78"/>
                    <a:pt x="61" y="77"/>
                    <a:pt x="60" y="76"/>
                  </a:cubicBezTo>
                  <a:cubicBezTo>
                    <a:pt x="58" y="75"/>
                    <a:pt x="56" y="74"/>
                    <a:pt x="54" y="74"/>
                  </a:cubicBezTo>
                  <a:cubicBezTo>
                    <a:pt x="51" y="74"/>
                    <a:pt x="51" y="76"/>
                    <a:pt x="49" y="77"/>
                  </a:cubicBezTo>
                  <a:cubicBezTo>
                    <a:pt x="45" y="78"/>
                    <a:pt x="40" y="77"/>
                    <a:pt x="37" y="80"/>
                  </a:cubicBezTo>
                  <a:cubicBezTo>
                    <a:pt x="35" y="81"/>
                    <a:pt x="36" y="85"/>
                    <a:pt x="34" y="86"/>
                  </a:cubicBezTo>
                  <a:cubicBezTo>
                    <a:pt x="31" y="88"/>
                    <a:pt x="27" y="88"/>
                    <a:pt x="24" y="89"/>
                  </a:cubicBezTo>
                  <a:cubicBezTo>
                    <a:pt x="23" y="86"/>
                    <a:pt x="22" y="84"/>
                    <a:pt x="21" y="81"/>
                  </a:cubicBezTo>
                  <a:cubicBezTo>
                    <a:pt x="21" y="78"/>
                    <a:pt x="20" y="74"/>
                    <a:pt x="20" y="71"/>
                  </a:cubicBezTo>
                  <a:cubicBezTo>
                    <a:pt x="20" y="68"/>
                    <a:pt x="22" y="65"/>
                    <a:pt x="21" y="62"/>
                  </a:cubicBezTo>
                  <a:cubicBezTo>
                    <a:pt x="20" y="60"/>
                    <a:pt x="18" y="57"/>
                    <a:pt x="16" y="55"/>
                  </a:cubicBezTo>
                  <a:cubicBezTo>
                    <a:pt x="15" y="54"/>
                    <a:pt x="13" y="55"/>
                    <a:pt x="12" y="56"/>
                  </a:cubicBezTo>
                  <a:cubicBezTo>
                    <a:pt x="11" y="56"/>
                    <a:pt x="12" y="58"/>
                    <a:pt x="11" y="59"/>
                  </a:cubicBezTo>
                  <a:cubicBezTo>
                    <a:pt x="10" y="59"/>
                    <a:pt x="10" y="57"/>
                    <a:pt x="10" y="56"/>
                  </a:cubicBezTo>
                  <a:cubicBezTo>
                    <a:pt x="10" y="54"/>
                    <a:pt x="9" y="51"/>
                    <a:pt x="11" y="50"/>
                  </a:cubicBezTo>
                  <a:cubicBezTo>
                    <a:pt x="12" y="49"/>
                    <a:pt x="13" y="52"/>
                    <a:pt x="14" y="53"/>
                  </a:cubicBezTo>
                  <a:cubicBezTo>
                    <a:pt x="15" y="53"/>
                    <a:pt x="17" y="53"/>
                    <a:pt x="17" y="52"/>
                  </a:cubicBezTo>
                  <a:cubicBezTo>
                    <a:pt x="17" y="51"/>
                    <a:pt x="15" y="51"/>
                    <a:pt x="14" y="50"/>
                  </a:cubicBezTo>
                  <a:cubicBezTo>
                    <a:pt x="14" y="48"/>
                    <a:pt x="15" y="46"/>
                    <a:pt x="14" y="46"/>
                  </a:cubicBezTo>
                  <a:cubicBezTo>
                    <a:pt x="11" y="46"/>
                    <a:pt x="10" y="49"/>
                    <a:pt x="7" y="49"/>
                  </a:cubicBezTo>
                  <a:cubicBezTo>
                    <a:pt x="6" y="49"/>
                    <a:pt x="5" y="47"/>
                    <a:pt x="5" y="46"/>
                  </a:cubicBezTo>
                  <a:cubicBezTo>
                    <a:pt x="4" y="44"/>
                    <a:pt x="3" y="42"/>
                    <a:pt x="3" y="40"/>
                  </a:cubicBezTo>
                  <a:cubicBezTo>
                    <a:pt x="3" y="37"/>
                    <a:pt x="4" y="35"/>
                    <a:pt x="4" y="32"/>
                  </a:cubicBezTo>
                  <a:cubicBezTo>
                    <a:pt x="5" y="31"/>
                    <a:pt x="4" y="28"/>
                    <a:pt x="5" y="29"/>
                  </a:cubicBezTo>
                  <a:cubicBezTo>
                    <a:pt x="7" y="29"/>
                    <a:pt x="6" y="32"/>
                    <a:pt x="8" y="33"/>
                  </a:cubicBezTo>
                  <a:cubicBezTo>
                    <a:pt x="10" y="34"/>
                    <a:pt x="12" y="34"/>
                    <a:pt x="14" y="33"/>
                  </a:cubicBezTo>
                  <a:cubicBezTo>
                    <a:pt x="15" y="33"/>
                    <a:pt x="15" y="31"/>
                    <a:pt x="17" y="31"/>
                  </a:cubicBezTo>
                  <a:cubicBezTo>
                    <a:pt x="18" y="32"/>
                    <a:pt x="17" y="34"/>
                    <a:pt x="18" y="34"/>
                  </a:cubicBezTo>
                  <a:cubicBezTo>
                    <a:pt x="20" y="35"/>
                    <a:pt x="23" y="35"/>
                    <a:pt x="24" y="34"/>
                  </a:cubicBezTo>
                  <a:cubicBezTo>
                    <a:pt x="25" y="33"/>
                    <a:pt x="22" y="31"/>
                    <a:pt x="23" y="30"/>
                  </a:cubicBezTo>
                  <a:cubicBezTo>
                    <a:pt x="24" y="29"/>
                    <a:pt x="26" y="31"/>
                    <a:pt x="27" y="31"/>
                  </a:cubicBezTo>
                  <a:cubicBezTo>
                    <a:pt x="28" y="30"/>
                    <a:pt x="30" y="30"/>
                    <a:pt x="30" y="29"/>
                  </a:cubicBezTo>
                  <a:cubicBezTo>
                    <a:pt x="30" y="27"/>
                    <a:pt x="29" y="26"/>
                    <a:pt x="28" y="25"/>
                  </a:cubicBezTo>
                  <a:cubicBezTo>
                    <a:pt x="25" y="22"/>
                    <a:pt x="21" y="21"/>
                    <a:pt x="19" y="18"/>
                  </a:cubicBezTo>
                  <a:cubicBezTo>
                    <a:pt x="17" y="16"/>
                    <a:pt x="19" y="11"/>
                    <a:pt x="16" y="9"/>
                  </a:cubicBezTo>
                  <a:cubicBezTo>
                    <a:pt x="14" y="8"/>
                    <a:pt x="11" y="8"/>
                    <a:pt x="9" y="9"/>
                  </a:cubicBezTo>
                  <a:cubicBezTo>
                    <a:pt x="6" y="11"/>
                    <a:pt x="5" y="13"/>
                    <a:pt x="4" y="15"/>
                  </a:cubicBezTo>
                  <a:cubicBezTo>
                    <a:pt x="4" y="17"/>
                    <a:pt x="5" y="19"/>
                    <a:pt x="4" y="21"/>
                  </a:cubicBezTo>
                  <a:cubicBezTo>
                    <a:pt x="4" y="23"/>
                    <a:pt x="5" y="25"/>
                    <a:pt x="3" y="26"/>
                  </a:cubicBezTo>
                  <a:cubicBezTo>
                    <a:pt x="2" y="26"/>
                    <a:pt x="3" y="23"/>
                    <a:pt x="2" y="22"/>
                  </a:cubicBezTo>
                  <a:cubicBezTo>
                    <a:pt x="1" y="20"/>
                    <a:pt x="1" y="18"/>
                    <a:pt x="0" y="16"/>
                  </a:cubicBezTo>
                  <a:cubicBezTo>
                    <a:pt x="1" y="14"/>
                    <a:pt x="1" y="12"/>
                    <a:pt x="3" y="11"/>
                  </a:cubicBezTo>
                  <a:cubicBezTo>
                    <a:pt x="4" y="9"/>
                    <a:pt x="6" y="7"/>
                    <a:pt x="9" y="6"/>
                  </a:cubicBezTo>
                  <a:cubicBezTo>
                    <a:pt x="11" y="6"/>
                    <a:pt x="14" y="6"/>
                    <a:pt x="16" y="6"/>
                  </a:cubicBezTo>
                  <a:cubicBezTo>
                    <a:pt x="19" y="7"/>
                    <a:pt x="23" y="7"/>
                    <a:pt x="25" y="9"/>
                  </a:cubicBezTo>
                  <a:cubicBezTo>
                    <a:pt x="27" y="11"/>
                    <a:pt x="27" y="14"/>
                    <a:pt x="29" y="17"/>
                  </a:cubicBezTo>
                  <a:cubicBezTo>
                    <a:pt x="30" y="19"/>
                    <a:pt x="31" y="22"/>
                    <a:pt x="34" y="24"/>
                  </a:cubicBezTo>
                  <a:cubicBezTo>
                    <a:pt x="35" y="25"/>
                    <a:pt x="37" y="24"/>
                    <a:pt x="38" y="24"/>
                  </a:cubicBezTo>
                  <a:cubicBezTo>
                    <a:pt x="40" y="24"/>
                    <a:pt x="41" y="24"/>
                    <a:pt x="42" y="23"/>
                  </a:cubicBezTo>
                  <a:cubicBezTo>
                    <a:pt x="43" y="24"/>
                    <a:pt x="45" y="23"/>
                    <a:pt x="46" y="24"/>
                  </a:cubicBezTo>
                  <a:cubicBezTo>
                    <a:pt x="49" y="25"/>
                    <a:pt x="52" y="26"/>
                    <a:pt x="55" y="26"/>
                  </a:cubicBezTo>
                  <a:cubicBezTo>
                    <a:pt x="56" y="26"/>
                    <a:pt x="57" y="26"/>
                    <a:pt x="57" y="25"/>
                  </a:cubicBezTo>
                  <a:cubicBezTo>
                    <a:pt x="57" y="23"/>
                    <a:pt x="55" y="20"/>
                    <a:pt x="55" y="17"/>
                  </a:cubicBezTo>
                  <a:cubicBezTo>
                    <a:pt x="54" y="15"/>
                    <a:pt x="54" y="12"/>
                    <a:pt x="56" y="10"/>
                  </a:cubicBezTo>
                  <a:cubicBezTo>
                    <a:pt x="57" y="9"/>
                    <a:pt x="60" y="10"/>
                    <a:pt x="61" y="9"/>
                  </a:cubicBezTo>
                  <a:cubicBezTo>
                    <a:pt x="63" y="8"/>
                    <a:pt x="62" y="4"/>
                    <a:pt x="64" y="4"/>
                  </a:cubicBezTo>
                  <a:cubicBezTo>
                    <a:pt x="67" y="3"/>
                    <a:pt x="68" y="9"/>
                    <a:pt x="70" y="8"/>
                  </a:cubicBezTo>
                  <a:cubicBezTo>
                    <a:pt x="72" y="7"/>
                    <a:pt x="67" y="4"/>
                    <a:pt x="68" y="2"/>
                  </a:cubicBezTo>
                  <a:cubicBezTo>
                    <a:pt x="68" y="0"/>
                    <a:pt x="72" y="0"/>
                    <a:pt x="74" y="1"/>
                  </a:cubicBezTo>
                  <a:cubicBezTo>
                    <a:pt x="75" y="1"/>
                    <a:pt x="74" y="3"/>
                    <a:pt x="75" y="4"/>
                  </a:cubicBezTo>
                  <a:cubicBezTo>
                    <a:pt x="76" y="6"/>
                    <a:pt x="79" y="7"/>
                    <a:pt x="80" y="8"/>
                  </a:cubicBezTo>
                  <a:cubicBezTo>
                    <a:pt x="84" y="9"/>
                    <a:pt x="88" y="10"/>
                    <a:pt x="90" y="12"/>
                  </a:cubicBezTo>
                  <a:cubicBezTo>
                    <a:pt x="90" y="15"/>
                    <a:pt x="88" y="15"/>
                    <a:pt x="88" y="16"/>
                  </a:cubicBezTo>
                  <a:cubicBezTo>
                    <a:pt x="90" y="18"/>
                    <a:pt x="94" y="18"/>
                    <a:pt x="95" y="21"/>
                  </a:cubicBezTo>
                  <a:cubicBezTo>
                    <a:pt x="96" y="23"/>
                    <a:pt x="92" y="23"/>
                    <a:pt x="92" y="25"/>
                  </a:cubicBezTo>
                  <a:cubicBezTo>
                    <a:pt x="92" y="27"/>
                    <a:pt x="95" y="26"/>
                    <a:pt x="96" y="26"/>
                  </a:cubicBezTo>
                  <a:cubicBezTo>
                    <a:pt x="100" y="26"/>
                    <a:pt x="104" y="26"/>
                    <a:pt x="108" y="25"/>
                  </a:cubicBezTo>
                  <a:cubicBezTo>
                    <a:pt x="110" y="25"/>
                    <a:pt x="110" y="21"/>
                    <a:pt x="111" y="22"/>
                  </a:cubicBezTo>
                  <a:cubicBezTo>
                    <a:pt x="114" y="23"/>
                    <a:pt x="116" y="26"/>
                    <a:pt x="118" y="29"/>
                  </a:cubicBezTo>
                  <a:cubicBezTo>
                    <a:pt x="119" y="30"/>
                    <a:pt x="118" y="30"/>
                    <a:pt x="119" y="31"/>
                  </a:cubicBezTo>
                  <a:cubicBezTo>
                    <a:pt x="119" y="33"/>
                    <a:pt x="120" y="36"/>
                    <a:pt x="122" y="38"/>
                  </a:cubicBezTo>
                  <a:cubicBezTo>
                    <a:pt x="122" y="39"/>
                    <a:pt x="124" y="37"/>
                    <a:pt x="125" y="38"/>
                  </a:cubicBezTo>
                  <a:cubicBezTo>
                    <a:pt x="126" y="40"/>
                    <a:pt x="124" y="42"/>
                    <a:pt x="125" y="44"/>
                  </a:cubicBezTo>
                  <a:cubicBezTo>
                    <a:pt x="125" y="45"/>
                    <a:pt x="126" y="47"/>
                    <a:pt x="128" y="48"/>
                  </a:cubicBezTo>
                  <a:cubicBezTo>
                    <a:pt x="131" y="51"/>
                    <a:pt x="134" y="54"/>
                    <a:pt x="138" y="57"/>
                  </a:cubicBezTo>
                  <a:cubicBezTo>
                    <a:pt x="142" y="59"/>
                    <a:pt x="145" y="62"/>
                    <a:pt x="149" y="64"/>
                  </a:cubicBezTo>
                  <a:cubicBezTo>
                    <a:pt x="154" y="68"/>
                    <a:pt x="160" y="72"/>
                    <a:pt x="165" y="75"/>
                  </a:cubicBezTo>
                  <a:cubicBezTo>
                    <a:pt x="166" y="75"/>
                    <a:pt x="168" y="74"/>
                    <a:pt x="169" y="75"/>
                  </a:cubicBezTo>
                  <a:cubicBezTo>
                    <a:pt x="172" y="76"/>
                    <a:pt x="174" y="78"/>
                    <a:pt x="177" y="80"/>
                  </a:cubicBezTo>
                  <a:cubicBezTo>
                    <a:pt x="177" y="80"/>
                    <a:pt x="178" y="80"/>
                    <a:pt x="178" y="81"/>
                  </a:cubicBezTo>
                  <a:cubicBezTo>
                    <a:pt x="179" y="82"/>
                    <a:pt x="178" y="84"/>
                    <a:pt x="178" y="86"/>
                  </a:cubicBezTo>
                  <a:cubicBezTo>
                    <a:pt x="178" y="87"/>
                    <a:pt x="178" y="88"/>
                    <a:pt x="179" y="8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8" name="Freeform 118"/>
            <p:cNvSpPr>
              <a:spLocks noChangeAspect="1"/>
            </p:cNvSpPr>
            <p:nvPr/>
          </p:nvSpPr>
          <p:spPr bwMode="auto">
            <a:xfrm>
              <a:off x="5824538" y="2870200"/>
              <a:ext cx="412750" cy="266700"/>
            </a:xfrm>
            <a:custGeom>
              <a:avLst/>
              <a:gdLst>
                <a:gd name="T0" fmla="*/ 278988 w 216"/>
                <a:gd name="T1" fmla="*/ 262890 h 140"/>
                <a:gd name="T2" fmla="*/ 294275 w 216"/>
                <a:gd name="T3" fmla="*/ 262890 h 140"/>
                <a:gd name="T4" fmla="*/ 307652 w 216"/>
                <a:gd name="T5" fmla="*/ 238125 h 140"/>
                <a:gd name="T6" fmla="*/ 298097 w 216"/>
                <a:gd name="T7" fmla="*/ 222885 h 140"/>
                <a:gd name="T8" fmla="*/ 286632 w 216"/>
                <a:gd name="T9" fmla="*/ 211455 h 140"/>
                <a:gd name="T10" fmla="*/ 286632 w 216"/>
                <a:gd name="T11" fmla="*/ 198120 h 140"/>
                <a:gd name="T12" fmla="*/ 309563 w 216"/>
                <a:gd name="T13" fmla="*/ 186690 h 140"/>
                <a:gd name="T14" fmla="*/ 305741 w 216"/>
                <a:gd name="T15" fmla="*/ 179070 h 140"/>
                <a:gd name="T16" fmla="*/ 324850 w 216"/>
                <a:gd name="T17" fmla="*/ 163830 h 140"/>
                <a:gd name="T18" fmla="*/ 343958 w 216"/>
                <a:gd name="T19" fmla="*/ 156210 h 140"/>
                <a:gd name="T20" fmla="*/ 353513 w 216"/>
                <a:gd name="T21" fmla="*/ 171450 h 140"/>
                <a:gd name="T22" fmla="*/ 363067 w 216"/>
                <a:gd name="T23" fmla="*/ 179070 h 140"/>
                <a:gd name="T24" fmla="*/ 374532 w 216"/>
                <a:gd name="T25" fmla="*/ 179070 h 140"/>
                <a:gd name="T26" fmla="*/ 393641 w 216"/>
                <a:gd name="T27" fmla="*/ 167640 h 140"/>
                <a:gd name="T28" fmla="*/ 410839 w 216"/>
                <a:gd name="T29" fmla="*/ 154305 h 140"/>
                <a:gd name="T30" fmla="*/ 384087 w 216"/>
                <a:gd name="T31" fmla="*/ 148590 h 140"/>
                <a:gd name="T32" fmla="*/ 368800 w 216"/>
                <a:gd name="T33" fmla="*/ 150495 h 140"/>
                <a:gd name="T34" fmla="*/ 353513 w 216"/>
                <a:gd name="T35" fmla="*/ 139065 h 140"/>
                <a:gd name="T36" fmla="*/ 342047 w 216"/>
                <a:gd name="T37" fmla="*/ 131445 h 140"/>
                <a:gd name="T38" fmla="*/ 351602 w 216"/>
                <a:gd name="T39" fmla="*/ 108585 h 140"/>
                <a:gd name="T40" fmla="*/ 334404 w 216"/>
                <a:gd name="T41" fmla="*/ 118110 h 140"/>
                <a:gd name="T42" fmla="*/ 303830 w 216"/>
                <a:gd name="T43" fmla="*/ 156210 h 140"/>
                <a:gd name="T44" fmla="*/ 290454 w 216"/>
                <a:gd name="T45" fmla="*/ 142875 h 140"/>
                <a:gd name="T46" fmla="*/ 257969 w 216"/>
                <a:gd name="T47" fmla="*/ 146685 h 140"/>
                <a:gd name="T48" fmla="*/ 246504 w 216"/>
                <a:gd name="T49" fmla="*/ 131445 h 140"/>
                <a:gd name="T50" fmla="*/ 233127 w 216"/>
                <a:gd name="T51" fmla="*/ 114300 h 140"/>
                <a:gd name="T52" fmla="*/ 235038 w 216"/>
                <a:gd name="T53" fmla="*/ 95250 h 140"/>
                <a:gd name="T54" fmla="*/ 215929 w 216"/>
                <a:gd name="T55" fmla="*/ 76200 h 140"/>
                <a:gd name="T56" fmla="*/ 196821 w 216"/>
                <a:gd name="T57" fmla="*/ 72390 h 140"/>
                <a:gd name="T58" fmla="*/ 133762 w 216"/>
                <a:gd name="T59" fmla="*/ 74295 h 140"/>
                <a:gd name="T60" fmla="*/ 57326 w 216"/>
                <a:gd name="T61" fmla="*/ 0 h 140"/>
                <a:gd name="T62" fmla="*/ 0 w 216"/>
                <a:gd name="T63" fmla="*/ 17145 h 140"/>
                <a:gd name="T64" fmla="*/ 15287 w 216"/>
                <a:gd name="T65" fmla="*/ 140970 h 140"/>
                <a:gd name="T66" fmla="*/ 36307 w 216"/>
                <a:gd name="T67" fmla="*/ 142875 h 140"/>
                <a:gd name="T68" fmla="*/ 34396 w 216"/>
                <a:gd name="T69" fmla="*/ 114300 h 140"/>
                <a:gd name="T70" fmla="*/ 49683 w 216"/>
                <a:gd name="T71" fmla="*/ 102870 h 140"/>
                <a:gd name="T72" fmla="*/ 57326 w 216"/>
                <a:gd name="T73" fmla="*/ 99060 h 140"/>
                <a:gd name="T74" fmla="*/ 70703 w 216"/>
                <a:gd name="T75" fmla="*/ 102870 h 140"/>
                <a:gd name="T76" fmla="*/ 99366 w 216"/>
                <a:gd name="T77" fmla="*/ 118110 h 140"/>
                <a:gd name="T78" fmla="*/ 108920 w 216"/>
                <a:gd name="T79" fmla="*/ 135255 h 140"/>
                <a:gd name="T80" fmla="*/ 110831 w 216"/>
                <a:gd name="T81" fmla="*/ 144780 h 140"/>
                <a:gd name="T82" fmla="*/ 139494 w 216"/>
                <a:gd name="T83" fmla="*/ 137160 h 140"/>
                <a:gd name="T84" fmla="*/ 154781 w 216"/>
                <a:gd name="T85" fmla="*/ 154305 h 140"/>
                <a:gd name="T86" fmla="*/ 166247 w 216"/>
                <a:gd name="T87" fmla="*/ 167640 h 140"/>
                <a:gd name="T88" fmla="*/ 171979 w 216"/>
                <a:gd name="T89" fmla="*/ 186690 h 140"/>
                <a:gd name="T90" fmla="*/ 212108 w 216"/>
                <a:gd name="T91" fmla="*/ 217170 h 140"/>
                <a:gd name="T92" fmla="*/ 250325 w 216"/>
                <a:gd name="T93" fmla="*/ 238125 h 140"/>
                <a:gd name="T94" fmla="*/ 267523 w 216"/>
                <a:gd name="T95" fmla="*/ 249555 h 140"/>
                <a:gd name="T96" fmla="*/ 269434 w 216"/>
                <a:gd name="T97" fmla="*/ 264795 h 1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16"/>
                <a:gd name="T148" fmla="*/ 0 h 140"/>
                <a:gd name="T149" fmla="*/ 216 w 216"/>
                <a:gd name="T150" fmla="*/ 140 h 1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16" h="140">
                  <a:moveTo>
                    <a:pt x="141" y="139"/>
                  </a:moveTo>
                  <a:cubicBezTo>
                    <a:pt x="142" y="139"/>
                    <a:pt x="144" y="138"/>
                    <a:pt x="146" y="138"/>
                  </a:cubicBezTo>
                  <a:cubicBezTo>
                    <a:pt x="148" y="138"/>
                    <a:pt x="148" y="140"/>
                    <a:pt x="150" y="140"/>
                  </a:cubicBezTo>
                  <a:cubicBezTo>
                    <a:pt x="151" y="140"/>
                    <a:pt x="153" y="139"/>
                    <a:pt x="154" y="138"/>
                  </a:cubicBezTo>
                  <a:cubicBezTo>
                    <a:pt x="154" y="137"/>
                    <a:pt x="154" y="135"/>
                    <a:pt x="154" y="134"/>
                  </a:cubicBezTo>
                  <a:cubicBezTo>
                    <a:pt x="156" y="131"/>
                    <a:pt x="159" y="129"/>
                    <a:pt x="161" y="125"/>
                  </a:cubicBezTo>
                  <a:cubicBezTo>
                    <a:pt x="161" y="124"/>
                    <a:pt x="160" y="122"/>
                    <a:pt x="160" y="121"/>
                  </a:cubicBezTo>
                  <a:cubicBezTo>
                    <a:pt x="159" y="120"/>
                    <a:pt x="157" y="119"/>
                    <a:pt x="156" y="117"/>
                  </a:cubicBezTo>
                  <a:cubicBezTo>
                    <a:pt x="156" y="116"/>
                    <a:pt x="158" y="113"/>
                    <a:pt x="156" y="112"/>
                  </a:cubicBezTo>
                  <a:cubicBezTo>
                    <a:pt x="155" y="110"/>
                    <a:pt x="152" y="112"/>
                    <a:pt x="150" y="111"/>
                  </a:cubicBezTo>
                  <a:cubicBezTo>
                    <a:pt x="149" y="111"/>
                    <a:pt x="148" y="110"/>
                    <a:pt x="148" y="109"/>
                  </a:cubicBezTo>
                  <a:cubicBezTo>
                    <a:pt x="148" y="107"/>
                    <a:pt x="148" y="105"/>
                    <a:pt x="150" y="104"/>
                  </a:cubicBezTo>
                  <a:cubicBezTo>
                    <a:pt x="153" y="103"/>
                    <a:pt x="156" y="104"/>
                    <a:pt x="159" y="103"/>
                  </a:cubicBezTo>
                  <a:cubicBezTo>
                    <a:pt x="161" y="102"/>
                    <a:pt x="161" y="100"/>
                    <a:pt x="162" y="98"/>
                  </a:cubicBezTo>
                  <a:cubicBezTo>
                    <a:pt x="162" y="97"/>
                    <a:pt x="162" y="96"/>
                    <a:pt x="162" y="95"/>
                  </a:cubicBezTo>
                  <a:cubicBezTo>
                    <a:pt x="161" y="94"/>
                    <a:pt x="159" y="95"/>
                    <a:pt x="160" y="94"/>
                  </a:cubicBezTo>
                  <a:cubicBezTo>
                    <a:pt x="163" y="93"/>
                    <a:pt x="166" y="94"/>
                    <a:pt x="168" y="92"/>
                  </a:cubicBezTo>
                  <a:cubicBezTo>
                    <a:pt x="170" y="90"/>
                    <a:pt x="169" y="87"/>
                    <a:pt x="170" y="86"/>
                  </a:cubicBezTo>
                  <a:cubicBezTo>
                    <a:pt x="172" y="85"/>
                    <a:pt x="174" y="87"/>
                    <a:pt x="176" y="87"/>
                  </a:cubicBezTo>
                  <a:cubicBezTo>
                    <a:pt x="178" y="86"/>
                    <a:pt x="178" y="82"/>
                    <a:pt x="180" y="82"/>
                  </a:cubicBezTo>
                  <a:cubicBezTo>
                    <a:pt x="183" y="82"/>
                    <a:pt x="185" y="84"/>
                    <a:pt x="187" y="86"/>
                  </a:cubicBezTo>
                  <a:cubicBezTo>
                    <a:pt x="187" y="88"/>
                    <a:pt x="185" y="89"/>
                    <a:pt x="185" y="90"/>
                  </a:cubicBezTo>
                  <a:cubicBezTo>
                    <a:pt x="185" y="92"/>
                    <a:pt x="186" y="93"/>
                    <a:pt x="187" y="94"/>
                  </a:cubicBezTo>
                  <a:cubicBezTo>
                    <a:pt x="188" y="94"/>
                    <a:pt x="189" y="94"/>
                    <a:pt x="190" y="94"/>
                  </a:cubicBezTo>
                  <a:cubicBezTo>
                    <a:pt x="191" y="93"/>
                    <a:pt x="192" y="92"/>
                    <a:pt x="193" y="92"/>
                  </a:cubicBezTo>
                  <a:cubicBezTo>
                    <a:pt x="194" y="92"/>
                    <a:pt x="195" y="93"/>
                    <a:pt x="196" y="94"/>
                  </a:cubicBezTo>
                  <a:cubicBezTo>
                    <a:pt x="198" y="94"/>
                    <a:pt x="199" y="95"/>
                    <a:pt x="200" y="94"/>
                  </a:cubicBezTo>
                  <a:cubicBezTo>
                    <a:pt x="203" y="93"/>
                    <a:pt x="204" y="89"/>
                    <a:pt x="206" y="88"/>
                  </a:cubicBezTo>
                  <a:cubicBezTo>
                    <a:pt x="208" y="87"/>
                    <a:pt x="210" y="89"/>
                    <a:pt x="212" y="88"/>
                  </a:cubicBezTo>
                  <a:cubicBezTo>
                    <a:pt x="214" y="86"/>
                    <a:pt x="216" y="84"/>
                    <a:pt x="215" y="81"/>
                  </a:cubicBezTo>
                  <a:cubicBezTo>
                    <a:pt x="214" y="79"/>
                    <a:pt x="211" y="80"/>
                    <a:pt x="208" y="79"/>
                  </a:cubicBezTo>
                  <a:cubicBezTo>
                    <a:pt x="206" y="78"/>
                    <a:pt x="203" y="79"/>
                    <a:pt x="201" y="78"/>
                  </a:cubicBezTo>
                  <a:cubicBezTo>
                    <a:pt x="199" y="76"/>
                    <a:pt x="198" y="71"/>
                    <a:pt x="195" y="71"/>
                  </a:cubicBezTo>
                  <a:cubicBezTo>
                    <a:pt x="193" y="72"/>
                    <a:pt x="195" y="77"/>
                    <a:pt x="193" y="79"/>
                  </a:cubicBezTo>
                  <a:cubicBezTo>
                    <a:pt x="191" y="81"/>
                    <a:pt x="188" y="81"/>
                    <a:pt x="185" y="79"/>
                  </a:cubicBezTo>
                  <a:cubicBezTo>
                    <a:pt x="184" y="78"/>
                    <a:pt x="186" y="74"/>
                    <a:pt x="185" y="73"/>
                  </a:cubicBezTo>
                  <a:cubicBezTo>
                    <a:pt x="183" y="72"/>
                    <a:pt x="180" y="74"/>
                    <a:pt x="179" y="73"/>
                  </a:cubicBezTo>
                  <a:cubicBezTo>
                    <a:pt x="178" y="72"/>
                    <a:pt x="178" y="70"/>
                    <a:pt x="179" y="69"/>
                  </a:cubicBezTo>
                  <a:cubicBezTo>
                    <a:pt x="182" y="65"/>
                    <a:pt x="188" y="64"/>
                    <a:pt x="190" y="59"/>
                  </a:cubicBezTo>
                  <a:cubicBezTo>
                    <a:pt x="191" y="58"/>
                    <a:pt x="186" y="58"/>
                    <a:pt x="184" y="57"/>
                  </a:cubicBezTo>
                  <a:cubicBezTo>
                    <a:pt x="182" y="60"/>
                    <a:pt x="181" y="63"/>
                    <a:pt x="178" y="65"/>
                  </a:cubicBezTo>
                  <a:cubicBezTo>
                    <a:pt x="177" y="66"/>
                    <a:pt x="176" y="62"/>
                    <a:pt x="175" y="62"/>
                  </a:cubicBezTo>
                  <a:cubicBezTo>
                    <a:pt x="172" y="63"/>
                    <a:pt x="171" y="66"/>
                    <a:pt x="169" y="68"/>
                  </a:cubicBezTo>
                  <a:cubicBezTo>
                    <a:pt x="166" y="73"/>
                    <a:pt x="164" y="79"/>
                    <a:pt x="159" y="82"/>
                  </a:cubicBezTo>
                  <a:cubicBezTo>
                    <a:pt x="157" y="83"/>
                    <a:pt x="154" y="82"/>
                    <a:pt x="152" y="80"/>
                  </a:cubicBezTo>
                  <a:cubicBezTo>
                    <a:pt x="151" y="79"/>
                    <a:pt x="154" y="76"/>
                    <a:pt x="152" y="75"/>
                  </a:cubicBezTo>
                  <a:cubicBezTo>
                    <a:pt x="151" y="74"/>
                    <a:pt x="148" y="76"/>
                    <a:pt x="146" y="76"/>
                  </a:cubicBezTo>
                  <a:cubicBezTo>
                    <a:pt x="143" y="77"/>
                    <a:pt x="139" y="78"/>
                    <a:pt x="135" y="77"/>
                  </a:cubicBezTo>
                  <a:cubicBezTo>
                    <a:pt x="134" y="77"/>
                    <a:pt x="132" y="76"/>
                    <a:pt x="131" y="75"/>
                  </a:cubicBezTo>
                  <a:cubicBezTo>
                    <a:pt x="130" y="73"/>
                    <a:pt x="131" y="70"/>
                    <a:pt x="129" y="69"/>
                  </a:cubicBezTo>
                  <a:cubicBezTo>
                    <a:pt x="128" y="68"/>
                    <a:pt x="125" y="70"/>
                    <a:pt x="124" y="69"/>
                  </a:cubicBezTo>
                  <a:cubicBezTo>
                    <a:pt x="122" y="67"/>
                    <a:pt x="122" y="63"/>
                    <a:pt x="122" y="60"/>
                  </a:cubicBezTo>
                  <a:cubicBezTo>
                    <a:pt x="122" y="59"/>
                    <a:pt x="124" y="58"/>
                    <a:pt x="124" y="56"/>
                  </a:cubicBezTo>
                  <a:cubicBezTo>
                    <a:pt x="124" y="54"/>
                    <a:pt x="124" y="52"/>
                    <a:pt x="123" y="50"/>
                  </a:cubicBezTo>
                  <a:cubicBezTo>
                    <a:pt x="121" y="47"/>
                    <a:pt x="120" y="43"/>
                    <a:pt x="117" y="40"/>
                  </a:cubicBezTo>
                  <a:cubicBezTo>
                    <a:pt x="116" y="39"/>
                    <a:pt x="114" y="41"/>
                    <a:pt x="113" y="40"/>
                  </a:cubicBezTo>
                  <a:cubicBezTo>
                    <a:pt x="111" y="39"/>
                    <a:pt x="113" y="35"/>
                    <a:pt x="111" y="34"/>
                  </a:cubicBezTo>
                  <a:cubicBezTo>
                    <a:pt x="108" y="34"/>
                    <a:pt x="106" y="39"/>
                    <a:pt x="103" y="38"/>
                  </a:cubicBezTo>
                  <a:lnTo>
                    <a:pt x="81" y="36"/>
                  </a:lnTo>
                  <a:cubicBezTo>
                    <a:pt x="77" y="37"/>
                    <a:pt x="73" y="38"/>
                    <a:pt x="70" y="39"/>
                  </a:cubicBezTo>
                  <a:cubicBezTo>
                    <a:pt x="67" y="34"/>
                    <a:pt x="65" y="29"/>
                    <a:pt x="62" y="24"/>
                  </a:cubicBezTo>
                  <a:cubicBezTo>
                    <a:pt x="52" y="16"/>
                    <a:pt x="41" y="8"/>
                    <a:pt x="30" y="0"/>
                  </a:cubicBezTo>
                  <a:cubicBezTo>
                    <a:pt x="25" y="1"/>
                    <a:pt x="20" y="2"/>
                    <a:pt x="15" y="3"/>
                  </a:cubicBezTo>
                  <a:cubicBezTo>
                    <a:pt x="10" y="5"/>
                    <a:pt x="5" y="7"/>
                    <a:pt x="0" y="9"/>
                  </a:cubicBezTo>
                  <a:cubicBezTo>
                    <a:pt x="1" y="30"/>
                    <a:pt x="3" y="52"/>
                    <a:pt x="4" y="73"/>
                  </a:cubicBezTo>
                  <a:cubicBezTo>
                    <a:pt x="5" y="74"/>
                    <a:pt x="7" y="73"/>
                    <a:pt x="8" y="74"/>
                  </a:cubicBezTo>
                  <a:cubicBezTo>
                    <a:pt x="11" y="75"/>
                    <a:pt x="14" y="76"/>
                    <a:pt x="17" y="76"/>
                  </a:cubicBezTo>
                  <a:cubicBezTo>
                    <a:pt x="18" y="76"/>
                    <a:pt x="19" y="76"/>
                    <a:pt x="19" y="75"/>
                  </a:cubicBezTo>
                  <a:cubicBezTo>
                    <a:pt x="19" y="73"/>
                    <a:pt x="17" y="70"/>
                    <a:pt x="17" y="67"/>
                  </a:cubicBezTo>
                  <a:cubicBezTo>
                    <a:pt x="16" y="65"/>
                    <a:pt x="16" y="62"/>
                    <a:pt x="18" y="60"/>
                  </a:cubicBezTo>
                  <a:cubicBezTo>
                    <a:pt x="19" y="59"/>
                    <a:pt x="22" y="60"/>
                    <a:pt x="23" y="59"/>
                  </a:cubicBezTo>
                  <a:cubicBezTo>
                    <a:pt x="25" y="58"/>
                    <a:pt x="24" y="54"/>
                    <a:pt x="26" y="54"/>
                  </a:cubicBezTo>
                  <a:cubicBezTo>
                    <a:pt x="29" y="53"/>
                    <a:pt x="30" y="59"/>
                    <a:pt x="32" y="58"/>
                  </a:cubicBezTo>
                  <a:cubicBezTo>
                    <a:pt x="34" y="57"/>
                    <a:pt x="29" y="54"/>
                    <a:pt x="30" y="52"/>
                  </a:cubicBezTo>
                  <a:cubicBezTo>
                    <a:pt x="30" y="50"/>
                    <a:pt x="34" y="50"/>
                    <a:pt x="36" y="51"/>
                  </a:cubicBezTo>
                  <a:cubicBezTo>
                    <a:pt x="37" y="51"/>
                    <a:pt x="36" y="53"/>
                    <a:pt x="37" y="54"/>
                  </a:cubicBezTo>
                  <a:cubicBezTo>
                    <a:pt x="38" y="56"/>
                    <a:pt x="41" y="57"/>
                    <a:pt x="42" y="58"/>
                  </a:cubicBezTo>
                  <a:cubicBezTo>
                    <a:pt x="46" y="59"/>
                    <a:pt x="50" y="60"/>
                    <a:pt x="52" y="62"/>
                  </a:cubicBezTo>
                  <a:cubicBezTo>
                    <a:pt x="52" y="65"/>
                    <a:pt x="50" y="65"/>
                    <a:pt x="50" y="66"/>
                  </a:cubicBezTo>
                  <a:cubicBezTo>
                    <a:pt x="52" y="68"/>
                    <a:pt x="56" y="68"/>
                    <a:pt x="57" y="71"/>
                  </a:cubicBezTo>
                  <a:cubicBezTo>
                    <a:pt x="58" y="73"/>
                    <a:pt x="54" y="73"/>
                    <a:pt x="54" y="75"/>
                  </a:cubicBezTo>
                  <a:cubicBezTo>
                    <a:pt x="54" y="77"/>
                    <a:pt x="57" y="76"/>
                    <a:pt x="58" y="76"/>
                  </a:cubicBezTo>
                  <a:cubicBezTo>
                    <a:pt x="62" y="76"/>
                    <a:pt x="66" y="76"/>
                    <a:pt x="70" y="75"/>
                  </a:cubicBezTo>
                  <a:cubicBezTo>
                    <a:pt x="72" y="75"/>
                    <a:pt x="72" y="71"/>
                    <a:pt x="73" y="72"/>
                  </a:cubicBezTo>
                  <a:cubicBezTo>
                    <a:pt x="76" y="73"/>
                    <a:pt x="78" y="76"/>
                    <a:pt x="80" y="79"/>
                  </a:cubicBezTo>
                  <a:cubicBezTo>
                    <a:pt x="81" y="80"/>
                    <a:pt x="80" y="80"/>
                    <a:pt x="81" y="81"/>
                  </a:cubicBezTo>
                  <a:cubicBezTo>
                    <a:pt x="81" y="83"/>
                    <a:pt x="82" y="86"/>
                    <a:pt x="84" y="88"/>
                  </a:cubicBezTo>
                  <a:cubicBezTo>
                    <a:pt x="84" y="89"/>
                    <a:pt x="86" y="87"/>
                    <a:pt x="87" y="88"/>
                  </a:cubicBezTo>
                  <a:cubicBezTo>
                    <a:pt x="88" y="90"/>
                    <a:pt x="86" y="92"/>
                    <a:pt x="87" y="94"/>
                  </a:cubicBezTo>
                  <a:cubicBezTo>
                    <a:pt x="87" y="95"/>
                    <a:pt x="88" y="97"/>
                    <a:pt x="90" y="98"/>
                  </a:cubicBezTo>
                  <a:cubicBezTo>
                    <a:pt x="93" y="101"/>
                    <a:pt x="96" y="104"/>
                    <a:pt x="100" y="107"/>
                  </a:cubicBezTo>
                  <a:cubicBezTo>
                    <a:pt x="104" y="109"/>
                    <a:pt x="107" y="112"/>
                    <a:pt x="111" y="114"/>
                  </a:cubicBezTo>
                  <a:cubicBezTo>
                    <a:pt x="116" y="118"/>
                    <a:pt x="122" y="122"/>
                    <a:pt x="127" y="125"/>
                  </a:cubicBezTo>
                  <a:cubicBezTo>
                    <a:pt x="128" y="125"/>
                    <a:pt x="130" y="124"/>
                    <a:pt x="131" y="125"/>
                  </a:cubicBezTo>
                  <a:cubicBezTo>
                    <a:pt x="134" y="126"/>
                    <a:pt x="136" y="128"/>
                    <a:pt x="139" y="130"/>
                  </a:cubicBezTo>
                  <a:cubicBezTo>
                    <a:pt x="139" y="130"/>
                    <a:pt x="140" y="130"/>
                    <a:pt x="140" y="131"/>
                  </a:cubicBezTo>
                  <a:cubicBezTo>
                    <a:pt x="141" y="132"/>
                    <a:pt x="140" y="134"/>
                    <a:pt x="140" y="136"/>
                  </a:cubicBezTo>
                  <a:cubicBezTo>
                    <a:pt x="140" y="137"/>
                    <a:pt x="140" y="138"/>
                    <a:pt x="141" y="1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9" name="Freeform 119"/>
            <p:cNvSpPr>
              <a:spLocks noChangeAspect="1"/>
            </p:cNvSpPr>
            <p:nvPr/>
          </p:nvSpPr>
          <p:spPr bwMode="auto">
            <a:xfrm>
              <a:off x="5956300" y="3098800"/>
              <a:ext cx="330200" cy="268288"/>
            </a:xfrm>
            <a:custGeom>
              <a:avLst/>
              <a:gdLst>
                <a:gd name="T0" fmla="*/ 36265 w 173"/>
                <a:gd name="T1" fmla="*/ 260677 h 141"/>
                <a:gd name="T2" fmla="*/ 93525 w 173"/>
                <a:gd name="T3" fmla="*/ 264482 h 141"/>
                <a:gd name="T4" fmla="*/ 104977 w 173"/>
                <a:gd name="T5" fmla="*/ 264482 h 141"/>
                <a:gd name="T6" fmla="*/ 146968 w 173"/>
                <a:gd name="T7" fmla="*/ 256871 h 141"/>
                <a:gd name="T8" fmla="*/ 145059 w 173"/>
                <a:gd name="T9" fmla="*/ 237844 h 141"/>
                <a:gd name="T10" fmla="*/ 166054 w 173"/>
                <a:gd name="T11" fmla="*/ 216914 h 141"/>
                <a:gd name="T12" fmla="*/ 175598 w 173"/>
                <a:gd name="T13" fmla="*/ 216914 h 141"/>
                <a:gd name="T14" fmla="*/ 183232 w 173"/>
                <a:gd name="T15" fmla="*/ 211205 h 141"/>
                <a:gd name="T16" fmla="*/ 198502 w 173"/>
                <a:gd name="T17" fmla="*/ 203594 h 141"/>
                <a:gd name="T18" fmla="*/ 213771 w 173"/>
                <a:gd name="T19" fmla="*/ 199789 h 141"/>
                <a:gd name="T20" fmla="*/ 211862 w 173"/>
                <a:gd name="T21" fmla="*/ 182664 h 141"/>
                <a:gd name="T22" fmla="*/ 230949 w 173"/>
                <a:gd name="T23" fmla="*/ 165539 h 141"/>
                <a:gd name="T24" fmla="*/ 223314 w 173"/>
                <a:gd name="T25" fmla="*/ 140804 h 141"/>
                <a:gd name="T26" fmla="*/ 236675 w 173"/>
                <a:gd name="T27" fmla="*/ 140804 h 141"/>
                <a:gd name="T28" fmla="*/ 253853 w 173"/>
                <a:gd name="T29" fmla="*/ 125582 h 141"/>
                <a:gd name="T30" fmla="*/ 261488 w 173"/>
                <a:gd name="T31" fmla="*/ 108457 h 141"/>
                <a:gd name="T32" fmla="*/ 248127 w 173"/>
                <a:gd name="T33" fmla="*/ 79916 h 141"/>
                <a:gd name="T34" fmla="*/ 263397 w 173"/>
                <a:gd name="T35" fmla="*/ 68499 h 141"/>
                <a:gd name="T36" fmla="*/ 307296 w 173"/>
                <a:gd name="T37" fmla="*/ 49472 h 141"/>
                <a:gd name="T38" fmla="*/ 328291 w 173"/>
                <a:gd name="T39" fmla="*/ 45666 h 141"/>
                <a:gd name="T40" fmla="*/ 330200 w 173"/>
                <a:gd name="T41" fmla="*/ 34250 h 141"/>
                <a:gd name="T42" fmla="*/ 307296 w 173"/>
                <a:gd name="T43" fmla="*/ 41861 h 141"/>
                <a:gd name="T44" fmla="*/ 286301 w 173"/>
                <a:gd name="T45" fmla="*/ 41861 h 141"/>
                <a:gd name="T46" fmla="*/ 267214 w 173"/>
                <a:gd name="T47" fmla="*/ 47569 h 141"/>
                <a:gd name="T48" fmla="*/ 255762 w 173"/>
                <a:gd name="T49" fmla="*/ 49472 h 141"/>
                <a:gd name="T50" fmla="*/ 251945 w 173"/>
                <a:gd name="T51" fmla="*/ 19028 h 141"/>
                <a:gd name="T52" fmla="*/ 242401 w 173"/>
                <a:gd name="T53" fmla="*/ 7611 h 141"/>
                <a:gd name="T54" fmla="*/ 213771 w 173"/>
                <a:gd name="T55" fmla="*/ 19028 h 141"/>
                <a:gd name="T56" fmla="*/ 208045 w 173"/>
                <a:gd name="T57" fmla="*/ 26639 h 141"/>
                <a:gd name="T58" fmla="*/ 202319 w 173"/>
                <a:gd name="T59" fmla="*/ 43763 h 141"/>
                <a:gd name="T60" fmla="*/ 179415 w 173"/>
                <a:gd name="T61" fmla="*/ 47569 h 141"/>
                <a:gd name="T62" fmla="*/ 162237 w 173"/>
                <a:gd name="T63" fmla="*/ 34250 h 141"/>
                <a:gd name="T64" fmla="*/ 146968 w 173"/>
                <a:gd name="T65" fmla="*/ 34250 h 141"/>
                <a:gd name="T66" fmla="*/ 129790 w 173"/>
                <a:gd name="T67" fmla="*/ 36152 h 141"/>
                <a:gd name="T68" fmla="*/ 110703 w 173"/>
                <a:gd name="T69" fmla="*/ 36152 h 141"/>
                <a:gd name="T70" fmla="*/ 97342 w 173"/>
                <a:gd name="T71" fmla="*/ 38055 h 141"/>
                <a:gd name="T72" fmla="*/ 87799 w 173"/>
                <a:gd name="T73" fmla="*/ 62791 h 141"/>
                <a:gd name="T74" fmla="*/ 61077 w 173"/>
                <a:gd name="T75" fmla="*/ 81818 h 141"/>
                <a:gd name="T76" fmla="*/ 51534 w 173"/>
                <a:gd name="T77" fmla="*/ 98943 h 141"/>
                <a:gd name="T78" fmla="*/ 38173 w 173"/>
                <a:gd name="T79" fmla="*/ 97040 h 141"/>
                <a:gd name="T80" fmla="*/ 19087 w 173"/>
                <a:gd name="T81" fmla="*/ 91332 h 141"/>
                <a:gd name="T82" fmla="*/ 5726 w 173"/>
                <a:gd name="T83" fmla="*/ 117971 h 141"/>
                <a:gd name="T84" fmla="*/ 3817 w 173"/>
                <a:gd name="T85" fmla="*/ 123679 h 141"/>
                <a:gd name="T86" fmla="*/ 7635 w 173"/>
                <a:gd name="T87" fmla="*/ 152220 h 141"/>
                <a:gd name="T88" fmla="*/ 7635 w 173"/>
                <a:gd name="T89" fmla="*/ 171248 h 141"/>
                <a:gd name="T90" fmla="*/ 17178 w 173"/>
                <a:gd name="T91" fmla="*/ 211205 h 141"/>
                <a:gd name="T92" fmla="*/ 36265 w 173"/>
                <a:gd name="T93" fmla="*/ 226427 h 141"/>
                <a:gd name="T94" fmla="*/ 19087 w 173"/>
                <a:gd name="T95" fmla="*/ 256871 h 14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73"/>
                <a:gd name="T145" fmla="*/ 0 h 141"/>
                <a:gd name="T146" fmla="*/ 173 w 173"/>
                <a:gd name="T147" fmla="*/ 141 h 14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73" h="141">
                  <a:moveTo>
                    <a:pt x="10" y="135"/>
                  </a:moveTo>
                  <a:cubicBezTo>
                    <a:pt x="13" y="136"/>
                    <a:pt x="16" y="136"/>
                    <a:pt x="19" y="137"/>
                  </a:cubicBezTo>
                  <a:cubicBezTo>
                    <a:pt x="23" y="138"/>
                    <a:pt x="28" y="139"/>
                    <a:pt x="32" y="140"/>
                  </a:cubicBezTo>
                  <a:cubicBezTo>
                    <a:pt x="38" y="140"/>
                    <a:pt x="43" y="138"/>
                    <a:pt x="49" y="139"/>
                  </a:cubicBezTo>
                  <a:cubicBezTo>
                    <a:pt x="50" y="139"/>
                    <a:pt x="51" y="140"/>
                    <a:pt x="53" y="140"/>
                  </a:cubicBezTo>
                  <a:cubicBezTo>
                    <a:pt x="54" y="140"/>
                    <a:pt x="54" y="139"/>
                    <a:pt x="55" y="139"/>
                  </a:cubicBezTo>
                  <a:cubicBezTo>
                    <a:pt x="57" y="139"/>
                    <a:pt x="59" y="141"/>
                    <a:pt x="62" y="141"/>
                  </a:cubicBezTo>
                  <a:cubicBezTo>
                    <a:pt x="67" y="140"/>
                    <a:pt x="73" y="138"/>
                    <a:pt x="77" y="135"/>
                  </a:cubicBezTo>
                  <a:cubicBezTo>
                    <a:pt x="79" y="134"/>
                    <a:pt x="78" y="132"/>
                    <a:pt x="78" y="131"/>
                  </a:cubicBezTo>
                  <a:cubicBezTo>
                    <a:pt x="77" y="129"/>
                    <a:pt x="76" y="127"/>
                    <a:pt x="76" y="125"/>
                  </a:cubicBezTo>
                  <a:cubicBezTo>
                    <a:pt x="77" y="122"/>
                    <a:pt x="79" y="119"/>
                    <a:pt x="81" y="116"/>
                  </a:cubicBezTo>
                  <a:cubicBezTo>
                    <a:pt x="82" y="114"/>
                    <a:pt x="85" y="114"/>
                    <a:pt x="87" y="114"/>
                  </a:cubicBezTo>
                  <a:cubicBezTo>
                    <a:pt x="87" y="114"/>
                    <a:pt x="86" y="116"/>
                    <a:pt x="87" y="116"/>
                  </a:cubicBezTo>
                  <a:cubicBezTo>
                    <a:pt x="89" y="116"/>
                    <a:pt x="91" y="115"/>
                    <a:pt x="92" y="114"/>
                  </a:cubicBezTo>
                  <a:cubicBezTo>
                    <a:pt x="93" y="113"/>
                    <a:pt x="90" y="111"/>
                    <a:pt x="90" y="111"/>
                  </a:cubicBezTo>
                  <a:cubicBezTo>
                    <a:pt x="92" y="109"/>
                    <a:pt x="94" y="112"/>
                    <a:pt x="96" y="111"/>
                  </a:cubicBezTo>
                  <a:cubicBezTo>
                    <a:pt x="98" y="109"/>
                    <a:pt x="98" y="106"/>
                    <a:pt x="100" y="105"/>
                  </a:cubicBezTo>
                  <a:cubicBezTo>
                    <a:pt x="102" y="104"/>
                    <a:pt x="103" y="106"/>
                    <a:pt x="104" y="107"/>
                  </a:cubicBezTo>
                  <a:cubicBezTo>
                    <a:pt x="106" y="108"/>
                    <a:pt x="107" y="110"/>
                    <a:pt x="108" y="110"/>
                  </a:cubicBezTo>
                  <a:cubicBezTo>
                    <a:pt x="110" y="109"/>
                    <a:pt x="112" y="107"/>
                    <a:pt x="112" y="105"/>
                  </a:cubicBezTo>
                  <a:cubicBezTo>
                    <a:pt x="113" y="104"/>
                    <a:pt x="110" y="104"/>
                    <a:pt x="110" y="102"/>
                  </a:cubicBezTo>
                  <a:cubicBezTo>
                    <a:pt x="110" y="100"/>
                    <a:pt x="110" y="98"/>
                    <a:pt x="111" y="96"/>
                  </a:cubicBezTo>
                  <a:cubicBezTo>
                    <a:pt x="112" y="93"/>
                    <a:pt x="112" y="89"/>
                    <a:pt x="114" y="88"/>
                  </a:cubicBezTo>
                  <a:cubicBezTo>
                    <a:pt x="116" y="86"/>
                    <a:pt x="120" y="89"/>
                    <a:pt x="121" y="87"/>
                  </a:cubicBezTo>
                  <a:cubicBezTo>
                    <a:pt x="123" y="86"/>
                    <a:pt x="122" y="83"/>
                    <a:pt x="121" y="81"/>
                  </a:cubicBezTo>
                  <a:cubicBezTo>
                    <a:pt x="120" y="78"/>
                    <a:pt x="118" y="76"/>
                    <a:pt x="117" y="74"/>
                  </a:cubicBezTo>
                  <a:cubicBezTo>
                    <a:pt x="117" y="73"/>
                    <a:pt x="117" y="71"/>
                    <a:pt x="118" y="71"/>
                  </a:cubicBezTo>
                  <a:cubicBezTo>
                    <a:pt x="120" y="71"/>
                    <a:pt x="121" y="74"/>
                    <a:pt x="124" y="74"/>
                  </a:cubicBezTo>
                  <a:cubicBezTo>
                    <a:pt x="126" y="74"/>
                    <a:pt x="129" y="73"/>
                    <a:pt x="130" y="72"/>
                  </a:cubicBezTo>
                  <a:cubicBezTo>
                    <a:pt x="132" y="70"/>
                    <a:pt x="132" y="68"/>
                    <a:pt x="133" y="66"/>
                  </a:cubicBezTo>
                  <a:cubicBezTo>
                    <a:pt x="133" y="65"/>
                    <a:pt x="132" y="64"/>
                    <a:pt x="133" y="63"/>
                  </a:cubicBezTo>
                  <a:cubicBezTo>
                    <a:pt x="134" y="61"/>
                    <a:pt x="137" y="59"/>
                    <a:pt x="137" y="57"/>
                  </a:cubicBezTo>
                  <a:cubicBezTo>
                    <a:pt x="138" y="53"/>
                    <a:pt x="136" y="49"/>
                    <a:pt x="134" y="45"/>
                  </a:cubicBezTo>
                  <a:cubicBezTo>
                    <a:pt x="134" y="43"/>
                    <a:pt x="131" y="43"/>
                    <a:pt x="130" y="42"/>
                  </a:cubicBezTo>
                  <a:cubicBezTo>
                    <a:pt x="130" y="40"/>
                    <a:pt x="131" y="37"/>
                    <a:pt x="133" y="36"/>
                  </a:cubicBezTo>
                  <a:cubicBezTo>
                    <a:pt x="135" y="35"/>
                    <a:pt x="137" y="37"/>
                    <a:pt x="138" y="36"/>
                  </a:cubicBezTo>
                  <a:cubicBezTo>
                    <a:pt x="143" y="34"/>
                    <a:pt x="145" y="29"/>
                    <a:pt x="149" y="27"/>
                  </a:cubicBezTo>
                  <a:cubicBezTo>
                    <a:pt x="153" y="25"/>
                    <a:pt x="157" y="26"/>
                    <a:pt x="161" y="26"/>
                  </a:cubicBezTo>
                  <a:cubicBezTo>
                    <a:pt x="162" y="26"/>
                    <a:pt x="164" y="27"/>
                    <a:pt x="166" y="27"/>
                  </a:cubicBezTo>
                  <a:cubicBezTo>
                    <a:pt x="168" y="27"/>
                    <a:pt x="170" y="25"/>
                    <a:pt x="172" y="24"/>
                  </a:cubicBezTo>
                  <a:cubicBezTo>
                    <a:pt x="171" y="24"/>
                    <a:pt x="171" y="23"/>
                    <a:pt x="171" y="22"/>
                  </a:cubicBezTo>
                  <a:cubicBezTo>
                    <a:pt x="171" y="21"/>
                    <a:pt x="172" y="20"/>
                    <a:pt x="173" y="18"/>
                  </a:cubicBezTo>
                  <a:cubicBezTo>
                    <a:pt x="172" y="18"/>
                    <a:pt x="171" y="18"/>
                    <a:pt x="170" y="18"/>
                  </a:cubicBezTo>
                  <a:cubicBezTo>
                    <a:pt x="167" y="19"/>
                    <a:pt x="164" y="22"/>
                    <a:pt x="161" y="22"/>
                  </a:cubicBezTo>
                  <a:cubicBezTo>
                    <a:pt x="159" y="22"/>
                    <a:pt x="159" y="19"/>
                    <a:pt x="157" y="19"/>
                  </a:cubicBezTo>
                  <a:cubicBezTo>
                    <a:pt x="155" y="19"/>
                    <a:pt x="152" y="21"/>
                    <a:pt x="150" y="22"/>
                  </a:cubicBezTo>
                  <a:cubicBezTo>
                    <a:pt x="148" y="23"/>
                    <a:pt x="146" y="24"/>
                    <a:pt x="144" y="24"/>
                  </a:cubicBezTo>
                  <a:cubicBezTo>
                    <a:pt x="143" y="25"/>
                    <a:pt x="141" y="24"/>
                    <a:pt x="140" y="25"/>
                  </a:cubicBezTo>
                  <a:cubicBezTo>
                    <a:pt x="139" y="26"/>
                    <a:pt x="139" y="29"/>
                    <a:pt x="137" y="30"/>
                  </a:cubicBezTo>
                  <a:cubicBezTo>
                    <a:pt x="135" y="30"/>
                    <a:pt x="135" y="27"/>
                    <a:pt x="134" y="26"/>
                  </a:cubicBezTo>
                  <a:cubicBezTo>
                    <a:pt x="133" y="23"/>
                    <a:pt x="132" y="21"/>
                    <a:pt x="132" y="19"/>
                  </a:cubicBezTo>
                  <a:cubicBezTo>
                    <a:pt x="131" y="16"/>
                    <a:pt x="133" y="12"/>
                    <a:pt x="132" y="10"/>
                  </a:cubicBezTo>
                  <a:cubicBezTo>
                    <a:pt x="131" y="8"/>
                    <a:pt x="128" y="11"/>
                    <a:pt x="127" y="10"/>
                  </a:cubicBezTo>
                  <a:cubicBezTo>
                    <a:pt x="126" y="8"/>
                    <a:pt x="128" y="6"/>
                    <a:pt x="127" y="4"/>
                  </a:cubicBezTo>
                  <a:cubicBezTo>
                    <a:pt x="126" y="2"/>
                    <a:pt x="123" y="0"/>
                    <a:pt x="120" y="1"/>
                  </a:cubicBezTo>
                  <a:cubicBezTo>
                    <a:pt x="116" y="2"/>
                    <a:pt x="113" y="6"/>
                    <a:pt x="112" y="10"/>
                  </a:cubicBezTo>
                  <a:cubicBezTo>
                    <a:pt x="112" y="12"/>
                    <a:pt x="117" y="12"/>
                    <a:pt x="116" y="13"/>
                  </a:cubicBezTo>
                  <a:cubicBezTo>
                    <a:pt x="115" y="15"/>
                    <a:pt x="111" y="13"/>
                    <a:pt x="109" y="14"/>
                  </a:cubicBezTo>
                  <a:cubicBezTo>
                    <a:pt x="107" y="15"/>
                    <a:pt x="107" y="17"/>
                    <a:pt x="106" y="19"/>
                  </a:cubicBezTo>
                  <a:cubicBezTo>
                    <a:pt x="106" y="20"/>
                    <a:pt x="107" y="23"/>
                    <a:pt x="106" y="23"/>
                  </a:cubicBezTo>
                  <a:cubicBezTo>
                    <a:pt x="104" y="22"/>
                    <a:pt x="104" y="18"/>
                    <a:pt x="102" y="19"/>
                  </a:cubicBezTo>
                  <a:cubicBezTo>
                    <a:pt x="99" y="19"/>
                    <a:pt x="97" y="24"/>
                    <a:pt x="94" y="25"/>
                  </a:cubicBezTo>
                  <a:cubicBezTo>
                    <a:pt x="92" y="25"/>
                    <a:pt x="90" y="24"/>
                    <a:pt x="88" y="23"/>
                  </a:cubicBezTo>
                  <a:cubicBezTo>
                    <a:pt x="87" y="21"/>
                    <a:pt x="86" y="20"/>
                    <a:pt x="85" y="18"/>
                  </a:cubicBezTo>
                  <a:cubicBezTo>
                    <a:pt x="84" y="19"/>
                    <a:pt x="82" y="20"/>
                    <a:pt x="81" y="20"/>
                  </a:cubicBezTo>
                  <a:cubicBezTo>
                    <a:pt x="79" y="20"/>
                    <a:pt x="79" y="18"/>
                    <a:pt x="77" y="18"/>
                  </a:cubicBezTo>
                  <a:cubicBezTo>
                    <a:pt x="75" y="18"/>
                    <a:pt x="73" y="19"/>
                    <a:pt x="72" y="19"/>
                  </a:cubicBezTo>
                  <a:cubicBezTo>
                    <a:pt x="70" y="19"/>
                    <a:pt x="69" y="19"/>
                    <a:pt x="68" y="19"/>
                  </a:cubicBezTo>
                  <a:cubicBezTo>
                    <a:pt x="66" y="18"/>
                    <a:pt x="64" y="16"/>
                    <a:pt x="61" y="16"/>
                  </a:cubicBezTo>
                  <a:cubicBezTo>
                    <a:pt x="60" y="16"/>
                    <a:pt x="59" y="18"/>
                    <a:pt x="58" y="19"/>
                  </a:cubicBezTo>
                  <a:cubicBezTo>
                    <a:pt x="58" y="20"/>
                    <a:pt x="57" y="20"/>
                    <a:pt x="56" y="20"/>
                  </a:cubicBezTo>
                  <a:cubicBezTo>
                    <a:pt x="54" y="20"/>
                    <a:pt x="53" y="20"/>
                    <a:pt x="51" y="20"/>
                  </a:cubicBezTo>
                  <a:cubicBezTo>
                    <a:pt x="50" y="21"/>
                    <a:pt x="49" y="22"/>
                    <a:pt x="49" y="23"/>
                  </a:cubicBezTo>
                  <a:cubicBezTo>
                    <a:pt x="47" y="26"/>
                    <a:pt x="48" y="30"/>
                    <a:pt x="46" y="33"/>
                  </a:cubicBezTo>
                  <a:cubicBezTo>
                    <a:pt x="44" y="36"/>
                    <a:pt x="41" y="39"/>
                    <a:pt x="37" y="41"/>
                  </a:cubicBezTo>
                  <a:cubicBezTo>
                    <a:pt x="36" y="42"/>
                    <a:pt x="33" y="42"/>
                    <a:pt x="32" y="43"/>
                  </a:cubicBezTo>
                  <a:cubicBezTo>
                    <a:pt x="31" y="44"/>
                    <a:pt x="32" y="46"/>
                    <a:pt x="31" y="47"/>
                  </a:cubicBezTo>
                  <a:cubicBezTo>
                    <a:pt x="30" y="49"/>
                    <a:pt x="29" y="51"/>
                    <a:pt x="27" y="52"/>
                  </a:cubicBezTo>
                  <a:cubicBezTo>
                    <a:pt x="26" y="52"/>
                    <a:pt x="25" y="51"/>
                    <a:pt x="24" y="51"/>
                  </a:cubicBezTo>
                  <a:cubicBezTo>
                    <a:pt x="23" y="51"/>
                    <a:pt x="21" y="52"/>
                    <a:pt x="20" y="51"/>
                  </a:cubicBezTo>
                  <a:cubicBezTo>
                    <a:pt x="18" y="51"/>
                    <a:pt x="16" y="50"/>
                    <a:pt x="14" y="49"/>
                  </a:cubicBezTo>
                  <a:cubicBezTo>
                    <a:pt x="13" y="49"/>
                    <a:pt x="11" y="48"/>
                    <a:pt x="10" y="48"/>
                  </a:cubicBezTo>
                  <a:cubicBezTo>
                    <a:pt x="9" y="50"/>
                    <a:pt x="9" y="53"/>
                    <a:pt x="8" y="55"/>
                  </a:cubicBezTo>
                  <a:cubicBezTo>
                    <a:pt x="7" y="57"/>
                    <a:pt x="4" y="59"/>
                    <a:pt x="3" y="62"/>
                  </a:cubicBezTo>
                  <a:cubicBezTo>
                    <a:pt x="3" y="63"/>
                    <a:pt x="5" y="64"/>
                    <a:pt x="5" y="65"/>
                  </a:cubicBezTo>
                  <a:cubicBezTo>
                    <a:pt x="4" y="66"/>
                    <a:pt x="2" y="64"/>
                    <a:pt x="2" y="65"/>
                  </a:cubicBezTo>
                  <a:cubicBezTo>
                    <a:pt x="1" y="68"/>
                    <a:pt x="0" y="72"/>
                    <a:pt x="1" y="75"/>
                  </a:cubicBezTo>
                  <a:cubicBezTo>
                    <a:pt x="1" y="77"/>
                    <a:pt x="4" y="78"/>
                    <a:pt x="4" y="80"/>
                  </a:cubicBezTo>
                  <a:cubicBezTo>
                    <a:pt x="4" y="82"/>
                    <a:pt x="1" y="82"/>
                    <a:pt x="1" y="84"/>
                  </a:cubicBezTo>
                  <a:cubicBezTo>
                    <a:pt x="1" y="86"/>
                    <a:pt x="4" y="88"/>
                    <a:pt x="4" y="90"/>
                  </a:cubicBezTo>
                  <a:cubicBezTo>
                    <a:pt x="5" y="94"/>
                    <a:pt x="6" y="100"/>
                    <a:pt x="4" y="104"/>
                  </a:cubicBezTo>
                  <a:cubicBezTo>
                    <a:pt x="5" y="107"/>
                    <a:pt x="7" y="109"/>
                    <a:pt x="9" y="111"/>
                  </a:cubicBezTo>
                  <a:cubicBezTo>
                    <a:pt x="11" y="112"/>
                    <a:pt x="15" y="109"/>
                    <a:pt x="17" y="111"/>
                  </a:cubicBezTo>
                  <a:cubicBezTo>
                    <a:pt x="19" y="112"/>
                    <a:pt x="20" y="116"/>
                    <a:pt x="19" y="119"/>
                  </a:cubicBezTo>
                  <a:cubicBezTo>
                    <a:pt x="18" y="123"/>
                    <a:pt x="14" y="126"/>
                    <a:pt x="12" y="130"/>
                  </a:cubicBezTo>
                  <a:cubicBezTo>
                    <a:pt x="11" y="131"/>
                    <a:pt x="11" y="133"/>
                    <a:pt x="10" y="13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0" name="Freeform 120"/>
            <p:cNvSpPr>
              <a:spLocks noChangeAspect="1"/>
            </p:cNvSpPr>
            <p:nvPr/>
          </p:nvSpPr>
          <p:spPr bwMode="auto">
            <a:xfrm>
              <a:off x="5975350" y="3144838"/>
              <a:ext cx="384175" cy="393700"/>
            </a:xfrm>
            <a:custGeom>
              <a:avLst/>
              <a:gdLst>
                <a:gd name="T0" fmla="*/ 376530 w 201"/>
                <a:gd name="T1" fmla="*/ 62764 h 207"/>
                <a:gd name="T2" fmla="*/ 355505 w 201"/>
                <a:gd name="T3" fmla="*/ 79881 h 207"/>
                <a:gd name="T4" fmla="*/ 317279 w 201"/>
                <a:gd name="T5" fmla="*/ 72273 h 207"/>
                <a:gd name="T6" fmla="*/ 309634 w 201"/>
                <a:gd name="T7" fmla="*/ 93195 h 207"/>
                <a:gd name="T8" fmla="*/ 321102 w 201"/>
                <a:gd name="T9" fmla="*/ 127429 h 207"/>
                <a:gd name="T10" fmla="*/ 336392 w 201"/>
                <a:gd name="T11" fmla="*/ 131233 h 207"/>
                <a:gd name="T12" fmla="*/ 330658 w 201"/>
                <a:gd name="T13" fmla="*/ 150253 h 207"/>
                <a:gd name="T14" fmla="*/ 326835 w 201"/>
                <a:gd name="T15" fmla="*/ 167370 h 207"/>
                <a:gd name="T16" fmla="*/ 326835 w 201"/>
                <a:gd name="T17" fmla="*/ 180684 h 207"/>
                <a:gd name="T18" fmla="*/ 313456 w 201"/>
                <a:gd name="T19" fmla="*/ 197801 h 207"/>
                <a:gd name="T20" fmla="*/ 298166 w 201"/>
                <a:gd name="T21" fmla="*/ 213016 h 207"/>
                <a:gd name="T22" fmla="*/ 282875 w 201"/>
                <a:gd name="T23" fmla="*/ 245349 h 207"/>
                <a:gd name="T24" fmla="*/ 267585 w 201"/>
                <a:gd name="T25" fmla="*/ 258663 h 207"/>
                <a:gd name="T26" fmla="*/ 256117 w 201"/>
                <a:gd name="T27" fmla="*/ 271976 h 207"/>
                <a:gd name="T28" fmla="*/ 237003 w 201"/>
                <a:gd name="T29" fmla="*/ 271976 h 207"/>
                <a:gd name="T30" fmla="*/ 210245 w 201"/>
                <a:gd name="T31" fmla="*/ 300505 h 207"/>
                <a:gd name="T32" fmla="*/ 223624 w 201"/>
                <a:gd name="T33" fmla="*/ 310015 h 207"/>
                <a:gd name="T34" fmla="*/ 229358 w 201"/>
                <a:gd name="T35" fmla="*/ 327132 h 207"/>
                <a:gd name="T36" fmla="*/ 246560 w 201"/>
                <a:gd name="T37" fmla="*/ 340446 h 207"/>
                <a:gd name="T38" fmla="*/ 258028 w 201"/>
                <a:gd name="T39" fmla="*/ 368975 h 207"/>
                <a:gd name="T40" fmla="*/ 256117 w 201"/>
                <a:gd name="T41" fmla="*/ 378485 h 207"/>
                <a:gd name="T42" fmla="*/ 248471 w 201"/>
                <a:gd name="T43" fmla="*/ 374681 h 207"/>
                <a:gd name="T44" fmla="*/ 221713 w 201"/>
                <a:gd name="T45" fmla="*/ 380386 h 207"/>
                <a:gd name="T46" fmla="*/ 200688 w 201"/>
                <a:gd name="T47" fmla="*/ 384190 h 207"/>
                <a:gd name="T48" fmla="*/ 185398 w 201"/>
                <a:gd name="T49" fmla="*/ 393700 h 207"/>
                <a:gd name="T50" fmla="*/ 162462 w 201"/>
                <a:gd name="T51" fmla="*/ 365171 h 207"/>
                <a:gd name="T52" fmla="*/ 145260 w 201"/>
                <a:gd name="T53" fmla="*/ 348054 h 207"/>
                <a:gd name="T54" fmla="*/ 107034 w 201"/>
                <a:gd name="T55" fmla="*/ 346152 h 207"/>
                <a:gd name="T56" fmla="*/ 74541 w 201"/>
                <a:gd name="T57" fmla="*/ 349956 h 207"/>
                <a:gd name="T58" fmla="*/ 49694 w 201"/>
                <a:gd name="T59" fmla="*/ 349956 h 207"/>
                <a:gd name="T60" fmla="*/ 30581 w 201"/>
                <a:gd name="T61" fmla="*/ 348054 h 207"/>
                <a:gd name="T62" fmla="*/ 32492 w 201"/>
                <a:gd name="T63" fmla="*/ 319525 h 207"/>
                <a:gd name="T64" fmla="*/ 59251 w 201"/>
                <a:gd name="T65" fmla="*/ 310015 h 207"/>
                <a:gd name="T66" fmla="*/ 61162 w 201"/>
                <a:gd name="T67" fmla="*/ 292898 h 207"/>
                <a:gd name="T68" fmla="*/ 45872 w 201"/>
                <a:gd name="T69" fmla="*/ 260565 h 207"/>
                <a:gd name="T70" fmla="*/ 24847 w 201"/>
                <a:gd name="T71" fmla="*/ 251055 h 207"/>
                <a:gd name="T72" fmla="*/ 15291 w 201"/>
                <a:gd name="T73" fmla="*/ 228232 h 207"/>
                <a:gd name="T74" fmla="*/ 17202 w 201"/>
                <a:gd name="T75" fmla="*/ 214918 h 207"/>
                <a:gd name="T76" fmla="*/ 74541 w 201"/>
                <a:gd name="T77" fmla="*/ 218722 h 207"/>
                <a:gd name="T78" fmla="*/ 86009 w 201"/>
                <a:gd name="T79" fmla="*/ 218722 h 207"/>
                <a:gd name="T80" fmla="*/ 128058 w 201"/>
                <a:gd name="T81" fmla="*/ 211114 h 207"/>
                <a:gd name="T82" fmla="*/ 126147 w 201"/>
                <a:gd name="T83" fmla="*/ 192095 h 207"/>
                <a:gd name="T84" fmla="*/ 147172 w 201"/>
                <a:gd name="T85" fmla="*/ 171174 h 207"/>
                <a:gd name="T86" fmla="*/ 156728 w 201"/>
                <a:gd name="T87" fmla="*/ 171174 h 207"/>
                <a:gd name="T88" fmla="*/ 164373 w 201"/>
                <a:gd name="T89" fmla="*/ 165468 h 207"/>
                <a:gd name="T90" fmla="*/ 179664 w 201"/>
                <a:gd name="T91" fmla="*/ 157860 h 207"/>
                <a:gd name="T92" fmla="*/ 194954 w 201"/>
                <a:gd name="T93" fmla="*/ 154057 h 207"/>
                <a:gd name="T94" fmla="*/ 193043 w 201"/>
                <a:gd name="T95" fmla="*/ 136939 h 207"/>
                <a:gd name="T96" fmla="*/ 212156 w 201"/>
                <a:gd name="T97" fmla="*/ 119822 h 207"/>
                <a:gd name="T98" fmla="*/ 204511 w 201"/>
                <a:gd name="T99" fmla="*/ 95097 h 207"/>
                <a:gd name="T100" fmla="*/ 217890 w 201"/>
                <a:gd name="T101" fmla="*/ 95097 h 207"/>
                <a:gd name="T102" fmla="*/ 235092 w 201"/>
                <a:gd name="T103" fmla="*/ 79881 h 207"/>
                <a:gd name="T104" fmla="*/ 242737 w 201"/>
                <a:gd name="T105" fmla="*/ 62764 h 207"/>
                <a:gd name="T106" fmla="*/ 229358 w 201"/>
                <a:gd name="T107" fmla="*/ 34235 h 207"/>
                <a:gd name="T108" fmla="*/ 244649 w 201"/>
                <a:gd name="T109" fmla="*/ 22823 h 207"/>
                <a:gd name="T110" fmla="*/ 288609 w 201"/>
                <a:gd name="T111" fmla="*/ 3804 h 207"/>
                <a:gd name="T112" fmla="*/ 309634 w 201"/>
                <a:gd name="T113" fmla="*/ 0 h 207"/>
                <a:gd name="T114" fmla="*/ 326835 w 201"/>
                <a:gd name="T115" fmla="*/ 1902 h 207"/>
                <a:gd name="T116" fmla="*/ 344037 w 201"/>
                <a:gd name="T117" fmla="*/ 32333 h 207"/>
                <a:gd name="T118" fmla="*/ 365062 w 201"/>
                <a:gd name="T119" fmla="*/ 39941 h 207"/>
                <a:gd name="T120" fmla="*/ 384175 w 201"/>
                <a:gd name="T121" fmla="*/ 51352 h 20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01"/>
                <a:gd name="T184" fmla="*/ 0 h 207"/>
                <a:gd name="T185" fmla="*/ 201 w 201"/>
                <a:gd name="T186" fmla="*/ 207 h 20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01" h="207">
                  <a:moveTo>
                    <a:pt x="201" y="27"/>
                  </a:moveTo>
                  <a:cubicBezTo>
                    <a:pt x="200" y="29"/>
                    <a:pt x="199" y="31"/>
                    <a:pt x="197" y="33"/>
                  </a:cubicBezTo>
                  <a:cubicBezTo>
                    <a:pt x="196" y="35"/>
                    <a:pt x="195" y="37"/>
                    <a:pt x="194" y="38"/>
                  </a:cubicBezTo>
                  <a:cubicBezTo>
                    <a:pt x="192" y="40"/>
                    <a:pt x="189" y="41"/>
                    <a:pt x="186" y="42"/>
                  </a:cubicBezTo>
                  <a:cubicBezTo>
                    <a:pt x="182" y="42"/>
                    <a:pt x="178" y="43"/>
                    <a:pt x="174" y="42"/>
                  </a:cubicBezTo>
                  <a:cubicBezTo>
                    <a:pt x="171" y="41"/>
                    <a:pt x="169" y="38"/>
                    <a:pt x="166" y="38"/>
                  </a:cubicBezTo>
                  <a:cubicBezTo>
                    <a:pt x="164" y="38"/>
                    <a:pt x="162" y="39"/>
                    <a:pt x="162" y="40"/>
                  </a:cubicBezTo>
                  <a:cubicBezTo>
                    <a:pt x="161" y="43"/>
                    <a:pt x="162" y="46"/>
                    <a:pt x="162" y="49"/>
                  </a:cubicBezTo>
                  <a:cubicBezTo>
                    <a:pt x="162" y="53"/>
                    <a:pt x="161" y="58"/>
                    <a:pt x="162" y="62"/>
                  </a:cubicBezTo>
                  <a:cubicBezTo>
                    <a:pt x="163" y="64"/>
                    <a:pt x="166" y="65"/>
                    <a:pt x="168" y="67"/>
                  </a:cubicBezTo>
                  <a:cubicBezTo>
                    <a:pt x="168" y="68"/>
                    <a:pt x="167" y="69"/>
                    <a:pt x="168" y="70"/>
                  </a:cubicBezTo>
                  <a:cubicBezTo>
                    <a:pt x="170" y="70"/>
                    <a:pt x="173" y="68"/>
                    <a:pt x="176" y="69"/>
                  </a:cubicBezTo>
                  <a:cubicBezTo>
                    <a:pt x="178" y="70"/>
                    <a:pt x="182" y="72"/>
                    <a:pt x="181" y="75"/>
                  </a:cubicBezTo>
                  <a:cubicBezTo>
                    <a:pt x="180" y="77"/>
                    <a:pt x="176" y="77"/>
                    <a:pt x="173" y="79"/>
                  </a:cubicBezTo>
                  <a:cubicBezTo>
                    <a:pt x="172" y="80"/>
                    <a:pt x="170" y="82"/>
                    <a:pt x="170" y="84"/>
                  </a:cubicBezTo>
                  <a:cubicBezTo>
                    <a:pt x="169" y="85"/>
                    <a:pt x="171" y="87"/>
                    <a:pt x="171" y="88"/>
                  </a:cubicBezTo>
                  <a:cubicBezTo>
                    <a:pt x="171" y="90"/>
                    <a:pt x="169" y="91"/>
                    <a:pt x="169" y="92"/>
                  </a:cubicBezTo>
                  <a:cubicBezTo>
                    <a:pt x="169" y="94"/>
                    <a:pt x="172" y="94"/>
                    <a:pt x="171" y="95"/>
                  </a:cubicBezTo>
                  <a:cubicBezTo>
                    <a:pt x="171" y="97"/>
                    <a:pt x="169" y="96"/>
                    <a:pt x="168" y="97"/>
                  </a:cubicBezTo>
                  <a:cubicBezTo>
                    <a:pt x="166" y="99"/>
                    <a:pt x="165" y="102"/>
                    <a:pt x="164" y="104"/>
                  </a:cubicBezTo>
                  <a:cubicBezTo>
                    <a:pt x="163" y="105"/>
                    <a:pt x="164" y="107"/>
                    <a:pt x="164" y="108"/>
                  </a:cubicBezTo>
                  <a:cubicBezTo>
                    <a:pt x="162" y="109"/>
                    <a:pt x="157" y="109"/>
                    <a:pt x="156" y="112"/>
                  </a:cubicBezTo>
                  <a:cubicBezTo>
                    <a:pt x="155" y="115"/>
                    <a:pt x="158" y="120"/>
                    <a:pt x="156" y="123"/>
                  </a:cubicBezTo>
                  <a:cubicBezTo>
                    <a:pt x="155" y="126"/>
                    <a:pt x="150" y="126"/>
                    <a:pt x="148" y="129"/>
                  </a:cubicBezTo>
                  <a:cubicBezTo>
                    <a:pt x="146" y="130"/>
                    <a:pt x="146" y="133"/>
                    <a:pt x="144" y="135"/>
                  </a:cubicBezTo>
                  <a:cubicBezTo>
                    <a:pt x="143" y="136"/>
                    <a:pt x="141" y="135"/>
                    <a:pt x="140" y="136"/>
                  </a:cubicBezTo>
                  <a:cubicBezTo>
                    <a:pt x="140" y="139"/>
                    <a:pt x="142" y="142"/>
                    <a:pt x="140" y="144"/>
                  </a:cubicBezTo>
                  <a:cubicBezTo>
                    <a:pt x="139" y="146"/>
                    <a:pt x="136" y="143"/>
                    <a:pt x="134" y="143"/>
                  </a:cubicBezTo>
                  <a:cubicBezTo>
                    <a:pt x="132" y="144"/>
                    <a:pt x="131" y="147"/>
                    <a:pt x="129" y="147"/>
                  </a:cubicBezTo>
                  <a:cubicBezTo>
                    <a:pt x="127" y="146"/>
                    <a:pt x="126" y="143"/>
                    <a:pt x="124" y="143"/>
                  </a:cubicBezTo>
                  <a:cubicBezTo>
                    <a:pt x="123" y="142"/>
                    <a:pt x="122" y="143"/>
                    <a:pt x="121" y="143"/>
                  </a:cubicBezTo>
                  <a:cubicBezTo>
                    <a:pt x="117" y="148"/>
                    <a:pt x="112" y="152"/>
                    <a:pt x="110" y="158"/>
                  </a:cubicBezTo>
                  <a:cubicBezTo>
                    <a:pt x="109" y="160"/>
                    <a:pt x="110" y="162"/>
                    <a:pt x="112" y="163"/>
                  </a:cubicBezTo>
                  <a:cubicBezTo>
                    <a:pt x="113" y="164"/>
                    <a:pt x="115" y="163"/>
                    <a:pt x="117" y="163"/>
                  </a:cubicBezTo>
                  <a:cubicBezTo>
                    <a:pt x="118" y="164"/>
                    <a:pt x="120" y="164"/>
                    <a:pt x="120" y="165"/>
                  </a:cubicBezTo>
                  <a:cubicBezTo>
                    <a:pt x="121" y="168"/>
                    <a:pt x="119" y="170"/>
                    <a:pt x="120" y="172"/>
                  </a:cubicBezTo>
                  <a:cubicBezTo>
                    <a:pt x="121" y="175"/>
                    <a:pt x="122" y="178"/>
                    <a:pt x="125" y="179"/>
                  </a:cubicBezTo>
                  <a:cubicBezTo>
                    <a:pt x="126" y="180"/>
                    <a:pt x="128" y="179"/>
                    <a:pt x="129" y="179"/>
                  </a:cubicBezTo>
                  <a:cubicBezTo>
                    <a:pt x="130" y="180"/>
                    <a:pt x="128" y="182"/>
                    <a:pt x="129" y="183"/>
                  </a:cubicBezTo>
                  <a:cubicBezTo>
                    <a:pt x="130" y="187"/>
                    <a:pt x="134" y="190"/>
                    <a:pt x="135" y="194"/>
                  </a:cubicBezTo>
                  <a:cubicBezTo>
                    <a:pt x="135" y="194"/>
                    <a:pt x="132" y="194"/>
                    <a:pt x="132" y="195"/>
                  </a:cubicBezTo>
                  <a:cubicBezTo>
                    <a:pt x="132" y="196"/>
                    <a:pt x="135" y="198"/>
                    <a:pt x="134" y="199"/>
                  </a:cubicBezTo>
                  <a:cubicBezTo>
                    <a:pt x="134" y="200"/>
                    <a:pt x="131" y="201"/>
                    <a:pt x="130" y="200"/>
                  </a:cubicBezTo>
                  <a:cubicBezTo>
                    <a:pt x="128" y="200"/>
                    <a:pt x="131" y="197"/>
                    <a:pt x="130" y="197"/>
                  </a:cubicBezTo>
                  <a:cubicBezTo>
                    <a:pt x="127" y="197"/>
                    <a:pt x="125" y="201"/>
                    <a:pt x="122" y="201"/>
                  </a:cubicBezTo>
                  <a:cubicBezTo>
                    <a:pt x="120" y="201"/>
                    <a:pt x="118" y="200"/>
                    <a:pt x="116" y="200"/>
                  </a:cubicBezTo>
                  <a:cubicBezTo>
                    <a:pt x="112" y="199"/>
                    <a:pt x="109" y="198"/>
                    <a:pt x="105" y="199"/>
                  </a:cubicBezTo>
                  <a:cubicBezTo>
                    <a:pt x="104" y="199"/>
                    <a:pt x="106" y="201"/>
                    <a:pt x="105" y="202"/>
                  </a:cubicBezTo>
                  <a:cubicBezTo>
                    <a:pt x="104" y="203"/>
                    <a:pt x="102" y="203"/>
                    <a:pt x="101" y="204"/>
                  </a:cubicBezTo>
                  <a:cubicBezTo>
                    <a:pt x="100" y="205"/>
                    <a:pt x="98" y="206"/>
                    <a:pt x="97" y="207"/>
                  </a:cubicBezTo>
                  <a:cubicBezTo>
                    <a:pt x="95" y="206"/>
                    <a:pt x="92" y="205"/>
                    <a:pt x="90" y="203"/>
                  </a:cubicBezTo>
                  <a:cubicBezTo>
                    <a:pt x="88" y="200"/>
                    <a:pt x="88" y="195"/>
                    <a:pt x="85" y="192"/>
                  </a:cubicBezTo>
                  <a:cubicBezTo>
                    <a:pt x="83" y="190"/>
                    <a:pt x="79" y="190"/>
                    <a:pt x="76" y="188"/>
                  </a:cubicBezTo>
                  <a:cubicBezTo>
                    <a:pt x="75" y="187"/>
                    <a:pt x="77" y="184"/>
                    <a:pt x="76" y="183"/>
                  </a:cubicBezTo>
                  <a:cubicBezTo>
                    <a:pt x="74" y="181"/>
                    <a:pt x="71" y="180"/>
                    <a:pt x="68" y="180"/>
                  </a:cubicBezTo>
                  <a:cubicBezTo>
                    <a:pt x="64" y="180"/>
                    <a:pt x="60" y="181"/>
                    <a:pt x="56" y="182"/>
                  </a:cubicBezTo>
                  <a:cubicBezTo>
                    <a:pt x="54" y="182"/>
                    <a:pt x="52" y="183"/>
                    <a:pt x="50" y="184"/>
                  </a:cubicBezTo>
                  <a:cubicBezTo>
                    <a:pt x="46" y="184"/>
                    <a:pt x="43" y="184"/>
                    <a:pt x="39" y="184"/>
                  </a:cubicBezTo>
                  <a:cubicBezTo>
                    <a:pt x="37" y="184"/>
                    <a:pt x="35" y="184"/>
                    <a:pt x="33" y="184"/>
                  </a:cubicBezTo>
                  <a:cubicBezTo>
                    <a:pt x="31" y="184"/>
                    <a:pt x="28" y="184"/>
                    <a:pt x="26" y="184"/>
                  </a:cubicBezTo>
                  <a:cubicBezTo>
                    <a:pt x="23" y="185"/>
                    <a:pt x="21" y="188"/>
                    <a:pt x="18" y="187"/>
                  </a:cubicBezTo>
                  <a:cubicBezTo>
                    <a:pt x="16" y="187"/>
                    <a:pt x="16" y="184"/>
                    <a:pt x="16" y="183"/>
                  </a:cubicBezTo>
                  <a:cubicBezTo>
                    <a:pt x="16" y="181"/>
                    <a:pt x="15" y="178"/>
                    <a:pt x="15" y="176"/>
                  </a:cubicBezTo>
                  <a:cubicBezTo>
                    <a:pt x="15" y="173"/>
                    <a:pt x="16" y="170"/>
                    <a:pt x="17" y="168"/>
                  </a:cubicBezTo>
                  <a:cubicBezTo>
                    <a:pt x="19" y="166"/>
                    <a:pt x="21" y="165"/>
                    <a:pt x="24" y="164"/>
                  </a:cubicBezTo>
                  <a:cubicBezTo>
                    <a:pt x="26" y="163"/>
                    <a:pt x="29" y="164"/>
                    <a:pt x="31" y="163"/>
                  </a:cubicBezTo>
                  <a:cubicBezTo>
                    <a:pt x="32" y="162"/>
                    <a:pt x="31" y="161"/>
                    <a:pt x="31" y="160"/>
                  </a:cubicBezTo>
                  <a:cubicBezTo>
                    <a:pt x="32" y="158"/>
                    <a:pt x="33" y="155"/>
                    <a:pt x="32" y="154"/>
                  </a:cubicBezTo>
                  <a:cubicBezTo>
                    <a:pt x="31" y="152"/>
                    <a:pt x="27" y="154"/>
                    <a:pt x="26" y="152"/>
                  </a:cubicBezTo>
                  <a:cubicBezTo>
                    <a:pt x="23" y="148"/>
                    <a:pt x="25" y="142"/>
                    <a:pt x="24" y="137"/>
                  </a:cubicBezTo>
                  <a:cubicBezTo>
                    <a:pt x="23" y="136"/>
                    <a:pt x="22" y="135"/>
                    <a:pt x="20" y="134"/>
                  </a:cubicBezTo>
                  <a:cubicBezTo>
                    <a:pt x="18" y="133"/>
                    <a:pt x="15" y="133"/>
                    <a:pt x="13" y="132"/>
                  </a:cubicBezTo>
                  <a:cubicBezTo>
                    <a:pt x="12" y="131"/>
                    <a:pt x="10" y="130"/>
                    <a:pt x="10" y="128"/>
                  </a:cubicBezTo>
                  <a:cubicBezTo>
                    <a:pt x="9" y="126"/>
                    <a:pt x="10" y="123"/>
                    <a:pt x="8" y="120"/>
                  </a:cubicBezTo>
                  <a:cubicBezTo>
                    <a:pt x="6" y="117"/>
                    <a:pt x="3" y="114"/>
                    <a:pt x="0" y="111"/>
                  </a:cubicBezTo>
                  <a:cubicBezTo>
                    <a:pt x="3" y="112"/>
                    <a:pt x="6" y="112"/>
                    <a:pt x="9" y="113"/>
                  </a:cubicBezTo>
                  <a:cubicBezTo>
                    <a:pt x="13" y="114"/>
                    <a:pt x="18" y="115"/>
                    <a:pt x="22" y="116"/>
                  </a:cubicBezTo>
                  <a:cubicBezTo>
                    <a:pt x="28" y="116"/>
                    <a:pt x="33" y="114"/>
                    <a:pt x="39" y="115"/>
                  </a:cubicBezTo>
                  <a:cubicBezTo>
                    <a:pt x="40" y="115"/>
                    <a:pt x="41" y="116"/>
                    <a:pt x="43" y="116"/>
                  </a:cubicBezTo>
                  <a:cubicBezTo>
                    <a:pt x="44" y="116"/>
                    <a:pt x="44" y="115"/>
                    <a:pt x="45" y="115"/>
                  </a:cubicBezTo>
                  <a:cubicBezTo>
                    <a:pt x="47" y="115"/>
                    <a:pt x="49" y="117"/>
                    <a:pt x="52" y="117"/>
                  </a:cubicBezTo>
                  <a:cubicBezTo>
                    <a:pt x="57" y="116"/>
                    <a:pt x="63" y="114"/>
                    <a:pt x="67" y="111"/>
                  </a:cubicBezTo>
                  <a:cubicBezTo>
                    <a:pt x="69" y="110"/>
                    <a:pt x="68" y="108"/>
                    <a:pt x="68" y="107"/>
                  </a:cubicBezTo>
                  <a:cubicBezTo>
                    <a:pt x="67" y="105"/>
                    <a:pt x="66" y="103"/>
                    <a:pt x="66" y="101"/>
                  </a:cubicBezTo>
                  <a:cubicBezTo>
                    <a:pt x="67" y="98"/>
                    <a:pt x="69" y="95"/>
                    <a:pt x="71" y="92"/>
                  </a:cubicBezTo>
                  <a:cubicBezTo>
                    <a:pt x="72" y="90"/>
                    <a:pt x="75" y="90"/>
                    <a:pt x="77" y="90"/>
                  </a:cubicBezTo>
                  <a:cubicBezTo>
                    <a:pt x="77" y="90"/>
                    <a:pt x="76" y="92"/>
                    <a:pt x="77" y="92"/>
                  </a:cubicBezTo>
                  <a:cubicBezTo>
                    <a:pt x="79" y="92"/>
                    <a:pt x="81" y="91"/>
                    <a:pt x="82" y="90"/>
                  </a:cubicBezTo>
                  <a:cubicBezTo>
                    <a:pt x="83" y="89"/>
                    <a:pt x="80" y="87"/>
                    <a:pt x="80" y="87"/>
                  </a:cubicBezTo>
                  <a:cubicBezTo>
                    <a:pt x="82" y="85"/>
                    <a:pt x="84" y="88"/>
                    <a:pt x="86" y="87"/>
                  </a:cubicBezTo>
                  <a:cubicBezTo>
                    <a:pt x="88" y="85"/>
                    <a:pt x="88" y="82"/>
                    <a:pt x="90" y="81"/>
                  </a:cubicBezTo>
                  <a:cubicBezTo>
                    <a:pt x="92" y="80"/>
                    <a:pt x="93" y="82"/>
                    <a:pt x="94" y="83"/>
                  </a:cubicBezTo>
                  <a:cubicBezTo>
                    <a:pt x="96" y="84"/>
                    <a:pt x="97" y="86"/>
                    <a:pt x="98" y="86"/>
                  </a:cubicBezTo>
                  <a:cubicBezTo>
                    <a:pt x="100" y="85"/>
                    <a:pt x="102" y="83"/>
                    <a:pt x="102" y="81"/>
                  </a:cubicBezTo>
                  <a:cubicBezTo>
                    <a:pt x="103" y="80"/>
                    <a:pt x="100" y="80"/>
                    <a:pt x="100" y="78"/>
                  </a:cubicBezTo>
                  <a:cubicBezTo>
                    <a:pt x="100" y="76"/>
                    <a:pt x="100" y="74"/>
                    <a:pt x="101" y="72"/>
                  </a:cubicBezTo>
                  <a:cubicBezTo>
                    <a:pt x="102" y="69"/>
                    <a:pt x="102" y="65"/>
                    <a:pt x="104" y="64"/>
                  </a:cubicBezTo>
                  <a:cubicBezTo>
                    <a:pt x="106" y="62"/>
                    <a:pt x="110" y="65"/>
                    <a:pt x="111" y="63"/>
                  </a:cubicBezTo>
                  <a:cubicBezTo>
                    <a:pt x="113" y="62"/>
                    <a:pt x="112" y="59"/>
                    <a:pt x="111" y="57"/>
                  </a:cubicBezTo>
                  <a:cubicBezTo>
                    <a:pt x="110" y="54"/>
                    <a:pt x="108" y="52"/>
                    <a:pt x="107" y="50"/>
                  </a:cubicBezTo>
                  <a:cubicBezTo>
                    <a:pt x="107" y="49"/>
                    <a:pt x="107" y="47"/>
                    <a:pt x="108" y="47"/>
                  </a:cubicBezTo>
                  <a:cubicBezTo>
                    <a:pt x="110" y="47"/>
                    <a:pt x="111" y="50"/>
                    <a:pt x="114" y="50"/>
                  </a:cubicBezTo>
                  <a:cubicBezTo>
                    <a:pt x="116" y="50"/>
                    <a:pt x="119" y="49"/>
                    <a:pt x="120" y="48"/>
                  </a:cubicBezTo>
                  <a:cubicBezTo>
                    <a:pt x="122" y="46"/>
                    <a:pt x="122" y="44"/>
                    <a:pt x="123" y="42"/>
                  </a:cubicBezTo>
                  <a:cubicBezTo>
                    <a:pt x="123" y="41"/>
                    <a:pt x="122" y="40"/>
                    <a:pt x="123" y="39"/>
                  </a:cubicBezTo>
                  <a:cubicBezTo>
                    <a:pt x="124" y="37"/>
                    <a:pt x="127" y="35"/>
                    <a:pt x="127" y="33"/>
                  </a:cubicBezTo>
                  <a:cubicBezTo>
                    <a:pt x="128" y="29"/>
                    <a:pt x="126" y="25"/>
                    <a:pt x="124" y="21"/>
                  </a:cubicBezTo>
                  <a:cubicBezTo>
                    <a:pt x="124" y="19"/>
                    <a:pt x="121" y="19"/>
                    <a:pt x="120" y="18"/>
                  </a:cubicBezTo>
                  <a:cubicBezTo>
                    <a:pt x="120" y="16"/>
                    <a:pt x="121" y="13"/>
                    <a:pt x="123" y="12"/>
                  </a:cubicBezTo>
                  <a:cubicBezTo>
                    <a:pt x="125" y="11"/>
                    <a:pt x="127" y="13"/>
                    <a:pt x="128" y="12"/>
                  </a:cubicBezTo>
                  <a:cubicBezTo>
                    <a:pt x="133" y="10"/>
                    <a:pt x="135" y="5"/>
                    <a:pt x="139" y="3"/>
                  </a:cubicBezTo>
                  <a:cubicBezTo>
                    <a:pt x="143" y="1"/>
                    <a:pt x="147" y="2"/>
                    <a:pt x="151" y="2"/>
                  </a:cubicBezTo>
                  <a:cubicBezTo>
                    <a:pt x="152" y="2"/>
                    <a:pt x="154" y="3"/>
                    <a:pt x="156" y="3"/>
                  </a:cubicBezTo>
                  <a:cubicBezTo>
                    <a:pt x="158" y="3"/>
                    <a:pt x="160" y="1"/>
                    <a:pt x="162" y="0"/>
                  </a:cubicBezTo>
                  <a:cubicBezTo>
                    <a:pt x="164" y="1"/>
                    <a:pt x="166" y="2"/>
                    <a:pt x="168" y="3"/>
                  </a:cubicBezTo>
                  <a:cubicBezTo>
                    <a:pt x="169" y="3"/>
                    <a:pt x="170" y="1"/>
                    <a:pt x="171" y="1"/>
                  </a:cubicBezTo>
                  <a:cubicBezTo>
                    <a:pt x="175" y="4"/>
                    <a:pt x="178" y="7"/>
                    <a:pt x="180" y="11"/>
                  </a:cubicBezTo>
                  <a:cubicBezTo>
                    <a:pt x="181" y="12"/>
                    <a:pt x="179" y="15"/>
                    <a:pt x="180" y="17"/>
                  </a:cubicBezTo>
                  <a:cubicBezTo>
                    <a:pt x="180" y="18"/>
                    <a:pt x="181" y="20"/>
                    <a:pt x="182" y="21"/>
                  </a:cubicBezTo>
                  <a:cubicBezTo>
                    <a:pt x="185" y="22"/>
                    <a:pt x="188" y="20"/>
                    <a:pt x="191" y="21"/>
                  </a:cubicBezTo>
                  <a:cubicBezTo>
                    <a:pt x="192" y="22"/>
                    <a:pt x="191" y="25"/>
                    <a:pt x="192" y="26"/>
                  </a:cubicBezTo>
                  <a:cubicBezTo>
                    <a:pt x="195" y="27"/>
                    <a:pt x="198" y="27"/>
                    <a:pt x="201" y="2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1" name="Freeform 121"/>
            <p:cNvSpPr>
              <a:spLocks noChangeAspect="1"/>
            </p:cNvSpPr>
            <p:nvPr/>
          </p:nvSpPr>
          <p:spPr bwMode="auto">
            <a:xfrm>
              <a:off x="6254750" y="2614613"/>
              <a:ext cx="1357313" cy="1028700"/>
            </a:xfrm>
            <a:custGeom>
              <a:avLst/>
              <a:gdLst>
                <a:gd name="T0" fmla="*/ 78050 w 713"/>
                <a:gd name="T1" fmla="*/ 403860 h 540"/>
                <a:gd name="T2" fmla="*/ 1904 w 713"/>
                <a:gd name="T3" fmla="*/ 438150 h 540"/>
                <a:gd name="T4" fmla="*/ 32362 w 713"/>
                <a:gd name="T5" fmla="*/ 518160 h 540"/>
                <a:gd name="T6" fmla="*/ 85665 w 713"/>
                <a:gd name="T7" fmla="*/ 569595 h 540"/>
                <a:gd name="T8" fmla="*/ 138968 w 713"/>
                <a:gd name="T9" fmla="*/ 636270 h 540"/>
                <a:gd name="T10" fmla="*/ 140871 w 713"/>
                <a:gd name="T11" fmla="*/ 693420 h 540"/>
                <a:gd name="T12" fmla="*/ 209403 w 713"/>
                <a:gd name="T13" fmla="*/ 735330 h 540"/>
                <a:gd name="T14" fmla="*/ 279839 w 713"/>
                <a:gd name="T15" fmla="*/ 779145 h 540"/>
                <a:gd name="T16" fmla="*/ 348371 w 713"/>
                <a:gd name="T17" fmla="*/ 807720 h 540"/>
                <a:gd name="T18" fmla="*/ 399770 w 713"/>
                <a:gd name="T19" fmla="*/ 809625 h 540"/>
                <a:gd name="T20" fmla="*/ 454976 w 713"/>
                <a:gd name="T21" fmla="*/ 807720 h 540"/>
                <a:gd name="T22" fmla="*/ 523508 w 713"/>
                <a:gd name="T23" fmla="*/ 763905 h 540"/>
                <a:gd name="T24" fmla="*/ 576810 w 713"/>
                <a:gd name="T25" fmla="*/ 792480 h 540"/>
                <a:gd name="T26" fmla="*/ 628209 w 713"/>
                <a:gd name="T27" fmla="*/ 853440 h 540"/>
                <a:gd name="T28" fmla="*/ 622498 w 713"/>
                <a:gd name="T29" fmla="*/ 914400 h 540"/>
                <a:gd name="T30" fmla="*/ 668186 w 713"/>
                <a:gd name="T31" fmla="*/ 973455 h 540"/>
                <a:gd name="T32" fmla="*/ 715778 w 713"/>
                <a:gd name="T33" fmla="*/ 992505 h 540"/>
                <a:gd name="T34" fmla="*/ 732911 w 713"/>
                <a:gd name="T35" fmla="*/ 956310 h 540"/>
                <a:gd name="T36" fmla="*/ 774792 w 713"/>
                <a:gd name="T37" fmla="*/ 956310 h 540"/>
                <a:gd name="T38" fmla="*/ 829998 w 713"/>
                <a:gd name="T39" fmla="*/ 954405 h 540"/>
                <a:gd name="T40" fmla="*/ 904241 w 713"/>
                <a:gd name="T41" fmla="*/ 986790 h 540"/>
                <a:gd name="T42" fmla="*/ 925181 w 713"/>
                <a:gd name="T43" fmla="*/ 996315 h 540"/>
                <a:gd name="T44" fmla="*/ 986098 w 713"/>
                <a:gd name="T45" fmla="*/ 973455 h 540"/>
                <a:gd name="T46" fmla="*/ 1033690 w 713"/>
                <a:gd name="T47" fmla="*/ 960120 h 540"/>
                <a:gd name="T48" fmla="*/ 1126970 w 713"/>
                <a:gd name="T49" fmla="*/ 859155 h 540"/>
                <a:gd name="T50" fmla="*/ 1163139 w 713"/>
                <a:gd name="T51" fmla="*/ 779145 h 540"/>
                <a:gd name="T52" fmla="*/ 1125066 w 713"/>
                <a:gd name="T53" fmla="*/ 729615 h 540"/>
                <a:gd name="T54" fmla="*/ 1121259 w 713"/>
                <a:gd name="T55" fmla="*/ 676275 h 540"/>
                <a:gd name="T56" fmla="*/ 1126970 w 713"/>
                <a:gd name="T57" fmla="*/ 653415 h 540"/>
                <a:gd name="T58" fmla="*/ 1100318 w 713"/>
                <a:gd name="T59" fmla="*/ 563880 h 540"/>
                <a:gd name="T60" fmla="*/ 1136488 w 713"/>
                <a:gd name="T61" fmla="*/ 529590 h 540"/>
                <a:gd name="T62" fmla="*/ 1104126 w 713"/>
                <a:gd name="T63" fmla="*/ 502920 h 540"/>
                <a:gd name="T64" fmla="*/ 1022268 w 713"/>
                <a:gd name="T65" fmla="*/ 483870 h 540"/>
                <a:gd name="T66" fmla="*/ 1119355 w 713"/>
                <a:gd name="T67" fmla="*/ 422910 h 540"/>
                <a:gd name="T68" fmla="*/ 1138392 w 713"/>
                <a:gd name="T69" fmla="*/ 447675 h 540"/>
                <a:gd name="T70" fmla="*/ 1224057 w 713"/>
                <a:gd name="T71" fmla="*/ 386715 h 540"/>
                <a:gd name="T72" fmla="*/ 1281166 w 713"/>
                <a:gd name="T73" fmla="*/ 340995 h 540"/>
                <a:gd name="T74" fmla="*/ 1294492 w 713"/>
                <a:gd name="T75" fmla="*/ 285750 h 540"/>
                <a:gd name="T76" fmla="*/ 1349698 w 713"/>
                <a:gd name="T77" fmla="*/ 230505 h 540"/>
                <a:gd name="T78" fmla="*/ 1256419 w 713"/>
                <a:gd name="T79" fmla="*/ 175260 h 540"/>
                <a:gd name="T80" fmla="*/ 1172658 w 713"/>
                <a:gd name="T81" fmla="*/ 112395 h 540"/>
                <a:gd name="T82" fmla="*/ 1126970 w 713"/>
                <a:gd name="T83" fmla="*/ 36195 h 540"/>
                <a:gd name="T84" fmla="*/ 999424 w 713"/>
                <a:gd name="T85" fmla="*/ 11430 h 540"/>
                <a:gd name="T86" fmla="*/ 988002 w 713"/>
                <a:gd name="T87" fmla="*/ 112395 h 540"/>
                <a:gd name="T88" fmla="*/ 930892 w 713"/>
                <a:gd name="T89" fmla="*/ 190500 h 540"/>
                <a:gd name="T90" fmla="*/ 1020364 w 713"/>
                <a:gd name="T91" fmla="*/ 230505 h 540"/>
                <a:gd name="T92" fmla="*/ 949929 w 713"/>
                <a:gd name="T93" fmla="*/ 257175 h 540"/>
                <a:gd name="T94" fmla="*/ 856649 w 713"/>
                <a:gd name="T95" fmla="*/ 308610 h 540"/>
                <a:gd name="T96" fmla="*/ 702452 w 713"/>
                <a:gd name="T97" fmla="*/ 382905 h 540"/>
                <a:gd name="T98" fmla="*/ 513990 w 713"/>
                <a:gd name="T99" fmla="*/ 354330 h 540"/>
                <a:gd name="T100" fmla="*/ 420710 w 713"/>
                <a:gd name="T101" fmla="*/ 280035 h 540"/>
                <a:gd name="T102" fmla="*/ 355985 w 713"/>
                <a:gd name="T103" fmla="*/ 213360 h 540"/>
                <a:gd name="T104" fmla="*/ 283646 w 713"/>
                <a:gd name="T105" fmla="*/ 156210 h 540"/>
                <a:gd name="T106" fmla="*/ 236054 w 713"/>
                <a:gd name="T107" fmla="*/ 188595 h 540"/>
                <a:gd name="T108" fmla="*/ 173233 w 713"/>
                <a:gd name="T109" fmla="*/ 276225 h 540"/>
                <a:gd name="T110" fmla="*/ 144679 w 713"/>
                <a:gd name="T111" fmla="*/ 337185 h 54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13"/>
                <a:gd name="T169" fmla="*/ 0 h 540"/>
                <a:gd name="T170" fmla="*/ 713 w 713"/>
                <a:gd name="T171" fmla="*/ 540 h 54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13" h="540">
                  <a:moveTo>
                    <a:pt x="72" y="191"/>
                  </a:moveTo>
                  <a:cubicBezTo>
                    <a:pt x="72" y="191"/>
                    <a:pt x="74" y="193"/>
                    <a:pt x="74" y="193"/>
                  </a:cubicBezTo>
                  <a:cubicBezTo>
                    <a:pt x="73" y="194"/>
                    <a:pt x="71" y="194"/>
                    <a:pt x="70" y="196"/>
                  </a:cubicBezTo>
                  <a:cubicBezTo>
                    <a:pt x="68" y="197"/>
                    <a:pt x="69" y="200"/>
                    <a:pt x="67" y="201"/>
                  </a:cubicBezTo>
                  <a:cubicBezTo>
                    <a:pt x="65" y="201"/>
                    <a:pt x="64" y="198"/>
                    <a:pt x="63" y="199"/>
                  </a:cubicBezTo>
                  <a:cubicBezTo>
                    <a:pt x="59" y="200"/>
                    <a:pt x="57" y="203"/>
                    <a:pt x="55" y="206"/>
                  </a:cubicBezTo>
                  <a:cubicBezTo>
                    <a:pt x="53" y="207"/>
                    <a:pt x="54" y="211"/>
                    <a:pt x="52" y="212"/>
                  </a:cubicBezTo>
                  <a:cubicBezTo>
                    <a:pt x="49" y="213"/>
                    <a:pt x="45" y="211"/>
                    <a:pt x="41" y="212"/>
                  </a:cubicBezTo>
                  <a:cubicBezTo>
                    <a:pt x="39" y="212"/>
                    <a:pt x="37" y="212"/>
                    <a:pt x="36" y="213"/>
                  </a:cubicBezTo>
                  <a:cubicBezTo>
                    <a:pt x="33" y="216"/>
                    <a:pt x="35" y="220"/>
                    <a:pt x="32" y="223"/>
                  </a:cubicBezTo>
                  <a:cubicBezTo>
                    <a:pt x="30" y="225"/>
                    <a:pt x="26" y="226"/>
                    <a:pt x="23" y="225"/>
                  </a:cubicBezTo>
                  <a:cubicBezTo>
                    <a:pt x="22" y="225"/>
                    <a:pt x="24" y="221"/>
                    <a:pt x="22" y="220"/>
                  </a:cubicBezTo>
                  <a:cubicBezTo>
                    <a:pt x="20" y="220"/>
                    <a:pt x="19" y="223"/>
                    <a:pt x="18" y="224"/>
                  </a:cubicBezTo>
                  <a:cubicBezTo>
                    <a:pt x="16" y="224"/>
                    <a:pt x="14" y="222"/>
                    <a:pt x="13" y="223"/>
                  </a:cubicBezTo>
                  <a:cubicBezTo>
                    <a:pt x="11" y="224"/>
                    <a:pt x="9" y="226"/>
                    <a:pt x="7" y="227"/>
                  </a:cubicBezTo>
                  <a:cubicBezTo>
                    <a:pt x="5" y="228"/>
                    <a:pt x="2" y="228"/>
                    <a:pt x="1" y="230"/>
                  </a:cubicBezTo>
                  <a:cubicBezTo>
                    <a:pt x="0" y="232"/>
                    <a:pt x="1" y="236"/>
                    <a:pt x="1" y="239"/>
                  </a:cubicBezTo>
                  <a:cubicBezTo>
                    <a:pt x="1" y="240"/>
                    <a:pt x="3" y="243"/>
                    <a:pt x="3" y="245"/>
                  </a:cubicBezTo>
                  <a:cubicBezTo>
                    <a:pt x="3" y="246"/>
                    <a:pt x="3" y="247"/>
                    <a:pt x="2" y="248"/>
                  </a:cubicBezTo>
                  <a:cubicBezTo>
                    <a:pt x="2" y="250"/>
                    <a:pt x="1" y="253"/>
                    <a:pt x="2" y="253"/>
                  </a:cubicBezTo>
                  <a:cubicBezTo>
                    <a:pt x="5" y="253"/>
                    <a:pt x="8" y="249"/>
                    <a:pt x="11" y="249"/>
                  </a:cubicBezTo>
                  <a:cubicBezTo>
                    <a:pt x="14" y="250"/>
                    <a:pt x="16" y="254"/>
                    <a:pt x="17" y="256"/>
                  </a:cubicBezTo>
                  <a:cubicBezTo>
                    <a:pt x="19" y="260"/>
                    <a:pt x="22" y="264"/>
                    <a:pt x="22" y="269"/>
                  </a:cubicBezTo>
                  <a:cubicBezTo>
                    <a:pt x="22" y="271"/>
                    <a:pt x="18" y="271"/>
                    <a:pt x="17" y="272"/>
                  </a:cubicBezTo>
                  <a:cubicBezTo>
                    <a:pt x="16" y="274"/>
                    <a:pt x="15" y="275"/>
                    <a:pt x="15" y="276"/>
                  </a:cubicBezTo>
                  <a:cubicBezTo>
                    <a:pt x="15" y="277"/>
                    <a:pt x="15" y="278"/>
                    <a:pt x="16" y="278"/>
                  </a:cubicBezTo>
                  <a:cubicBezTo>
                    <a:pt x="18" y="279"/>
                    <a:pt x="20" y="280"/>
                    <a:pt x="22" y="281"/>
                  </a:cubicBezTo>
                  <a:cubicBezTo>
                    <a:pt x="23" y="281"/>
                    <a:pt x="24" y="279"/>
                    <a:pt x="25" y="279"/>
                  </a:cubicBezTo>
                  <a:cubicBezTo>
                    <a:pt x="29" y="282"/>
                    <a:pt x="32" y="285"/>
                    <a:pt x="34" y="289"/>
                  </a:cubicBezTo>
                  <a:cubicBezTo>
                    <a:pt x="35" y="290"/>
                    <a:pt x="33" y="293"/>
                    <a:pt x="34" y="295"/>
                  </a:cubicBezTo>
                  <a:cubicBezTo>
                    <a:pt x="34" y="296"/>
                    <a:pt x="35" y="298"/>
                    <a:pt x="36" y="299"/>
                  </a:cubicBezTo>
                  <a:cubicBezTo>
                    <a:pt x="39" y="300"/>
                    <a:pt x="42" y="298"/>
                    <a:pt x="45" y="299"/>
                  </a:cubicBezTo>
                  <a:cubicBezTo>
                    <a:pt x="46" y="300"/>
                    <a:pt x="45" y="303"/>
                    <a:pt x="46" y="304"/>
                  </a:cubicBezTo>
                  <a:cubicBezTo>
                    <a:pt x="49" y="305"/>
                    <a:pt x="52" y="305"/>
                    <a:pt x="55" y="305"/>
                  </a:cubicBezTo>
                  <a:cubicBezTo>
                    <a:pt x="57" y="305"/>
                    <a:pt x="59" y="303"/>
                    <a:pt x="61" y="304"/>
                  </a:cubicBezTo>
                  <a:cubicBezTo>
                    <a:pt x="63" y="306"/>
                    <a:pt x="62" y="310"/>
                    <a:pt x="64" y="312"/>
                  </a:cubicBezTo>
                  <a:cubicBezTo>
                    <a:pt x="66" y="315"/>
                    <a:pt x="69" y="316"/>
                    <a:pt x="71" y="319"/>
                  </a:cubicBezTo>
                  <a:cubicBezTo>
                    <a:pt x="72" y="321"/>
                    <a:pt x="74" y="322"/>
                    <a:pt x="74" y="325"/>
                  </a:cubicBezTo>
                  <a:cubicBezTo>
                    <a:pt x="73" y="326"/>
                    <a:pt x="69" y="323"/>
                    <a:pt x="69" y="325"/>
                  </a:cubicBezTo>
                  <a:cubicBezTo>
                    <a:pt x="69" y="328"/>
                    <a:pt x="71" y="331"/>
                    <a:pt x="73" y="334"/>
                  </a:cubicBezTo>
                  <a:cubicBezTo>
                    <a:pt x="74" y="336"/>
                    <a:pt x="77" y="337"/>
                    <a:pt x="79" y="339"/>
                  </a:cubicBezTo>
                  <a:cubicBezTo>
                    <a:pt x="82" y="342"/>
                    <a:pt x="86" y="345"/>
                    <a:pt x="86" y="348"/>
                  </a:cubicBezTo>
                  <a:cubicBezTo>
                    <a:pt x="86" y="352"/>
                    <a:pt x="81" y="354"/>
                    <a:pt x="78" y="355"/>
                  </a:cubicBezTo>
                  <a:cubicBezTo>
                    <a:pt x="76" y="355"/>
                    <a:pt x="75" y="353"/>
                    <a:pt x="74" y="352"/>
                  </a:cubicBezTo>
                  <a:cubicBezTo>
                    <a:pt x="74" y="351"/>
                    <a:pt x="75" y="349"/>
                    <a:pt x="74" y="349"/>
                  </a:cubicBezTo>
                  <a:cubicBezTo>
                    <a:pt x="73" y="349"/>
                    <a:pt x="72" y="351"/>
                    <a:pt x="71" y="352"/>
                  </a:cubicBezTo>
                  <a:cubicBezTo>
                    <a:pt x="70" y="353"/>
                    <a:pt x="70" y="354"/>
                    <a:pt x="70" y="355"/>
                  </a:cubicBezTo>
                  <a:cubicBezTo>
                    <a:pt x="71" y="358"/>
                    <a:pt x="73" y="361"/>
                    <a:pt x="74" y="364"/>
                  </a:cubicBezTo>
                  <a:cubicBezTo>
                    <a:pt x="75" y="366"/>
                    <a:pt x="75" y="369"/>
                    <a:pt x="77" y="370"/>
                  </a:cubicBezTo>
                  <a:cubicBezTo>
                    <a:pt x="78" y="371"/>
                    <a:pt x="80" y="369"/>
                    <a:pt x="81" y="370"/>
                  </a:cubicBezTo>
                  <a:cubicBezTo>
                    <a:pt x="84" y="372"/>
                    <a:pt x="84" y="375"/>
                    <a:pt x="87" y="377"/>
                  </a:cubicBezTo>
                  <a:cubicBezTo>
                    <a:pt x="88" y="378"/>
                    <a:pt x="90" y="377"/>
                    <a:pt x="92" y="377"/>
                  </a:cubicBezTo>
                  <a:cubicBezTo>
                    <a:pt x="95" y="379"/>
                    <a:pt x="98" y="382"/>
                    <a:pt x="101" y="384"/>
                  </a:cubicBezTo>
                  <a:cubicBezTo>
                    <a:pt x="103" y="385"/>
                    <a:pt x="104" y="386"/>
                    <a:pt x="106" y="387"/>
                  </a:cubicBezTo>
                  <a:cubicBezTo>
                    <a:pt x="107" y="388"/>
                    <a:pt x="108" y="391"/>
                    <a:pt x="110" y="390"/>
                  </a:cubicBezTo>
                  <a:cubicBezTo>
                    <a:pt x="111" y="390"/>
                    <a:pt x="109" y="387"/>
                    <a:pt x="110" y="386"/>
                  </a:cubicBezTo>
                  <a:cubicBezTo>
                    <a:pt x="111" y="385"/>
                    <a:pt x="113" y="386"/>
                    <a:pt x="114" y="386"/>
                  </a:cubicBezTo>
                  <a:cubicBezTo>
                    <a:pt x="116" y="387"/>
                    <a:pt x="119" y="388"/>
                    <a:pt x="122" y="389"/>
                  </a:cubicBezTo>
                  <a:cubicBezTo>
                    <a:pt x="125" y="391"/>
                    <a:pt x="129" y="394"/>
                    <a:pt x="132" y="396"/>
                  </a:cubicBezTo>
                  <a:cubicBezTo>
                    <a:pt x="134" y="398"/>
                    <a:pt x="135" y="402"/>
                    <a:pt x="138" y="403"/>
                  </a:cubicBezTo>
                  <a:cubicBezTo>
                    <a:pt x="140" y="403"/>
                    <a:pt x="140" y="399"/>
                    <a:pt x="141" y="399"/>
                  </a:cubicBezTo>
                  <a:cubicBezTo>
                    <a:pt x="142" y="398"/>
                    <a:pt x="144" y="398"/>
                    <a:pt x="145" y="399"/>
                  </a:cubicBezTo>
                  <a:cubicBezTo>
                    <a:pt x="146" y="401"/>
                    <a:pt x="144" y="403"/>
                    <a:pt x="145" y="405"/>
                  </a:cubicBezTo>
                  <a:cubicBezTo>
                    <a:pt x="145" y="407"/>
                    <a:pt x="146" y="408"/>
                    <a:pt x="147" y="409"/>
                  </a:cubicBezTo>
                  <a:cubicBezTo>
                    <a:pt x="150" y="410"/>
                    <a:pt x="155" y="409"/>
                    <a:pt x="158" y="410"/>
                  </a:cubicBezTo>
                  <a:cubicBezTo>
                    <a:pt x="159" y="411"/>
                    <a:pt x="157" y="414"/>
                    <a:pt x="158" y="415"/>
                  </a:cubicBezTo>
                  <a:cubicBezTo>
                    <a:pt x="159" y="416"/>
                    <a:pt x="162" y="415"/>
                    <a:pt x="164" y="416"/>
                  </a:cubicBezTo>
                  <a:cubicBezTo>
                    <a:pt x="166" y="417"/>
                    <a:pt x="166" y="420"/>
                    <a:pt x="168" y="421"/>
                  </a:cubicBezTo>
                  <a:cubicBezTo>
                    <a:pt x="169" y="422"/>
                    <a:pt x="171" y="419"/>
                    <a:pt x="172" y="420"/>
                  </a:cubicBezTo>
                  <a:cubicBezTo>
                    <a:pt x="173" y="420"/>
                    <a:pt x="173" y="423"/>
                    <a:pt x="175" y="423"/>
                  </a:cubicBezTo>
                  <a:cubicBezTo>
                    <a:pt x="176" y="423"/>
                    <a:pt x="177" y="420"/>
                    <a:pt x="179" y="420"/>
                  </a:cubicBezTo>
                  <a:cubicBezTo>
                    <a:pt x="181" y="420"/>
                    <a:pt x="181" y="423"/>
                    <a:pt x="183" y="424"/>
                  </a:cubicBezTo>
                  <a:cubicBezTo>
                    <a:pt x="184" y="425"/>
                    <a:pt x="186" y="426"/>
                    <a:pt x="187" y="426"/>
                  </a:cubicBezTo>
                  <a:cubicBezTo>
                    <a:pt x="189" y="426"/>
                    <a:pt x="191" y="424"/>
                    <a:pt x="193" y="423"/>
                  </a:cubicBezTo>
                  <a:cubicBezTo>
                    <a:pt x="194" y="423"/>
                    <a:pt x="195" y="424"/>
                    <a:pt x="196" y="424"/>
                  </a:cubicBezTo>
                  <a:cubicBezTo>
                    <a:pt x="198" y="422"/>
                    <a:pt x="199" y="420"/>
                    <a:pt x="201" y="419"/>
                  </a:cubicBezTo>
                  <a:cubicBezTo>
                    <a:pt x="202" y="419"/>
                    <a:pt x="204" y="418"/>
                    <a:pt x="205" y="419"/>
                  </a:cubicBezTo>
                  <a:cubicBezTo>
                    <a:pt x="206" y="421"/>
                    <a:pt x="205" y="424"/>
                    <a:pt x="205" y="426"/>
                  </a:cubicBezTo>
                  <a:cubicBezTo>
                    <a:pt x="205" y="429"/>
                    <a:pt x="206" y="431"/>
                    <a:pt x="206" y="433"/>
                  </a:cubicBezTo>
                  <a:cubicBezTo>
                    <a:pt x="208" y="431"/>
                    <a:pt x="210" y="427"/>
                    <a:pt x="210" y="425"/>
                  </a:cubicBezTo>
                  <a:cubicBezTo>
                    <a:pt x="211" y="423"/>
                    <a:pt x="210" y="422"/>
                    <a:pt x="211" y="420"/>
                  </a:cubicBezTo>
                  <a:cubicBezTo>
                    <a:pt x="212" y="419"/>
                    <a:pt x="214" y="418"/>
                    <a:pt x="215" y="417"/>
                  </a:cubicBezTo>
                  <a:cubicBezTo>
                    <a:pt x="217" y="417"/>
                    <a:pt x="218" y="418"/>
                    <a:pt x="219" y="418"/>
                  </a:cubicBezTo>
                  <a:cubicBezTo>
                    <a:pt x="221" y="418"/>
                    <a:pt x="222" y="416"/>
                    <a:pt x="223" y="417"/>
                  </a:cubicBezTo>
                  <a:cubicBezTo>
                    <a:pt x="225" y="417"/>
                    <a:pt x="226" y="419"/>
                    <a:pt x="227" y="420"/>
                  </a:cubicBezTo>
                  <a:cubicBezTo>
                    <a:pt x="229" y="421"/>
                    <a:pt x="231" y="421"/>
                    <a:pt x="234" y="421"/>
                  </a:cubicBezTo>
                  <a:cubicBezTo>
                    <a:pt x="235" y="421"/>
                    <a:pt x="237" y="420"/>
                    <a:pt x="238" y="420"/>
                  </a:cubicBezTo>
                  <a:cubicBezTo>
                    <a:pt x="239" y="421"/>
                    <a:pt x="239" y="423"/>
                    <a:pt x="239" y="424"/>
                  </a:cubicBezTo>
                  <a:cubicBezTo>
                    <a:pt x="242" y="424"/>
                    <a:pt x="244" y="423"/>
                    <a:pt x="247" y="423"/>
                  </a:cubicBezTo>
                  <a:cubicBezTo>
                    <a:pt x="249" y="422"/>
                    <a:pt x="252" y="424"/>
                    <a:pt x="253" y="423"/>
                  </a:cubicBezTo>
                  <a:cubicBezTo>
                    <a:pt x="254" y="422"/>
                    <a:pt x="251" y="419"/>
                    <a:pt x="252" y="418"/>
                  </a:cubicBezTo>
                  <a:cubicBezTo>
                    <a:pt x="253" y="416"/>
                    <a:pt x="256" y="416"/>
                    <a:pt x="258" y="414"/>
                  </a:cubicBezTo>
                  <a:cubicBezTo>
                    <a:pt x="259" y="413"/>
                    <a:pt x="258" y="410"/>
                    <a:pt x="259" y="409"/>
                  </a:cubicBezTo>
                  <a:cubicBezTo>
                    <a:pt x="262" y="407"/>
                    <a:pt x="266" y="409"/>
                    <a:pt x="269" y="408"/>
                  </a:cubicBezTo>
                  <a:cubicBezTo>
                    <a:pt x="270" y="407"/>
                    <a:pt x="268" y="405"/>
                    <a:pt x="268" y="404"/>
                  </a:cubicBezTo>
                  <a:cubicBezTo>
                    <a:pt x="270" y="402"/>
                    <a:pt x="273" y="401"/>
                    <a:pt x="275" y="401"/>
                  </a:cubicBezTo>
                  <a:cubicBezTo>
                    <a:pt x="278" y="401"/>
                    <a:pt x="280" y="404"/>
                    <a:pt x="283" y="404"/>
                  </a:cubicBezTo>
                  <a:cubicBezTo>
                    <a:pt x="284" y="405"/>
                    <a:pt x="284" y="403"/>
                    <a:pt x="285" y="403"/>
                  </a:cubicBezTo>
                  <a:cubicBezTo>
                    <a:pt x="287" y="401"/>
                    <a:pt x="289" y="399"/>
                    <a:pt x="292" y="398"/>
                  </a:cubicBezTo>
                  <a:cubicBezTo>
                    <a:pt x="294" y="398"/>
                    <a:pt x="296" y="400"/>
                    <a:pt x="297" y="401"/>
                  </a:cubicBezTo>
                  <a:cubicBezTo>
                    <a:pt x="298" y="403"/>
                    <a:pt x="300" y="405"/>
                    <a:pt x="300" y="408"/>
                  </a:cubicBezTo>
                  <a:cubicBezTo>
                    <a:pt x="299" y="410"/>
                    <a:pt x="295" y="411"/>
                    <a:pt x="295" y="414"/>
                  </a:cubicBezTo>
                  <a:cubicBezTo>
                    <a:pt x="295" y="415"/>
                    <a:pt x="298" y="413"/>
                    <a:pt x="300" y="414"/>
                  </a:cubicBezTo>
                  <a:cubicBezTo>
                    <a:pt x="301" y="414"/>
                    <a:pt x="302" y="416"/>
                    <a:pt x="303" y="416"/>
                  </a:cubicBezTo>
                  <a:cubicBezTo>
                    <a:pt x="305" y="417"/>
                    <a:pt x="308" y="415"/>
                    <a:pt x="310" y="416"/>
                  </a:cubicBezTo>
                  <a:cubicBezTo>
                    <a:pt x="311" y="416"/>
                    <a:pt x="311" y="418"/>
                    <a:pt x="312" y="419"/>
                  </a:cubicBezTo>
                  <a:cubicBezTo>
                    <a:pt x="312" y="418"/>
                    <a:pt x="312" y="414"/>
                    <a:pt x="313" y="414"/>
                  </a:cubicBezTo>
                  <a:cubicBezTo>
                    <a:pt x="316" y="414"/>
                    <a:pt x="318" y="417"/>
                    <a:pt x="320" y="419"/>
                  </a:cubicBezTo>
                  <a:cubicBezTo>
                    <a:pt x="321" y="422"/>
                    <a:pt x="320" y="426"/>
                    <a:pt x="322" y="428"/>
                  </a:cubicBezTo>
                  <a:cubicBezTo>
                    <a:pt x="323" y="429"/>
                    <a:pt x="326" y="427"/>
                    <a:pt x="326" y="428"/>
                  </a:cubicBezTo>
                  <a:cubicBezTo>
                    <a:pt x="328" y="432"/>
                    <a:pt x="327" y="437"/>
                    <a:pt x="328" y="442"/>
                  </a:cubicBezTo>
                  <a:cubicBezTo>
                    <a:pt x="328" y="444"/>
                    <a:pt x="330" y="446"/>
                    <a:pt x="330" y="448"/>
                  </a:cubicBezTo>
                  <a:cubicBezTo>
                    <a:pt x="329" y="449"/>
                    <a:pt x="327" y="448"/>
                    <a:pt x="327" y="448"/>
                  </a:cubicBezTo>
                  <a:cubicBezTo>
                    <a:pt x="327" y="451"/>
                    <a:pt x="330" y="452"/>
                    <a:pt x="329" y="454"/>
                  </a:cubicBezTo>
                  <a:cubicBezTo>
                    <a:pt x="328" y="458"/>
                    <a:pt x="324" y="459"/>
                    <a:pt x="322" y="462"/>
                  </a:cubicBezTo>
                  <a:cubicBezTo>
                    <a:pt x="320" y="467"/>
                    <a:pt x="316" y="469"/>
                    <a:pt x="316" y="473"/>
                  </a:cubicBezTo>
                  <a:cubicBezTo>
                    <a:pt x="315" y="476"/>
                    <a:pt x="320" y="475"/>
                    <a:pt x="321" y="478"/>
                  </a:cubicBezTo>
                  <a:cubicBezTo>
                    <a:pt x="321" y="480"/>
                    <a:pt x="317" y="480"/>
                    <a:pt x="318" y="482"/>
                  </a:cubicBezTo>
                  <a:cubicBezTo>
                    <a:pt x="318" y="484"/>
                    <a:pt x="320" y="485"/>
                    <a:pt x="321" y="485"/>
                  </a:cubicBezTo>
                  <a:cubicBezTo>
                    <a:pt x="323" y="484"/>
                    <a:pt x="324" y="481"/>
                    <a:pt x="327" y="480"/>
                  </a:cubicBezTo>
                  <a:cubicBezTo>
                    <a:pt x="330" y="479"/>
                    <a:pt x="334" y="480"/>
                    <a:pt x="337" y="479"/>
                  </a:cubicBezTo>
                  <a:cubicBezTo>
                    <a:pt x="339" y="480"/>
                    <a:pt x="334" y="481"/>
                    <a:pt x="334" y="483"/>
                  </a:cubicBezTo>
                  <a:cubicBezTo>
                    <a:pt x="333" y="487"/>
                    <a:pt x="333" y="491"/>
                    <a:pt x="335" y="494"/>
                  </a:cubicBezTo>
                  <a:cubicBezTo>
                    <a:pt x="337" y="496"/>
                    <a:pt x="341" y="495"/>
                    <a:pt x="343" y="497"/>
                  </a:cubicBezTo>
                  <a:cubicBezTo>
                    <a:pt x="344" y="498"/>
                    <a:pt x="340" y="498"/>
                    <a:pt x="340" y="499"/>
                  </a:cubicBezTo>
                  <a:cubicBezTo>
                    <a:pt x="340" y="501"/>
                    <a:pt x="343" y="502"/>
                    <a:pt x="342" y="504"/>
                  </a:cubicBezTo>
                  <a:cubicBezTo>
                    <a:pt x="342" y="506"/>
                    <a:pt x="338" y="509"/>
                    <a:pt x="340" y="511"/>
                  </a:cubicBezTo>
                  <a:cubicBezTo>
                    <a:pt x="343" y="513"/>
                    <a:pt x="348" y="509"/>
                    <a:pt x="351" y="511"/>
                  </a:cubicBezTo>
                  <a:cubicBezTo>
                    <a:pt x="352" y="512"/>
                    <a:pt x="350" y="516"/>
                    <a:pt x="351" y="517"/>
                  </a:cubicBezTo>
                  <a:cubicBezTo>
                    <a:pt x="352" y="518"/>
                    <a:pt x="354" y="517"/>
                    <a:pt x="355" y="517"/>
                  </a:cubicBezTo>
                  <a:cubicBezTo>
                    <a:pt x="359" y="516"/>
                    <a:pt x="362" y="514"/>
                    <a:pt x="366" y="515"/>
                  </a:cubicBezTo>
                  <a:cubicBezTo>
                    <a:pt x="367" y="515"/>
                    <a:pt x="366" y="516"/>
                    <a:pt x="366" y="517"/>
                  </a:cubicBezTo>
                  <a:cubicBezTo>
                    <a:pt x="367" y="518"/>
                    <a:pt x="366" y="520"/>
                    <a:pt x="367" y="521"/>
                  </a:cubicBezTo>
                  <a:cubicBezTo>
                    <a:pt x="368" y="522"/>
                    <a:pt x="369" y="522"/>
                    <a:pt x="370" y="522"/>
                  </a:cubicBezTo>
                  <a:cubicBezTo>
                    <a:pt x="371" y="522"/>
                    <a:pt x="373" y="522"/>
                    <a:pt x="374" y="522"/>
                  </a:cubicBezTo>
                  <a:cubicBezTo>
                    <a:pt x="374" y="521"/>
                    <a:pt x="376" y="521"/>
                    <a:pt x="376" y="521"/>
                  </a:cubicBezTo>
                  <a:cubicBezTo>
                    <a:pt x="376" y="519"/>
                    <a:pt x="375" y="518"/>
                    <a:pt x="374" y="516"/>
                  </a:cubicBezTo>
                  <a:cubicBezTo>
                    <a:pt x="374" y="515"/>
                    <a:pt x="373" y="513"/>
                    <a:pt x="372" y="511"/>
                  </a:cubicBezTo>
                  <a:cubicBezTo>
                    <a:pt x="371" y="510"/>
                    <a:pt x="371" y="508"/>
                    <a:pt x="371" y="507"/>
                  </a:cubicBezTo>
                  <a:cubicBezTo>
                    <a:pt x="371" y="506"/>
                    <a:pt x="372" y="505"/>
                    <a:pt x="373" y="504"/>
                  </a:cubicBezTo>
                  <a:cubicBezTo>
                    <a:pt x="374" y="504"/>
                    <a:pt x="375" y="505"/>
                    <a:pt x="376" y="506"/>
                  </a:cubicBezTo>
                  <a:cubicBezTo>
                    <a:pt x="377" y="506"/>
                    <a:pt x="378" y="506"/>
                    <a:pt x="379" y="506"/>
                  </a:cubicBezTo>
                  <a:cubicBezTo>
                    <a:pt x="380" y="504"/>
                    <a:pt x="380" y="503"/>
                    <a:pt x="381" y="502"/>
                  </a:cubicBezTo>
                  <a:cubicBezTo>
                    <a:pt x="382" y="501"/>
                    <a:pt x="384" y="501"/>
                    <a:pt x="385" y="502"/>
                  </a:cubicBezTo>
                  <a:cubicBezTo>
                    <a:pt x="386" y="503"/>
                    <a:pt x="385" y="505"/>
                    <a:pt x="386" y="506"/>
                  </a:cubicBezTo>
                  <a:cubicBezTo>
                    <a:pt x="387" y="506"/>
                    <a:pt x="388" y="506"/>
                    <a:pt x="390" y="506"/>
                  </a:cubicBezTo>
                  <a:cubicBezTo>
                    <a:pt x="391" y="505"/>
                    <a:pt x="391" y="502"/>
                    <a:pt x="393" y="502"/>
                  </a:cubicBezTo>
                  <a:cubicBezTo>
                    <a:pt x="394" y="502"/>
                    <a:pt x="394" y="505"/>
                    <a:pt x="395" y="505"/>
                  </a:cubicBezTo>
                  <a:cubicBezTo>
                    <a:pt x="396" y="505"/>
                    <a:pt x="397" y="503"/>
                    <a:pt x="398" y="502"/>
                  </a:cubicBezTo>
                  <a:cubicBezTo>
                    <a:pt x="399" y="502"/>
                    <a:pt x="400" y="504"/>
                    <a:pt x="401" y="504"/>
                  </a:cubicBezTo>
                  <a:cubicBezTo>
                    <a:pt x="402" y="503"/>
                    <a:pt x="401" y="501"/>
                    <a:pt x="403" y="501"/>
                  </a:cubicBezTo>
                  <a:cubicBezTo>
                    <a:pt x="404" y="500"/>
                    <a:pt x="405" y="503"/>
                    <a:pt x="407" y="502"/>
                  </a:cubicBezTo>
                  <a:cubicBezTo>
                    <a:pt x="408" y="502"/>
                    <a:pt x="407" y="500"/>
                    <a:pt x="407" y="500"/>
                  </a:cubicBezTo>
                  <a:cubicBezTo>
                    <a:pt x="409" y="498"/>
                    <a:pt x="411" y="496"/>
                    <a:pt x="413" y="494"/>
                  </a:cubicBezTo>
                  <a:cubicBezTo>
                    <a:pt x="415" y="493"/>
                    <a:pt x="417" y="490"/>
                    <a:pt x="419" y="491"/>
                  </a:cubicBezTo>
                  <a:cubicBezTo>
                    <a:pt x="422" y="492"/>
                    <a:pt x="421" y="496"/>
                    <a:pt x="423" y="498"/>
                  </a:cubicBezTo>
                  <a:cubicBezTo>
                    <a:pt x="424" y="498"/>
                    <a:pt x="425" y="497"/>
                    <a:pt x="427" y="497"/>
                  </a:cubicBezTo>
                  <a:cubicBezTo>
                    <a:pt x="428" y="497"/>
                    <a:pt x="429" y="499"/>
                    <a:pt x="431" y="499"/>
                  </a:cubicBezTo>
                  <a:cubicBezTo>
                    <a:pt x="432" y="499"/>
                    <a:pt x="433" y="498"/>
                    <a:pt x="434" y="498"/>
                  </a:cubicBezTo>
                  <a:cubicBezTo>
                    <a:pt x="435" y="498"/>
                    <a:pt x="436" y="500"/>
                    <a:pt x="436" y="501"/>
                  </a:cubicBezTo>
                  <a:cubicBezTo>
                    <a:pt x="436" y="503"/>
                    <a:pt x="433" y="504"/>
                    <a:pt x="433" y="506"/>
                  </a:cubicBezTo>
                  <a:cubicBezTo>
                    <a:pt x="435" y="508"/>
                    <a:pt x="436" y="511"/>
                    <a:pt x="437" y="513"/>
                  </a:cubicBezTo>
                  <a:cubicBezTo>
                    <a:pt x="439" y="513"/>
                    <a:pt x="441" y="515"/>
                    <a:pt x="444" y="516"/>
                  </a:cubicBezTo>
                  <a:cubicBezTo>
                    <a:pt x="446" y="517"/>
                    <a:pt x="449" y="518"/>
                    <a:pt x="451" y="519"/>
                  </a:cubicBezTo>
                  <a:cubicBezTo>
                    <a:pt x="454" y="518"/>
                    <a:pt x="457" y="516"/>
                    <a:pt x="460" y="516"/>
                  </a:cubicBezTo>
                  <a:cubicBezTo>
                    <a:pt x="462" y="516"/>
                    <a:pt x="464" y="518"/>
                    <a:pt x="466" y="518"/>
                  </a:cubicBezTo>
                  <a:cubicBezTo>
                    <a:pt x="468" y="517"/>
                    <a:pt x="469" y="514"/>
                    <a:pt x="471" y="514"/>
                  </a:cubicBezTo>
                  <a:cubicBezTo>
                    <a:pt x="473" y="514"/>
                    <a:pt x="475" y="516"/>
                    <a:pt x="475" y="518"/>
                  </a:cubicBezTo>
                  <a:cubicBezTo>
                    <a:pt x="475" y="519"/>
                    <a:pt x="472" y="518"/>
                    <a:pt x="472" y="520"/>
                  </a:cubicBezTo>
                  <a:cubicBezTo>
                    <a:pt x="471" y="522"/>
                    <a:pt x="471" y="526"/>
                    <a:pt x="472" y="528"/>
                  </a:cubicBezTo>
                  <a:cubicBezTo>
                    <a:pt x="473" y="532"/>
                    <a:pt x="474" y="536"/>
                    <a:pt x="477" y="539"/>
                  </a:cubicBezTo>
                  <a:cubicBezTo>
                    <a:pt x="479" y="540"/>
                    <a:pt x="482" y="539"/>
                    <a:pt x="483" y="538"/>
                  </a:cubicBezTo>
                  <a:cubicBezTo>
                    <a:pt x="485" y="537"/>
                    <a:pt x="486" y="534"/>
                    <a:pt x="485" y="533"/>
                  </a:cubicBezTo>
                  <a:cubicBezTo>
                    <a:pt x="484" y="530"/>
                    <a:pt x="481" y="530"/>
                    <a:pt x="480" y="527"/>
                  </a:cubicBezTo>
                  <a:cubicBezTo>
                    <a:pt x="480" y="525"/>
                    <a:pt x="480" y="522"/>
                    <a:pt x="482" y="521"/>
                  </a:cubicBezTo>
                  <a:cubicBezTo>
                    <a:pt x="483" y="520"/>
                    <a:pt x="485" y="523"/>
                    <a:pt x="486" y="523"/>
                  </a:cubicBezTo>
                  <a:cubicBezTo>
                    <a:pt x="488" y="522"/>
                    <a:pt x="489" y="521"/>
                    <a:pt x="490" y="520"/>
                  </a:cubicBezTo>
                  <a:cubicBezTo>
                    <a:pt x="490" y="520"/>
                    <a:pt x="490" y="518"/>
                    <a:pt x="491" y="518"/>
                  </a:cubicBezTo>
                  <a:cubicBezTo>
                    <a:pt x="492" y="518"/>
                    <a:pt x="493" y="520"/>
                    <a:pt x="494" y="520"/>
                  </a:cubicBezTo>
                  <a:cubicBezTo>
                    <a:pt x="497" y="519"/>
                    <a:pt x="499" y="518"/>
                    <a:pt x="501" y="517"/>
                  </a:cubicBezTo>
                  <a:cubicBezTo>
                    <a:pt x="502" y="517"/>
                    <a:pt x="504" y="516"/>
                    <a:pt x="505" y="515"/>
                  </a:cubicBezTo>
                  <a:cubicBezTo>
                    <a:pt x="507" y="514"/>
                    <a:pt x="508" y="514"/>
                    <a:pt x="510" y="514"/>
                  </a:cubicBezTo>
                  <a:cubicBezTo>
                    <a:pt x="510" y="514"/>
                    <a:pt x="511" y="515"/>
                    <a:pt x="512" y="515"/>
                  </a:cubicBezTo>
                  <a:cubicBezTo>
                    <a:pt x="514" y="514"/>
                    <a:pt x="516" y="512"/>
                    <a:pt x="518" y="511"/>
                  </a:cubicBezTo>
                  <a:cubicBezTo>
                    <a:pt x="519" y="511"/>
                    <a:pt x="522" y="512"/>
                    <a:pt x="522" y="510"/>
                  </a:cubicBezTo>
                  <a:cubicBezTo>
                    <a:pt x="522" y="507"/>
                    <a:pt x="519" y="505"/>
                    <a:pt x="519" y="501"/>
                  </a:cubicBezTo>
                  <a:cubicBezTo>
                    <a:pt x="519" y="500"/>
                    <a:pt x="521" y="502"/>
                    <a:pt x="522" y="501"/>
                  </a:cubicBezTo>
                  <a:cubicBezTo>
                    <a:pt x="522" y="501"/>
                    <a:pt x="521" y="497"/>
                    <a:pt x="522" y="498"/>
                  </a:cubicBezTo>
                  <a:cubicBezTo>
                    <a:pt x="524" y="500"/>
                    <a:pt x="525" y="505"/>
                    <a:pt x="528" y="506"/>
                  </a:cubicBezTo>
                  <a:cubicBezTo>
                    <a:pt x="529" y="507"/>
                    <a:pt x="530" y="504"/>
                    <a:pt x="532" y="503"/>
                  </a:cubicBezTo>
                  <a:cubicBezTo>
                    <a:pt x="534" y="501"/>
                    <a:pt x="537" y="500"/>
                    <a:pt x="539" y="500"/>
                  </a:cubicBezTo>
                  <a:cubicBezTo>
                    <a:pt x="541" y="500"/>
                    <a:pt x="541" y="504"/>
                    <a:pt x="543" y="504"/>
                  </a:cubicBezTo>
                  <a:cubicBezTo>
                    <a:pt x="544" y="504"/>
                    <a:pt x="545" y="501"/>
                    <a:pt x="547" y="501"/>
                  </a:cubicBezTo>
                  <a:cubicBezTo>
                    <a:pt x="550" y="499"/>
                    <a:pt x="554" y="500"/>
                    <a:pt x="557" y="498"/>
                  </a:cubicBezTo>
                  <a:cubicBezTo>
                    <a:pt x="560" y="496"/>
                    <a:pt x="559" y="492"/>
                    <a:pt x="561" y="489"/>
                  </a:cubicBezTo>
                  <a:cubicBezTo>
                    <a:pt x="564" y="485"/>
                    <a:pt x="569" y="482"/>
                    <a:pt x="573" y="478"/>
                  </a:cubicBezTo>
                  <a:cubicBezTo>
                    <a:pt x="576" y="475"/>
                    <a:pt x="579" y="472"/>
                    <a:pt x="582" y="468"/>
                  </a:cubicBezTo>
                  <a:cubicBezTo>
                    <a:pt x="584" y="465"/>
                    <a:pt x="585" y="461"/>
                    <a:pt x="587" y="459"/>
                  </a:cubicBezTo>
                  <a:cubicBezTo>
                    <a:pt x="589" y="458"/>
                    <a:pt x="592" y="460"/>
                    <a:pt x="593" y="459"/>
                  </a:cubicBezTo>
                  <a:cubicBezTo>
                    <a:pt x="594" y="457"/>
                    <a:pt x="593" y="454"/>
                    <a:pt x="592" y="451"/>
                  </a:cubicBezTo>
                  <a:cubicBezTo>
                    <a:pt x="592" y="450"/>
                    <a:pt x="588" y="450"/>
                    <a:pt x="589" y="449"/>
                  </a:cubicBezTo>
                  <a:cubicBezTo>
                    <a:pt x="590" y="445"/>
                    <a:pt x="594" y="443"/>
                    <a:pt x="596" y="440"/>
                  </a:cubicBezTo>
                  <a:cubicBezTo>
                    <a:pt x="598" y="435"/>
                    <a:pt x="599" y="429"/>
                    <a:pt x="602" y="424"/>
                  </a:cubicBezTo>
                  <a:cubicBezTo>
                    <a:pt x="603" y="421"/>
                    <a:pt x="604" y="418"/>
                    <a:pt x="607" y="417"/>
                  </a:cubicBezTo>
                  <a:cubicBezTo>
                    <a:pt x="608" y="416"/>
                    <a:pt x="608" y="420"/>
                    <a:pt x="609" y="420"/>
                  </a:cubicBezTo>
                  <a:cubicBezTo>
                    <a:pt x="611" y="420"/>
                    <a:pt x="611" y="418"/>
                    <a:pt x="611" y="416"/>
                  </a:cubicBezTo>
                  <a:cubicBezTo>
                    <a:pt x="611" y="414"/>
                    <a:pt x="608" y="413"/>
                    <a:pt x="608" y="411"/>
                  </a:cubicBezTo>
                  <a:cubicBezTo>
                    <a:pt x="608" y="410"/>
                    <a:pt x="611" y="410"/>
                    <a:pt x="611" y="409"/>
                  </a:cubicBezTo>
                  <a:cubicBezTo>
                    <a:pt x="611" y="407"/>
                    <a:pt x="608" y="405"/>
                    <a:pt x="609" y="403"/>
                  </a:cubicBezTo>
                  <a:cubicBezTo>
                    <a:pt x="609" y="401"/>
                    <a:pt x="612" y="404"/>
                    <a:pt x="613" y="402"/>
                  </a:cubicBezTo>
                  <a:cubicBezTo>
                    <a:pt x="615" y="400"/>
                    <a:pt x="616" y="397"/>
                    <a:pt x="614" y="394"/>
                  </a:cubicBezTo>
                  <a:cubicBezTo>
                    <a:pt x="614" y="393"/>
                    <a:pt x="610" y="397"/>
                    <a:pt x="610" y="395"/>
                  </a:cubicBezTo>
                  <a:cubicBezTo>
                    <a:pt x="609" y="394"/>
                    <a:pt x="614" y="392"/>
                    <a:pt x="613" y="391"/>
                  </a:cubicBezTo>
                  <a:cubicBezTo>
                    <a:pt x="611" y="388"/>
                    <a:pt x="607" y="386"/>
                    <a:pt x="603" y="386"/>
                  </a:cubicBezTo>
                  <a:cubicBezTo>
                    <a:pt x="602" y="385"/>
                    <a:pt x="601" y="388"/>
                    <a:pt x="600" y="388"/>
                  </a:cubicBezTo>
                  <a:cubicBezTo>
                    <a:pt x="597" y="388"/>
                    <a:pt x="590" y="387"/>
                    <a:pt x="591" y="383"/>
                  </a:cubicBezTo>
                  <a:cubicBezTo>
                    <a:pt x="591" y="380"/>
                    <a:pt x="597" y="386"/>
                    <a:pt x="600" y="384"/>
                  </a:cubicBezTo>
                  <a:cubicBezTo>
                    <a:pt x="603" y="383"/>
                    <a:pt x="604" y="378"/>
                    <a:pt x="607" y="376"/>
                  </a:cubicBezTo>
                  <a:cubicBezTo>
                    <a:pt x="608" y="375"/>
                    <a:pt x="611" y="376"/>
                    <a:pt x="610" y="375"/>
                  </a:cubicBezTo>
                  <a:cubicBezTo>
                    <a:pt x="609" y="372"/>
                    <a:pt x="606" y="370"/>
                    <a:pt x="604" y="367"/>
                  </a:cubicBezTo>
                  <a:cubicBezTo>
                    <a:pt x="603" y="366"/>
                    <a:pt x="602" y="366"/>
                    <a:pt x="601" y="365"/>
                  </a:cubicBezTo>
                  <a:cubicBezTo>
                    <a:pt x="599" y="364"/>
                    <a:pt x="597" y="362"/>
                    <a:pt x="595" y="361"/>
                  </a:cubicBezTo>
                  <a:cubicBezTo>
                    <a:pt x="593" y="359"/>
                    <a:pt x="590" y="359"/>
                    <a:pt x="588" y="357"/>
                  </a:cubicBezTo>
                  <a:cubicBezTo>
                    <a:pt x="587" y="356"/>
                    <a:pt x="589" y="355"/>
                    <a:pt x="589" y="355"/>
                  </a:cubicBezTo>
                  <a:cubicBezTo>
                    <a:pt x="593" y="356"/>
                    <a:pt x="595" y="359"/>
                    <a:pt x="598" y="360"/>
                  </a:cubicBezTo>
                  <a:cubicBezTo>
                    <a:pt x="599" y="361"/>
                    <a:pt x="602" y="360"/>
                    <a:pt x="603" y="361"/>
                  </a:cubicBezTo>
                  <a:cubicBezTo>
                    <a:pt x="606" y="362"/>
                    <a:pt x="607" y="365"/>
                    <a:pt x="609" y="365"/>
                  </a:cubicBezTo>
                  <a:cubicBezTo>
                    <a:pt x="610" y="366"/>
                    <a:pt x="612" y="364"/>
                    <a:pt x="612" y="363"/>
                  </a:cubicBezTo>
                  <a:cubicBezTo>
                    <a:pt x="610" y="360"/>
                    <a:pt x="608" y="359"/>
                    <a:pt x="606" y="357"/>
                  </a:cubicBezTo>
                  <a:cubicBezTo>
                    <a:pt x="602" y="355"/>
                    <a:pt x="598" y="353"/>
                    <a:pt x="594" y="351"/>
                  </a:cubicBezTo>
                  <a:cubicBezTo>
                    <a:pt x="593" y="349"/>
                    <a:pt x="592" y="347"/>
                    <a:pt x="592" y="346"/>
                  </a:cubicBezTo>
                  <a:cubicBezTo>
                    <a:pt x="591" y="345"/>
                    <a:pt x="592" y="344"/>
                    <a:pt x="592" y="343"/>
                  </a:cubicBezTo>
                  <a:cubicBezTo>
                    <a:pt x="591" y="341"/>
                    <a:pt x="589" y="340"/>
                    <a:pt x="589" y="338"/>
                  </a:cubicBezTo>
                  <a:cubicBezTo>
                    <a:pt x="587" y="335"/>
                    <a:pt x="587" y="331"/>
                    <a:pt x="585" y="329"/>
                  </a:cubicBezTo>
                  <a:cubicBezTo>
                    <a:pt x="583" y="326"/>
                    <a:pt x="580" y="323"/>
                    <a:pt x="578" y="320"/>
                  </a:cubicBezTo>
                  <a:cubicBezTo>
                    <a:pt x="576" y="319"/>
                    <a:pt x="573" y="318"/>
                    <a:pt x="571" y="316"/>
                  </a:cubicBezTo>
                  <a:cubicBezTo>
                    <a:pt x="570" y="316"/>
                    <a:pt x="568" y="315"/>
                    <a:pt x="567" y="314"/>
                  </a:cubicBezTo>
                  <a:cubicBezTo>
                    <a:pt x="567" y="312"/>
                    <a:pt x="569" y="310"/>
                    <a:pt x="569" y="309"/>
                  </a:cubicBezTo>
                  <a:cubicBezTo>
                    <a:pt x="570" y="307"/>
                    <a:pt x="570" y="304"/>
                    <a:pt x="571" y="303"/>
                  </a:cubicBezTo>
                  <a:cubicBezTo>
                    <a:pt x="573" y="300"/>
                    <a:pt x="577" y="299"/>
                    <a:pt x="578" y="296"/>
                  </a:cubicBezTo>
                  <a:cubicBezTo>
                    <a:pt x="578" y="294"/>
                    <a:pt x="574" y="293"/>
                    <a:pt x="574" y="292"/>
                  </a:cubicBezTo>
                  <a:cubicBezTo>
                    <a:pt x="575" y="290"/>
                    <a:pt x="578" y="290"/>
                    <a:pt x="579" y="290"/>
                  </a:cubicBezTo>
                  <a:cubicBezTo>
                    <a:pt x="581" y="290"/>
                    <a:pt x="582" y="293"/>
                    <a:pt x="583" y="292"/>
                  </a:cubicBezTo>
                  <a:cubicBezTo>
                    <a:pt x="584" y="290"/>
                    <a:pt x="581" y="287"/>
                    <a:pt x="582" y="285"/>
                  </a:cubicBezTo>
                  <a:cubicBezTo>
                    <a:pt x="584" y="283"/>
                    <a:pt x="587" y="282"/>
                    <a:pt x="590" y="281"/>
                  </a:cubicBezTo>
                  <a:cubicBezTo>
                    <a:pt x="591" y="281"/>
                    <a:pt x="591" y="284"/>
                    <a:pt x="592" y="283"/>
                  </a:cubicBezTo>
                  <a:cubicBezTo>
                    <a:pt x="594" y="282"/>
                    <a:pt x="594" y="280"/>
                    <a:pt x="595" y="278"/>
                  </a:cubicBezTo>
                  <a:cubicBezTo>
                    <a:pt x="596" y="278"/>
                    <a:pt x="597" y="278"/>
                    <a:pt x="597" y="278"/>
                  </a:cubicBezTo>
                  <a:cubicBezTo>
                    <a:pt x="598" y="279"/>
                    <a:pt x="597" y="281"/>
                    <a:pt x="599" y="281"/>
                  </a:cubicBezTo>
                  <a:cubicBezTo>
                    <a:pt x="600" y="281"/>
                    <a:pt x="602" y="280"/>
                    <a:pt x="603" y="278"/>
                  </a:cubicBezTo>
                  <a:cubicBezTo>
                    <a:pt x="603" y="277"/>
                    <a:pt x="601" y="276"/>
                    <a:pt x="601" y="274"/>
                  </a:cubicBezTo>
                  <a:cubicBezTo>
                    <a:pt x="601" y="273"/>
                    <a:pt x="602" y="273"/>
                    <a:pt x="602" y="272"/>
                  </a:cubicBezTo>
                  <a:cubicBezTo>
                    <a:pt x="602" y="270"/>
                    <a:pt x="603" y="268"/>
                    <a:pt x="602" y="267"/>
                  </a:cubicBezTo>
                  <a:cubicBezTo>
                    <a:pt x="600" y="266"/>
                    <a:pt x="597" y="268"/>
                    <a:pt x="595" y="268"/>
                  </a:cubicBezTo>
                  <a:cubicBezTo>
                    <a:pt x="593" y="268"/>
                    <a:pt x="590" y="269"/>
                    <a:pt x="588" y="269"/>
                  </a:cubicBezTo>
                  <a:cubicBezTo>
                    <a:pt x="585" y="268"/>
                    <a:pt x="583" y="264"/>
                    <a:pt x="580" y="264"/>
                  </a:cubicBezTo>
                  <a:cubicBezTo>
                    <a:pt x="578" y="263"/>
                    <a:pt x="575" y="263"/>
                    <a:pt x="573" y="265"/>
                  </a:cubicBezTo>
                  <a:cubicBezTo>
                    <a:pt x="570" y="267"/>
                    <a:pt x="570" y="272"/>
                    <a:pt x="567" y="274"/>
                  </a:cubicBezTo>
                  <a:cubicBezTo>
                    <a:pt x="566" y="275"/>
                    <a:pt x="565" y="273"/>
                    <a:pt x="564" y="272"/>
                  </a:cubicBezTo>
                  <a:cubicBezTo>
                    <a:pt x="561" y="271"/>
                    <a:pt x="558" y="271"/>
                    <a:pt x="557" y="269"/>
                  </a:cubicBezTo>
                  <a:cubicBezTo>
                    <a:pt x="556" y="268"/>
                    <a:pt x="557" y="267"/>
                    <a:pt x="557" y="265"/>
                  </a:cubicBezTo>
                  <a:cubicBezTo>
                    <a:pt x="556" y="263"/>
                    <a:pt x="557" y="261"/>
                    <a:pt x="555" y="260"/>
                  </a:cubicBezTo>
                  <a:cubicBezTo>
                    <a:pt x="552" y="259"/>
                    <a:pt x="548" y="261"/>
                    <a:pt x="545" y="260"/>
                  </a:cubicBezTo>
                  <a:cubicBezTo>
                    <a:pt x="542" y="259"/>
                    <a:pt x="538" y="257"/>
                    <a:pt x="537" y="254"/>
                  </a:cubicBezTo>
                  <a:cubicBezTo>
                    <a:pt x="536" y="250"/>
                    <a:pt x="538" y="245"/>
                    <a:pt x="541" y="243"/>
                  </a:cubicBezTo>
                  <a:cubicBezTo>
                    <a:pt x="543" y="241"/>
                    <a:pt x="545" y="245"/>
                    <a:pt x="548" y="246"/>
                  </a:cubicBezTo>
                  <a:cubicBezTo>
                    <a:pt x="550" y="246"/>
                    <a:pt x="553" y="246"/>
                    <a:pt x="555" y="244"/>
                  </a:cubicBezTo>
                  <a:cubicBezTo>
                    <a:pt x="557" y="241"/>
                    <a:pt x="556" y="236"/>
                    <a:pt x="559" y="233"/>
                  </a:cubicBezTo>
                  <a:cubicBezTo>
                    <a:pt x="561" y="230"/>
                    <a:pt x="566" y="229"/>
                    <a:pt x="569" y="225"/>
                  </a:cubicBezTo>
                  <a:cubicBezTo>
                    <a:pt x="571" y="222"/>
                    <a:pt x="571" y="217"/>
                    <a:pt x="574" y="214"/>
                  </a:cubicBezTo>
                  <a:cubicBezTo>
                    <a:pt x="577" y="213"/>
                    <a:pt x="580" y="214"/>
                    <a:pt x="583" y="215"/>
                  </a:cubicBezTo>
                  <a:cubicBezTo>
                    <a:pt x="586" y="216"/>
                    <a:pt x="588" y="219"/>
                    <a:pt x="588" y="222"/>
                  </a:cubicBezTo>
                  <a:cubicBezTo>
                    <a:pt x="589" y="225"/>
                    <a:pt x="588" y="229"/>
                    <a:pt x="586" y="231"/>
                  </a:cubicBezTo>
                  <a:cubicBezTo>
                    <a:pt x="585" y="232"/>
                    <a:pt x="583" y="231"/>
                    <a:pt x="582" y="232"/>
                  </a:cubicBezTo>
                  <a:cubicBezTo>
                    <a:pt x="581" y="234"/>
                    <a:pt x="579" y="238"/>
                    <a:pt x="581" y="240"/>
                  </a:cubicBezTo>
                  <a:cubicBezTo>
                    <a:pt x="582" y="242"/>
                    <a:pt x="586" y="238"/>
                    <a:pt x="586" y="240"/>
                  </a:cubicBezTo>
                  <a:cubicBezTo>
                    <a:pt x="587" y="243"/>
                    <a:pt x="582" y="243"/>
                    <a:pt x="581" y="246"/>
                  </a:cubicBezTo>
                  <a:cubicBezTo>
                    <a:pt x="580" y="247"/>
                    <a:pt x="580" y="250"/>
                    <a:pt x="581" y="250"/>
                  </a:cubicBezTo>
                  <a:cubicBezTo>
                    <a:pt x="585" y="250"/>
                    <a:pt x="588" y="247"/>
                    <a:pt x="591" y="244"/>
                  </a:cubicBezTo>
                  <a:cubicBezTo>
                    <a:pt x="594" y="242"/>
                    <a:pt x="595" y="237"/>
                    <a:pt x="598" y="235"/>
                  </a:cubicBezTo>
                  <a:cubicBezTo>
                    <a:pt x="601" y="233"/>
                    <a:pt x="604" y="233"/>
                    <a:pt x="608" y="232"/>
                  </a:cubicBezTo>
                  <a:cubicBezTo>
                    <a:pt x="610" y="232"/>
                    <a:pt x="613" y="231"/>
                    <a:pt x="616" y="231"/>
                  </a:cubicBezTo>
                  <a:cubicBezTo>
                    <a:pt x="620" y="227"/>
                    <a:pt x="624" y="223"/>
                    <a:pt x="628" y="219"/>
                  </a:cubicBezTo>
                  <a:cubicBezTo>
                    <a:pt x="630" y="217"/>
                    <a:pt x="632" y="217"/>
                    <a:pt x="633" y="215"/>
                  </a:cubicBezTo>
                  <a:cubicBezTo>
                    <a:pt x="635" y="214"/>
                    <a:pt x="637" y="211"/>
                    <a:pt x="637" y="209"/>
                  </a:cubicBezTo>
                  <a:cubicBezTo>
                    <a:pt x="638" y="206"/>
                    <a:pt x="636" y="204"/>
                    <a:pt x="637" y="202"/>
                  </a:cubicBezTo>
                  <a:cubicBezTo>
                    <a:pt x="638" y="200"/>
                    <a:pt x="640" y="200"/>
                    <a:pt x="642" y="200"/>
                  </a:cubicBezTo>
                  <a:cubicBezTo>
                    <a:pt x="643" y="200"/>
                    <a:pt x="643" y="202"/>
                    <a:pt x="643" y="203"/>
                  </a:cubicBezTo>
                  <a:cubicBezTo>
                    <a:pt x="645" y="204"/>
                    <a:pt x="646" y="205"/>
                    <a:pt x="648" y="205"/>
                  </a:cubicBezTo>
                  <a:cubicBezTo>
                    <a:pt x="650" y="205"/>
                    <a:pt x="653" y="206"/>
                    <a:pt x="655" y="205"/>
                  </a:cubicBezTo>
                  <a:cubicBezTo>
                    <a:pt x="656" y="204"/>
                    <a:pt x="655" y="202"/>
                    <a:pt x="655" y="201"/>
                  </a:cubicBezTo>
                  <a:cubicBezTo>
                    <a:pt x="655" y="200"/>
                    <a:pt x="654" y="198"/>
                    <a:pt x="655" y="197"/>
                  </a:cubicBezTo>
                  <a:cubicBezTo>
                    <a:pt x="657" y="196"/>
                    <a:pt x="661" y="199"/>
                    <a:pt x="663" y="197"/>
                  </a:cubicBezTo>
                  <a:cubicBezTo>
                    <a:pt x="667" y="195"/>
                    <a:pt x="667" y="190"/>
                    <a:pt x="669" y="186"/>
                  </a:cubicBezTo>
                  <a:cubicBezTo>
                    <a:pt x="670" y="186"/>
                    <a:pt x="672" y="187"/>
                    <a:pt x="672" y="186"/>
                  </a:cubicBezTo>
                  <a:cubicBezTo>
                    <a:pt x="673" y="184"/>
                    <a:pt x="672" y="181"/>
                    <a:pt x="673" y="179"/>
                  </a:cubicBezTo>
                  <a:cubicBezTo>
                    <a:pt x="674" y="178"/>
                    <a:pt x="676" y="178"/>
                    <a:pt x="677" y="179"/>
                  </a:cubicBezTo>
                  <a:cubicBezTo>
                    <a:pt x="678" y="181"/>
                    <a:pt x="678" y="183"/>
                    <a:pt x="678" y="185"/>
                  </a:cubicBezTo>
                  <a:cubicBezTo>
                    <a:pt x="679" y="186"/>
                    <a:pt x="680" y="187"/>
                    <a:pt x="681" y="189"/>
                  </a:cubicBezTo>
                  <a:cubicBezTo>
                    <a:pt x="681" y="187"/>
                    <a:pt x="681" y="185"/>
                    <a:pt x="682" y="184"/>
                  </a:cubicBezTo>
                  <a:cubicBezTo>
                    <a:pt x="683" y="182"/>
                    <a:pt x="686" y="183"/>
                    <a:pt x="686" y="181"/>
                  </a:cubicBezTo>
                  <a:cubicBezTo>
                    <a:pt x="687" y="175"/>
                    <a:pt x="688" y="169"/>
                    <a:pt x="686" y="164"/>
                  </a:cubicBezTo>
                  <a:cubicBezTo>
                    <a:pt x="686" y="160"/>
                    <a:pt x="682" y="156"/>
                    <a:pt x="681" y="152"/>
                  </a:cubicBezTo>
                  <a:cubicBezTo>
                    <a:pt x="680" y="152"/>
                    <a:pt x="679" y="150"/>
                    <a:pt x="680" y="150"/>
                  </a:cubicBezTo>
                  <a:cubicBezTo>
                    <a:pt x="681" y="148"/>
                    <a:pt x="684" y="148"/>
                    <a:pt x="686" y="147"/>
                  </a:cubicBezTo>
                  <a:cubicBezTo>
                    <a:pt x="687" y="145"/>
                    <a:pt x="687" y="142"/>
                    <a:pt x="689" y="141"/>
                  </a:cubicBezTo>
                  <a:cubicBezTo>
                    <a:pt x="692" y="141"/>
                    <a:pt x="695" y="144"/>
                    <a:pt x="699" y="145"/>
                  </a:cubicBezTo>
                  <a:cubicBezTo>
                    <a:pt x="700" y="145"/>
                    <a:pt x="702" y="145"/>
                    <a:pt x="703" y="144"/>
                  </a:cubicBezTo>
                  <a:cubicBezTo>
                    <a:pt x="705" y="143"/>
                    <a:pt x="704" y="140"/>
                    <a:pt x="704" y="139"/>
                  </a:cubicBezTo>
                  <a:cubicBezTo>
                    <a:pt x="705" y="137"/>
                    <a:pt x="707" y="137"/>
                    <a:pt x="707" y="136"/>
                  </a:cubicBezTo>
                  <a:cubicBezTo>
                    <a:pt x="708" y="134"/>
                    <a:pt x="708" y="131"/>
                    <a:pt x="708" y="129"/>
                  </a:cubicBezTo>
                  <a:cubicBezTo>
                    <a:pt x="709" y="126"/>
                    <a:pt x="709" y="124"/>
                    <a:pt x="709" y="121"/>
                  </a:cubicBezTo>
                  <a:cubicBezTo>
                    <a:pt x="709" y="117"/>
                    <a:pt x="708" y="113"/>
                    <a:pt x="709" y="109"/>
                  </a:cubicBezTo>
                  <a:cubicBezTo>
                    <a:pt x="709" y="107"/>
                    <a:pt x="713" y="105"/>
                    <a:pt x="713" y="102"/>
                  </a:cubicBezTo>
                  <a:cubicBezTo>
                    <a:pt x="713" y="99"/>
                    <a:pt x="711" y="96"/>
                    <a:pt x="710" y="93"/>
                  </a:cubicBezTo>
                  <a:cubicBezTo>
                    <a:pt x="709" y="92"/>
                    <a:pt x="711" y="88"/>
                    <a:pt x="709" y="88"/>
                  </a:cubicBezTo>
                  <a:cubicBezTo>
                    <a:pt x="702" y="89"/>
                    <a:pt x="696" y="92"/>
                    <a:pt x="689" y="94"/>
                  </a:cubicBezTo>
                  <a:cubicBezTo>
                    <a:pt x="687" y="95"/>
                    <a:pt x="687" y="100"/>
                    <a:pt x="685" y="100"/>
                  </a:cubicBezTo>
                  <a:cubicBezTo>
                    <a:pt x="679" y="100"/>
                    <a:pt x="672" y="101"/>
                    <a:pt x="666" y="100"/>
                  </a:cubicBezTo>
                  <a:cubicBezTo>
                    <a:pt x="663" y="100"/>
                    <a:pt x="661" y="95"/>
                    <a:pt x="660" y="92"/>
                  </a:cubicBezTo>
                  <a:cubicBezTo>
                    <a:pt x="659" y="90"/>
                    <a:pt x="660" y="88"/>
                    <a:pt x="660" y="87"/>
                  </a:cubicBezTo>
                  <a:cubicBezTo>
                    <a:pt x="659" y="84"/>
                    <a:pt x="659" y="81"/>
                    <a:pt x="658" y="79"/>
                  </a:cubicBezTo>
                  <a:cubicBezTo>
                    <a:pt x="656" y="78"/>
                    <a:pt x="653" y="79"/>
                    <a:pt x="652" y="78"/>
                  </a:cubicBezTo>
                  <a:cubicBezTo>
                    <a:pt x="648" y="75"/>
                    <a:pt x="646" y="70"/>
                    <a:pt x="642" y="68"/>
                  </a:cubicBezTo>
                  <a:cubicBezTo>
                    <a:pt x="640" y="67"/>
                    <a:pt x="639" y="70"/>
                    <a:pt x="637" y="70"/>
                  </a:cubicBezTo>
                  <a:cubicBezTo>
                    <a:pt x="634" y="70"/>
                    <a:pt x="632" y="67"/>
                    <a:pt x="629" y="67"/>
                  </a:cubicBezTo>
                  <a:cubicBezTo>
                    <a:pt x="626" y="65"/>
                    <a:pt x="622" y="66"/>
                    <a:pt x="619" y="65"/>
                  </a:cubicBezTo>
                  <a:cubicBezTo>
                    <a:pt x="617" y="64"/>
                    <a:pt x="616" y="61"/>
                    <a:pt x="616" y="59"/>
                  </a:cubicBezTo>
                  <a:cubicBezTo>
                    <a:pt x="615" y="58"/>
                    <a:pt x="617" y="57"/>
                    <a:pt x="617" y="56"/>
                  </a:cubicBezTo>
                  <a:cubicBezTo>
                    <a:pt x="616" y="55"/>
                    <a:pt x="613" y="56"/>
                    <a:pt x="612" y="54"/>
                  </a:cubicBezTo>
                  <a:cubicBezTo>
                    <a:pt x="611" y="50"/>
                    <a:pt x="609" y="47"/>
                    <a:pt x="607" y="43"/>
                  </a:cubicBezTo>
                  <a:cubicBezTo>
                    <a:pt x="606" y="42"/>
                    <a:pt x="604" y="41"/>
                    <a:pt x="603" y="39"/>
                  </a:cubicBezTo>
                  <a:cubicBezTo>
                    <a:pt x="602" y="38"/>
                    <a:pt x="603" y="36"/>
                    <a:pt x="602" y="35"/>
                  </a:cubicBezTo>
                  <a:cubicBezTo>
                    <a:pt x="599" y="31"/>
                    <a:pt x="595" y="28"/>
                    <a:pt x="593" y="24"/>
                  </a:cubicBezTo>
                  <a:cubicBezTo>
                    <a:pt x="592" y="23"/>
                    <a:pt x="594" y="22"/>
                    <a:pt x="594" y="21"/>
                  </a:cubicBezTo>
                  <a:cubicBezTo>
                    <a:pt x="594" y="20"/>
                    <a:pt x="592" y="20"/>
                    <a:pt x="592" y="19"/>
                  </a:cubicBezTo>
                  <a:cubicBezTo>
                    <a:pt x="590" y="17"/>
                    <a:pt x="590" y="13"/>
                    <a:pt x="588" y="11"/>
                  </a:cubicBezTo>
                  <a:cubicBezTo>
                    <a:pt x="584" y="8"/>
                    <a:pt x="579" y="5"/>
                    <a:pt x="575" y="3"/>
                  </a:cubicBezTo>
                  <a:cubicBezTo>
                    <a:pt x="574" y="3"/>
                    <a:pt x="573" y="4"/>
                    <a:pt x="571" y="4"/>
                  </a:cubicBezTo>
                  <a:cubicBezTo>
                    <a:pt x="570" y="4"/>
                    <a:pt x="568" y="4"/>
                    <a:pt x="567" y="3"/>
                  </a:cubicBezTo>
                  <a:cubicBezTo>
                    <a:pt x="563" y="2"/>
                    <a:pt x="560" y="0"/>
                    <a:pt x="556" y="0"/>
                  </a:cubicBezTo>
                  <a:cubicBezTo>
                    <a:pt x="550" y="0"/>
                    <a:pt x="544" y="1"/>
                    <a:pt x="539" y="2"/>
                  </a:cubicBezTo>
                  <a:cubicBezTo>
                    <a:pt x="536" y="3"/>
                    <a:pt x="534" y="5"/>
                    <a:pt x="532" y="6"/>
                  </a:cubicBezTo>
                  <a:cubicBezTo>
                    <a:pt x="530" y="6"/>
                    <a:pt x="527" y="4"/>
                    <a:pt x="525" y="6"/>
                  </a:cubicBezTo>
                  <a:cubicBezTo>
                    <a:pt x="522" y="7"/>
                    <a:pt x="519" y="10"/>
                    <a:pt x="518" y="14"/>
                  </a:cubicBezTo>
                  <a:cubicBezTo>
                    <a:pt x="517" y="15"/>
                    <a:pt x="519" y="17"/>
                    <a:pt x="521" y="18"/>
                  </a:cubicBezTo>
                  <a:cubicBezTo>
                    <a:pt x="523" y="18"/>
                    <a:pt x="525" y="13"/>
                    <a:pt x="527" y="15"/>
                  </a:cubicBezTo>
                  <a:cubicBezTo>
                    <a:pt x="529" y="18"/>
                    <a:pt x="529" y="23"/>
                    <a:pt x="528" y="27"/>
                  </a:cubicBezTo>
                  <a:cubicBezTo>
                    <a:pt x="527" y="31"/>
                    <a:pt x="523" y="32"/>
                    <a:pt x="522" y="35"/>
                  </a:cubicBezTo>
                  <a:cubicBezTo>
                    <a:pt x="520" y="40"/>
                    <a:pt x="522" y="44"/>
                    <a:pt x="522" y="48"/>
                  </a:cubicBezTo>
                  <a:cubicBezTo>
                    <a:pt x="521" y="51"/>
                    <a:pt x="519" y="53"/>
                    <a:pt x="518" y="55"/>
                  </a:cubicBezTo>
                  <a:cubicBezTo>
                    <a:pt x="518" y="56"/>
                    <a:pt x="520" y="58"/>
                    <a:pt x="519" y="59"/>
                  </a:cubicBezTo>
                  <a:cubicBezTo>
                    <a:pt x="516" y="62"/>
                    <a:pt x="510" y="64"/>
                    <a:pt x="506" y="67"/>
                  </a:cubicBezTo>
                  <a:cubicBezTo>
                    <a:pt x="501" y="66"/>
                    <a:pt x="495" y="65"/>
                    <a:pt x="490" y="63"/>
                  </a:cubicBezTo>
                  <a:cubicBezTo>
                    <a:pt x="489" y="67"/>
                    <a:pt x="486" y="71"/>
                    <a:pt x="485" y="76"/>
                  </a:cubicBezTo>
                  <a:cubicBezTo>
                    <a:pt x="484" y="79"/>
                    <a:pt x="485" y="82"/>
                    <a:pt x="485" y="85"/>
                  </a:cubicBezTo>
                  <a:cubicBezTo>
                    <a:pt x="485" y="87"/>
                    <a:pt x="486" y="90"/>
                    <a:pt x="485" y="92"/>
                  </a:cubicBezTo>
                  <a:cubicBezTo>
                    <a:pt x="485" y="93"/>
                    <a:pt x="483" y="93"/>
                    <a:pt x="483" y="94"/>
                  </a:cubicBezTo>
                  <a:cubicBezTo>
                    <a:pt x="483" y="95"/>
                    <a:pt x="483" y="97"/>
                    <a:pt x="484" y="98"/>
                  </a:cubicBezTo>
                  <a:cubicBezTo>
                    <a:pt x="485" y="100"/>
                    <a:pt x="487" y="100"/>
                    <a:pt x="489" y="100"/>
                  </a:cubicBezTo>
                  <a:cubicBezTo>
                    <a:pt x="492" y="100"/>
                    <a:pt x="495" y="96"/>
                    <a:pt x="499" y="96"/>
                  </a:cubicBezTo>
                  <a:cubicBezTo>
                    <a:pt x="502" y="97"/>
                    <a:pt x="502" y="102"/>
                    <a:pt x="505" y="102"/>
                  </a:cubicBezTo>
                  <a:cubicBezTo>
                    <a:pt x="507" y="102"/>
                    <a:pt x="508" y="98"/>
                    <a:pt x="510" y="96"/>
                  </a:cubicBezTo>
                  <a:cubicBezTo>
                    <a:pt x="510" y="95"/>
                    <a:pt x="509" y="93"/>
                    <a:pt x="510" y="93"/>
                  </a:cubicBezTo>
                  <a:cubicBezTo>
                    <a:pt x="514" y="93"/>
                    <a:pt x="518" y="94"/>
                    <a:pt x="522" y="96"/>
                  </a:cubicBezTo>
                  <a:cubicBezTo>
                    <a:pt x="524" y="100"/>
                    <a:pt x="530" y="104"/>
                    <a:pt x="533" y="107"/>
                  </a:cubicBezTo>
                  <a:cubicBezTo>
                    <a:pt x="536" y="110"/>
                    <a:pt x="539" y="112"/>
                    <a:pt x="540" y="116"/>
                  </a:cubicBezTo>
                  <a:cubicBezTo>
                    <a:pt x="539" y="117"/>
                    <a:pt x="537" y="120"/>
                    <a:pt x="536" y="121"/>
                  </a:cubicBezTo>
                  <a:cubicBezTo>
                    <a:pt x="533" y="122"/>
                    <a:pt x="531" y="118"/>
                    <a:pt x="528" y="118"/>
                  </a:cubicBezTo>
                  <a:cubicBezTo>
                    <a:pt x="525" y="118"/>
                    <a:pt x="522" y="118"/>
                    <a:pt x="520" y="119"/>
                  </a:cubicBezTo>
                  <a:cubicBezTo>
                    <a:pt x="518" y="120"/>
                    <a:pt x="517" y="122"/>
                    <a:pt x="516" y="123"/>
                  </a:cubicBezTo>
                  <a:cubicBezTo>
                    <a:pt x="514" y="123"/>
                    <a:pt x="513" y="120"/>
                    <a:pt x="512" y="121"/>
                  </a:cubicBezTo>
                  <a:cubicBezTo>
                    <a:pt x="511" y="122"/>
                    <a:pt x="513" y="126"/>
                    <a:pt x="511" y="127"/>
                  </a:cubicBezTo>
                  <a:cubicBezTo>
                    <a:pt x="509" y="128"/>
                    <a:pt x="508" y="124"/>
                    <a:pt x="506" y="124"/>
                  </a:cubicBezTo>
                  <a:cubicBezTo>
                    <a:pt x="503" y="126"/>
                    <a:pt x="500" y="128"/>
                    <a:pt x="499" y="131"/>
                  </a:cubicBezTo>
                  <a:cubicBezTo>
                    <a:pt x="498" y="132"/>
                    <a:pt x="500" y="134"/>
                    <a:pt x="499" y="135"/>
                  </a:cubicBezTo>
                  <a:cubicBezTo>
                    <a:pt x="497" y="138"/>
                    <a:pt x="495" y="140"/>
                    <a:pt x="492" y="141"/>
                  </a:cubicBezTo>
                  <a:cubicBezTo>
                    <a:pt x="489" y="142"/>
                    <a:pt x="486" y="139"/>
                    <a:pt x="483" y="140"/>
                  </a:cubicBezTo>
                  <a:cubicBezTo>
                    <a:pt x="480" y="142"/>
                    <a:pt x="480" y="147"/>
                    <a:pt x="477" y="149"/>
                  </a:cubicBezTo>
                  <a:cubicBezTo>
                    <a:pt x="474" y="151"/>
                    <a:pt x="470" y="153"/>
                    <a:pt x="467" y="152"/>
                  </a:cubicBezTo>
                  <a:cubicBezTo>
                    <a:pt x="464" y="152"/>
                    <a:pt x="462" y="148"/>
                    <a:pt x="458" y="147"/>
                  </a:cubicBezTo>
                  <a:cubicBezTo>
                    <a:pt x="456" y="146"/>
                    <a:pt x="452" y="146"/>
                    <a:pt x="450" y="147"/>
                  </a:cubicBezTo>
                  <a:cubicBezTo>
                    <a:pt x="448" y="149"/>
                    <a:pt x="447" y="152"/>
                    <a:pt x="447" y="155"/>
                  </a:cubicBezTo>
                  <a:cubicBezTo>
                    <a:pt x="447" y="157"/>
                    <a:pt x="448" y="160"/>
                    <a:pt x="450" y="162"/>
                  </a:cubicBezTo>
                  <a:cubicBezTo>
                    <a:pt x="451" y="163"/>
                    <a:pt x="455" y="162"/>
                    <a:pt x="454" y="164"/>
                  </a:cubicBezTo>
                  <a:cubicBezTo>
                    <a:pt x="453" y="169"/>
                    <a:pt x="448" y="171"/>
                    <a:pt x="445" y="176"/>
                  </a:cubicBezTo>
                  <a:cubicBezTo>
                    <a:pt x="443" y="179"/>
                    <a:pt x="442" y="182"/>
                    <a:pt x="439" y="185"/>
                  </a:cubicBezTo>
                  <a:cubicBezTo>
                    <a:pt x="435" y="188"/>
                    <a:pt x="431" y="192"/>
                    <a:pt x="426" y="192"/>
                  </a:cubicBezTo>
                  <a:cubicBezTo>
                    <a:pt x="423" y="193"/>
                    <a:pt x="420" y="190"/>
                    <a:pt x="416" y="190"/>
                  </a:cubicBezTo>
                  <a:cubicBezTo>
                    <a:pt x="409" y="189"/>
                    <a:pt x="402" y="189"/>
                    <a:pt x="396" y="191"/>
                  </a:cubicBezTo>
                  <a:cubicBezTo>
                    <a:pt x="389" y="194"/>
                    <a:pt x="385" y="202"/>
                    <a:pt x="378" y="204"/>
                  </a:cubicBezTo>
                  <a:cubicBezTo>
                    <a:pt x="375" y="205"/>
                    <a:pt x="372" y="202"/>
                    <a:pt x="369" y="201"/>
                  </a:cubicBezTo>
                  <a:cubicBezTo>
                    <a:pt x="367" y="199"/>
                    <a:pt x="363" y="201"/>
                    <a:pt x="360" y="200"/>
                  </a:cubicBezTo>
                  <a:cubicBezTo>
                    <a:pt x="353" y="198"/>
                    <a:pt x="346" y="196"/>
                    <a:pt x="340" y="193"/>
                  </a:cubicBezTo>
                  <a:cubicBezTo>
                    <a:pt x="338" y="192"/>
                    <a:pt x="337" y="188"/>
                    <a:pt x="335" y="188"/>
                  </a:cubicBezTo>
                  <a:cubicBezTo>
                    <a:pt x="329" y="186"/>
                    <a:pt x="322" y="185"/>
                    <a:pt x="315" y="185"/>
                  </a:cubicBezTo>
                  <a:cubicBezTo>
                    <a:pt x="311" y="185"/>
                    <a:pt x="308" y="188"/>
                    <a:pt x="304" y="188"/>
                  </a:cubicBezTo>
                  <a:cubicBezTo>
                    <a:pt x="298" y="188"/>
                    <a:pt x="293" y="186"/>
                    <a:pt x="288" y="185"/>
                  </a:cubicBezTo>
                  <a:cubicBezTo>
                    <a:pt x="285" y="185"/>
                    <a:pt x="283" y="187"/>
                    <a:pt x="280" y="187"/>
                  </a:cubicBezTo>
                  <a:cubicBezTo>
                    <a:pt x="277" y="187"/>
                    <a:pt x="273" y="187"/>
                    <a:pt x="270" y="186"/>
                  </a:cubicBezTo>
                  <a:cubicBezTo>
                    <a:pt x="268" y="186"/>
                    <a:pt x="269" y="183"/>
                    <a:pt x="267" y="182"/>
                  </a:cubicBezTo>
                  <a:cubicBezTo>
                    <a:pt x="266" y="181"/>
                    <a:pt x="264" y="180"/>
                    <a:pt x="263" y="179"/>
                  </a:cubicBezTo>
                  <a:cubicBezTo>
                    <a:pt x="261" y="175"/>
                    <a:pt x="261" y="170"/>
                    <a:pt x="258" y="166"/>
                  </a:cubicBezTo>
                  <a:cubicBezTo>
                    <a:pt x="256" y="164"/>
                    <a:pt x="253" y="166"/>
                    <a:pt x="252" y="164"/>
                  </a:cubicBezTo>
                  <a:cubicBezTo>
                    <a:pt x="251" y="163"/>
                    <a:pt x="253" y="161"/>
                    <a:pt x="252" y="160"/>
                  </a:cubicBezTo>
                  <a:cubicBezTo>
                    <a:pt x="250" y="159"/>
                    <a:pt x="247" y="161"/>
                    <a:pt x="244" y="160"/>
                  </a:cubicBezTo>
                  <a:cubicBezTo>
                    <a:pt x="240" y="158"/>
                    <a:pt x="237" y="155"/>
                    <a:pt x="233" y="153"/>
                  </a:cubicBezTo>
                  <a:cubicBezTo>
                    <a:pt x="229" y="150"/>
                    <a:pt x="226" y="147"/>
                    <a:pt x="221" y="147"/>
                  </a:cubicBezTo>
                  <a:cubicBezTo>
                    <a:pt x="217" y="146"/>
                    <a:pt x="212" y="149"/>
                    <a:pt x="208" y="149"/>
                  </a:cubicBezTo>
                  <a:cubicBezTo>
                    <a:pt x="205" y="149"/>
                    <a:pt x="202" y="147"/>
                    <a:pt x="200" y="146"/>
                  </a:cubicBezTo>
                  <a:cubicBezTo>
                    <a:pt x="197" y="146"/>
                    <a:pt x="195" y="145"/>
                    <a:pt x="193" y="144"/>
                  </a:cubicBezTo>
                  <a:cubicBezTo>
                    <a:pt x="192" y="143"/>
                    <a:pt x="192" y="141"/>
                    <a:pt x="192" y="140"/>
                  </a:cubicBezTo>
                  <a:cubicBezTo>
                    <a:pt x="192" y="135"/>
                    <a:pt x="194" y="130"/>
                    <a:pt x="192" y="125"/>
                  </a:cubicBezTo>
                  <a:cubicBezTo>
                    <a:pt x="192" y="123"/>
                    <a:pt x="193" y="122"/>
                    <a:pt x="193" y="120"/>
                  </a:cubicBezTo>
                  <a:cubicBezTo>
                    <a:pt x="193" y="118"/>
                    <a:pt x="194" y="116"/>
                    <a:pt x="193" y="114"/>
                  </a:cubicBezTo>
                  <a:cubicBezTo>
                    <a:pt x="192" y="112"/>
                    <a:pt x="188" y="114"/>
                    <a:pt x="187" y="112"/>
                  </a:cubicBezTo>
                  <a:cubicBezTo>
                    <a:pt x="186" y="110"/>
                    <a:pt x="186" y="106"/>
                    <a:pt x="185" y="103"/>
                  </a:cubicBezTo>
                  <a:cubicBezTo>
                    <a:pt x="183" y="101"/>
                    <a:pt x="180" y="99"/>
                    <a:pt x="178" y="98"/>
                  </a:cubicBezTo>
                  <a:cubicBezTo>
                    <a:pt x="176" y="97"/>
                    <a:pt x="173" y="99"/>
                    <a:pt x="172" y="98"/>
                  </a:cubicBezTo>
                  <a:cubicBezTo>
                    <a:pt x="170" y="98"/>
                    <a:pt x="171" y="95"/>
                    <a:pt x="170" y="95"/>
                  </a:cubicBezTo>
                  <a:cubicBezTo>
                    <a:pt x="168" y="95"/>
                    <a:pt x="167" y="98"/>
                    <a:pt x="165" y="97"/>
                  </a:cubicBezTo>
                  <a:cubicBezTo>
                    <a:pt x="162" y="97"/>
                    <a:pt x="161" y="94"/>
                    <a:pt x="159" y="92"/>
                  </a:cubicBezTo>
                  <a:cubicBezTo>
                    <a:pt x="157" y="91"/>
                    <a:pt x="155" y="90"/>
                    <a:pt x="153" y="88"/>
                  </a:cubicBezTo>
                  <a:cubicBezTo>
                    <a:pt x="152" y="86"/>
                    <a:pt x="150" y="84"/>
                    <a:pt x="149" y="82"/>
                  </a:cubicBezTo>
                  <a:cubicBezTo>
                    <a:pt x="148" y="82"/>
                    <a:pt x="147" y="81"/>
                    <a:pt x="147" y="80"/>
                  </a:cubicBezTo>
                  <a:cubicBezTo>
                    <a:pt x="147" y="78"/>
                    <a:pt x="148" y="77"/>
                    <a:pt x="148" y="75"/>
                  </a:cubicBezTo>
                  <a:cubicBezTo>
                    <a:pt x="145" y="75"/>
                    <a:pt x="142" y="75"/>
                    <a:pt x="140" y="75"/>
                  </a:cubicBezTo>
                  <a:cubicBezTo>
                    <a:pt x="138" y="76"/>
                    <a:pt x="136" y="76"/>
                    <a:pt x="135" y="78"/>
                  </a:cubicBezTo>
                  <a:cubicBezTo>
                    <a:pt x="134" y="80"/>
                    <a:pt x="135" y="81"/>
                    <a:pt x="135" y="83"/>
                  </a:cubicBezTo>
                  <a:cubicBezTo>
                    <a:pt x="135" y="85"/>
                    <a:pt x="136" y="87"/>
                    <a:pt x="134" y="88"/>
                  </a:cubicBezTo>
                  <a:cubicBezTo>
                    <a:pt x="132" y="89"/>
                    <a:pt x="127" y="86"/>
                    <a:pt x="125" y="88"/>
                  </a:cubicBezTo>
                  <a:cubicBezTo>
                    <a:pt x="123" y="91"/>
                    <a:pt x="123" y="96"/>
                    <a:pt x="124" y="99"/>
                  </a:cubicBezTo>
                  <a:cubicBezTo>
                    <a:pt x="124" y="103"/>
                    <a:pt x="127" y="106"/>
                    <a:pt x="127" y="110"/>
                  </a:cubicBezTo>
                  <a:cubicBezTo>
                    <a:pt x="126" y="112"/>
                    <a:pt x="124" y="112"/>
                    <a:pt x="122" y="113"/>
                  </a:cubicBezTo>
                  <a:cubicBezTo>
                    <a:pt x="118" y="114"/>
                    <a:pt x="113" y="115"/>
                    <a:pt x="109" y="114"/>
                  </a:cubicBezTo>
                  <a:cubicBezTo>
                    <a:pt x="105" y="114"/>
                    <a:pt x="100" y="109"/>
                    <a:pt x="96" y="111"/>
                  </a:cubicBezTo>
                  <a:cubicBezTo>
                    <a:pt x="92" y="113"/>
                    <a:pt x="93" y="119"/>
                    <a:pt x="93" y="123"/>
                  </a:cubicBezTo>
                  <a:cubicBezTo>
                    <a:pt x="92" y="128"/>
                    <a:pt x="91" y="133"/>
                    <a:pt x="92" y="138"/>
                  </a:cubicBezTo>
                  <a:cubicBezTo>
                    <a:pt x="92" y="141"/>
                    <a:pt x="95" y="142"/>
                    <a:pt x="95" y="144"/>
                  </a:cubicBezTo>
                  <a:cubicBezTo>
                    <a:pt x="94" y="145"/>
                    <a:pt x="92" y="145"/>
                    <a:pt x="91" y="145"/>
                  </a:cubicBezTo>
                  <a:cubicBezTo>
                    <a:pt x="89" y="144"/>
                    <a:pt x="87" y="142"/>
                    <a:pt x="84" y="142"/>
                  </a:cubicBezTo>
                  <a:cubicBezTo>
                    <a:pt x="81" y="142"/>
                    <a:pt x="79" y="145"/>
                    <a:pt x="76" y="145"/>
                  </a:cubicBezTo>
                  <a:cubicBezTo>
                    <a:pt x="72" y="146"/>
                    <a:pt x="68" y="146"/>
                    <a:pt x="65" y="147"/>
                  </a:cubicBezTo>
                  <a:cubicBezTo>
                    <a:pt x="64" y="147"/>
                    <a:pt x="61" y="148"/>
                    <a:pt x="62" y="149"/>
                  </a:cubicBezTo>
                  <a:cubicBezTo>
                    <a:pt x="64" y="151"/>
                    <a:pt x="67" y="149"/>
                    <a:pt x="68" y="151"/>
                  </a:cubicBezTo>
                  <a:cubicBezTo>
                    <a:pt x="69" y="151"/>
                    <a:pt x="68" y="153"/>
                    <a:pt x="68" y="154"/>
                  </a:cubicBezTo>
                  <a:cubicBezTo>
                    <a:pt x="68" y="157"/>
                    <a:pt x="68" y="161"/>
                    <a:pt x="69" y="164"/>
                  </a:cubicBezTo>
                  <a:cubicBezTo>
                    <a:pt x="71" y="169"/>
                    <a:pt x="75" y="172"/>
                    <a:pt x="76" y="177"/>
                  </a:cubicBezTo>
                  <a:cubicBezTo>
                    <a:pt x="76" y="180"/>
                    <a:pt x="72" y="182"/>
                    <a:pt x="71" y="184"/>
                  </a:cubicBezTo>
                  <a:cubicBezTo>
                    <a:pt x="71" y="186"/>
                    <a:pt x="71" y="189"/>
                    <a:pt x="72" y="19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2" name="Freeform 122"/>
            <p:cNvSpPr>
              <a:spLocks noChangeAspect="1"/>
            </p:cNvSpPr>
            <p:nvPr/>
          </p:nvSpPr>
          <p:spPr bwMode="auto">
            <a:xfrm>
              <a:off x="6534150" y="2652713"/>
              <a:ext cx="749300" cy="352425"/>
            </a:xfrm>
            <a:custGeom>
              <a:avLst/>
              <a:gdLst>
                <a:gd name="T0" fmla="*/ 646343 w 393"/>
                <a:gd name="T1" fmla="*/ 78105 h 185"/>
                <a:gd name="T2" fmla="*/ 619650 w 393"/>
                <a:gd name="T3" fmla="*/ 76200 h 185"/>
                <a:gd name="T4" fmla="*/ 591051 w 393"/>
                <a:gd name="T5" fmla="*/ 72390 h 185"/>
                <a:gd name="T6" fmla="*/ 566265 w 393"/>
                <a:gd name="T7" fmla="*/ 87630 h 185"/>
                <a:gd name="T8" fmla="*/ 531946 w 393"/>
                <a:gd name="T9" fmla="*/ 95250 h 185"/>
                <a:gd name="T10" fmla="*/ 510973 w 393"/>
                <a:gd name="T11" fmla="*/ 100965 h 185"/>
                <a:gd name="T12" fmla="*/ 457588 w 393"/>
                <a:gd name="T13" fmla="*/ 87630 h 185"/>
                <a:gd name="T14" fmla="*/ 438522 w 393"/>
                <a:gd name="T15" fmla="*/ 72390 h 185"/>
                <a:gd name="T16" fmla="*/ 388950 w 393"/>
                <a:gd name="T17" fmla="*/ 66675 h 185"/>
                <a:gd name="T18" fmla="*/ 358444 w 393"/>
                <a:gd name="T19" fmla="*/ 70485 h 185"/>
                <a:gd name="T20" fmla="*/ 347004 w 393"/>
                <a:gd name="T21" fmla="*/ 64770 h 185"/>
                <a:gd name="T22" fmla="*/ 320311 w 393"/>
                <a:gd name="T23" fmla="*/ 55245 h 185"/>
                <a:gd name="T24" fmla="*/ 305059 w 393"/>
                <a:gd name="T25" fmla="*/ 22860 h 185"/>
                <a:gd name="T26" fmla="*/ 274553 w 393"/>
                <a:gd name="T27" fmla="*/ 11430 h 185"/>
                <a:gd name="T28" fmla="*/ 230700 w 393"/>
                <a:gd name="T29" fmla="*/ 1905 h 185"/>
                <a:gd name="T30" fmla="*/ 221167 w 393"/>
                <a:gd name="T31" fmla="*/ 22860 h 185"/>
                <a:gd name="T32" fmla="*/ 223074 w 393"/>
                <a:gd name="T33" fmla="*/ 53340 h 185"/>
                <a:gd name="T34" fmla="*/ 224981 w 393"/>
                <a:gd name="T35" fmla="*/ 76200 h 185"/>
                <a:gd name="T36" fmla="*/ 204008 w 393"/>
                <a:gd name="T37" fmla="*/ 78105 h 185"/>
                <a:gd name="T38" fmla="*/ 167782 w 393"/>
                <a:gd name="T39" fmla="*/ 80010 h 185"/>
                <a:gd name="T40" fmla="*/ 141090 w 393"/>
                <a:gd name="T41" fmla="*/ 62865 h 185"/>
                <a:gd name="T42" fmla="*/ 114397 w 393"/>
                <a:gd name="T43" fmla="*/ 53340 h 185"/>
                <a:gd name="T44" fmla="*/ 101051 w 393"/>
                <a:gd name="T45" fmla="*/ 51435 h 185"/>
                <a:gd name="T46" fmla="*/ 89611 w 393"/>
                <a:gd name="T47" fmla="*/ 53340 h 185"/>
                <a:gd name="T48" fmla="*/ 74358 w 393"/>
                <a:gd name="T49" fmla="*/ 60960 h 185"/>
                <a:gd name="T50" fmla="*/ 45759 w 393"/>
                <a:gd name="T51" fmla="*/ 76200 h 185"/>
                <a:gd name="T52" fmla="*/ 15253 w 393"/>
                <a:gd name="T53" fmla="*/ 93345 h 185"/>
                <a:gd name="T54" fmla="*/ 0 w 393"/>
                <a:gd name="T55" fmla="*/ 114300 h 185"/>
                <a:gd name="T56" fmla="*/ 11440 w 393"/>
                <a:gd name="T57" fmla="*/ 129540 h 185"/>
                <a:gd name="T58" fmla="*/ 34319 w 393"/>
                <a:gd name="T59" fmla="*/ 146685 h 185"/>
                <a:gd name="T60" fmla="*/ 47665 w 393"/>
                <a:gd name="T61" fmla="*/ 148590 h 185"/>
                <a:gd name="T62" fmla="*/ 72451 w 393"/>
                <a:gd name="T63" fmla="*/ 158115 h 185"/>
                <a:gd name="T64" fmla="*/ 87704 w 393"/>
                <a:gd name="T65" fmla="*/ 179070 h 185"/>
                <a:gd name="T66" fmla="*/ 85798 w 393"/>
                <a:gd name="T67" fmla="*/ 200025 h 185"/>
                <a:gd name="T68" fmla="*/ 87704 w 393"/>
                <a:gd name="T69" fmla="*/ 236220 h 185"/>
                <a:gd name="T70" fmla="*/ 116304 w 393"/>
                <a:gd name="T71" fmla="*/ 245745 h 185"/>
                <a:gd name="T72" fmla="*/ 163969 w 393"/>
                <a:gd name="T73" fmla="*/ 253365 h 185"/>
                <a:gd name="T74" fmla="*/ 200195 w 393"/>
                <a:gd name="T75" fmla="*/ 266700 h 185"/>
                <a:gd name="T76" fmla="*/ 211634 w 393"/>
                <a:gd name="T77" fmla="*/ 278130 h 185"/>
                <a:gd name="T78" fmla="*/ 228794 w 393"/>
                <a:gd name="T79" fmla="*/ 308610 h 185"/>
                <a:gd name="T80" fmla="*/ 253580 w 393"/>
                <a:gd name="T81" fmla="*/ 318135 h 185"/>
                <a:gd name="T82" fmla="*/ 299339 w 393"/>
                <a:gd name="T83" fmla="*/ 320040 h 185"/>
                <a:gd name="T84" fmla="*/ 358444 w 393"/>
                <a:gd name="T85" fmla="*/ 320040 h 185"/>
                <a:gd name="T86" fmla="*/ 406109 w 393"/>
                <a:gd name="T87" fmla="*/ 342900 h 185"/>
                <a:gd name="T88" fmla="*/ 440428 w 393"/>
                <a:gd name="T89" fmla="*/ 350520 h 185"/>
                <a:gd name="T90" fmla="*/ 512880 w 393"/>
                <a:gd name="T91" fmla="*/ 323850 h 185"/>
                <a:gd name="T92" fmla="*/ 556732 w 393"/>
                <a:gd name="T93" fmla="*/ 314325 h 185"/>
                <a:gd name="T94" fmla="*/ 585331 w 393"/>
                <a:gd name="T95" fmla="*/ 274320 h 185"/>
                <a:gd name="T96" fmla="*/ 571985 w 393"/>
                <a:gd name="T97" fmla="*/ 257175 h 185"/>
                <a:gd name="T98" fmla="*/ 592958 w 393"/>
                <a:gd name="T99" fmla="*/ 241935 h 185"/>
                <a:gd name="T100" fmla="*/ 629183 w 393"/>
                <a:gd name="T101" fmla="*/ 245745 h 185"/>
                <a:gd name="T102" fmla="*/ 657782 w 393"/>
                <a:gd name="T103" fmla="*/ 230505 h 185"/>
                <a:gd name="T104" fmla="*/ 671129 w 393"/>
                <a:gd name="T105" fmla="*/ 211455 h 185"/>
                <a:gd name="T106" fmla="*/ 694008 w 393"/>
                <a:gd name="T107" fmla="*/ 203835 h 185"/>
                <a:gd name="T108" fmla="*/ 703541 w 393"/>
                <a:gd name="T109" fmla="*/ 196215 h 185"/>
                <a:gd name="T110" fmla="*/ 726421 w 393"/>
                <a:gd name="T111" fmla="*/ 186690 h 185"/>
                <a:gd name="T112" fmla="*/ 749300 w 393"/>
                <a:gd name="T113" fmla="*/ 182880 h 185"/>
                <a:gd name="T114" fmla="*/ 714981 w 393"/>
                <a:gd name="T115" fmla="*/ 144780 h 185"/>
                <a:gd name="T116" fmla="*/ 692102 w 393"/>
                <a:gd name="T117" fmla="*/ 144780 h 185"/>
                <a:gd name="T118" fmla="*/ 671129 w 393"/>
                <a:gd name="T119" fmla="*/ 144780 h 185"/>
                <a:gd name="T120" fmla="*/ 642530 w 393"/>
                <a:gd name="T121" fmla="*/ 148590 h 185"/>
                <a:gd name="T122" fmla="*/ 644436 w 393"/>
                <a:gd name="T123" fmla="*/ 137160 h 185"/>
                <a:gd name="T124" fmla="*/ 644436 w 393"/>
                <a:gd name="T125" fmla="*/ 106680 h 18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3"/>
                <a:gd name="T190" fmla="*/ 0 h 185"/>
                <a:gd name="T191" fmla="*/ 393 w 393"/>
                <a:gd name="T192" fmla="*/ 185 h 18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3" h="185">
                  <a:moveTo>
                    <a:pt x="343" y="43"/>
                  </a:moveTo>
                  <a:cubicBezTo>
                    <a:pt x="342" y="43"/>
                    <a:pt x="341" y="41"/>
                    <a:pt x="339" y="41"/>
                  </a:cubicBezTo>
                  <a:cubicBezTo>
                    <a:pt x="337" y="41"/>
                    <a:pt x="334" y="42"/>
                    <a:pt x="332" y="42"/>
                  </a:cubicBezTo>
                  <a:cubicBezTo>
                    <a:pt x="329" y="42"/>
                    <a:pt x="327" y="41"/>
                    <a:pt x="325" y="40"/>
                  </a:cubicBezTo>
                  <a:cubicBezTo>
                    <a:pt x="322" y="39"/>
                    <a:pt x="320" y="36"/>
                    <a:pt x="317" y="36"/>
                  </a:cubicBezTo>
                  <a:cubicBezTo>
                    <a:pt x="315" y="35"/>
                    <a:pt x="312" y="37"/>
                    <a:pt x="310" y="38"/>
                  </a:cubicBezTo>
                  <a:cubicBezTo>
                    <a:pt x="307" y="39"/>
                    <a:pt x="304" y="40"/>
                    <a:pt x="301" y="42"/>
                  </a:cubicBezTo>
                  <a:cubicBezTo>
                    <a:pt x="300" y="43"/>
                    <a:pt x="299" y="44"/>
                    <a:pt x="297" y="46"/>
                  </a:cubicBezTo>
                  <a:cubicBezTo>
                    <a:pt x="295" y="47"/>
                    <a:pt x="293" y="49"/>
                    <a:pt x="291" y="49"/>
                  </a:cubicBezTo>
                  <a:cubicBezTo>
                    <a:pt x="287" y="50"/>
                    <a:pt x="283" y="49"/>
                    <a:pt x="279" y="50"/>
                  </a:cubicBezTo>
                  <a:cubicBezTo>
                    <a:pt x="277" y="50"/>
                    <a:pt x="276" y="53"/>
                    <a:pt x="273" y="54"/>
                  </a:cubicBezTo>
                  <a:cubicBezTo>
                    <a:pt x="271" y="55"/>
                    <a:pt x="269" y="53"/>
                    <a:pt x="268" y="53"/>
                  </a:cubicBezTo>
                  <a:cubicBezTo>
                    <a:pt x="260" y="52"/>
                    <a:pt x="253" y="54"/>
                    <a:pt x="246" y="52"/>
                  </a:cubicBezTo>
                  <a:cubicBezTo>
                    <a:pt x="243" y="51"/>
                    <a:pt x="241" y="49"/>
                    <a:pt x="240" y="46"/>
                  </a:cubicBezTo>
                  <a:cubicBezTo>
                    <a:pt x="239" y="45"/>
                    <a:pt x="241" y="42"/>
                    <a:pt x="240" y="40"/>
                  </a:cubicBezTo>
                  <a:cubicBezTo>
                    <a:pt x="237" y="38"/>
                    <a:pt x="233" y="39"/>
                    <a:pt x="230" y="38"/>
                  </a:cubicBezTo>
                  <a:cubicBezTo>
                    <a:pt x="227" y="37"/>
                    <a:pt x="224" y="35"/>
                    <a:pt x="221" y="35"/>
                  </a:cubicBezTo>
                  <a:cubicBezTo>
                    <a:pt x="216" y="34"/>
                    <a:pt x="210" y="35"/>
                    <a:pt x="204" y="35"/>
                  </a:cubicBezTo>
                  <a:cubicBezTo>
                    <a:pt x="203" y="35"/>
                    <a:pt x="203" y="36"/>
                    <a:pt x="202" y="36"/>
                  </a:cubicBezTo>
                  <a:cubicBezTo>
                    <a:pt x="197" y="37"/>
                    <a:pt x="193" y="37"/>
                    <a:pt x="188" y="37"/>
                  </a:cubicBezTo>
                  <a:cubicBezTo>
                    <a:pt x="186" y="37"/>
                    <a:pt x="184" y="37"/>
                    <a:pt x="182" y="36"/>
                  </a:cubicBezTo>
                  <a:cubicBezTo>
                    <a:pt x="181" y="36"/>
                    <a:pt x="182" y="34"/>
                    <a:pt x="182" y="34"/>
                  </a:cubicBezTo>
                  <a:cubicBezTo>
                    <a:pt x="180" y="34"/>
                    <a:pt x="178" y="37"/>
                    <a:pt x="176" y="36"/>
                  </a:cubicBezTo>
                  <a:cubicBezTo>
                    <a:pt x="173" y="35"/>
                    <a:pt x="170" y="32"/>
                    <a:pt x="168" y="29"/>
                  </a:cubicBezTo>
                  <a:cubicBezTo>
                    <a:pt x="166" y="26"/>
                    <a:pt x="168" y="21"/>
                    <a:pt x="167" y="18"/>
                  </a:cubicBezTo>
                  <a:cubicBezTo>
                    <a:pt x="166" y="15"/>
                    <a:pt x="163" y="13"/>
                    <a:pt x="160" y="12"/>
                  </a:cubicBezTo>
                  <a:cubicBezTo>
                    <a:pt x="158" y="10"/>
                    <a:pt x="154" y="12"/>
                    <a:pt x="151" y="11"/>
                  </a:cubicBezTo>
                  <a:cubicBezTo>
                    <a:pt x="149" y="10"/>
                    <a:pt x="147" y="6"/>
                    <a:pt x="144" y="6"/>
                  </a:cubicBezTo>
                  <a:cubicBezTo>
                    <a:pt x="140" y="5"/>
                    <a:pt x="136" y="9"/>
                    <a:pt x="132" y="8"/>
                  </a:cubicBezTo>
                  <a:cubicBezTo>
                    <a:pt x="128" y="7"/>
                    <a:pt x="125" y="0"/>
                    <a:pt x="121" y="1"/>
                  </a:cubicBezTo>
                  <a:cubicBezTo>
                    <a:pt x="118" y="2"/>
                    <a:pt x="120" y="8"/>
                    <a:pt x="119" y="11"/>
                  </a:cubicBezTo>
                  <a:cubicBezTo>
                    <a:pt x="118" y="12"/>
                    <a:pt x="116" y="11"/>
                    <a:pt x="116" y="12"/>
                  </a:cubicBezTo>
                  <a:cubicBezTo>
                    <a:pt x="115" y="14"/>
                    <a:pt x="114" y="17"/>
                    <a:pt x="114" y="20"/>
                  </a:cubicBezTo>
                  <a:cubicBezTo>
                    <a:pt x="115" y="22"/>
                    <a:pt x="116" y="25"/>
                    <a:pt x="117" y="28"/>
                  </a:cubicBezTo>
                  <a:cubicBezTo>
                    <a:pt x="118" y="30"/>
                    <a:pt x="121" y="31"/>
                    <a:pt x="121" y="34"/>
                  </a:cubicBezTo>
                  <a:cubicBezTo>
                    <a:pt x="122" y="36"/>
                    <a:pt x="120" y="39"/>
                    <a:pt x="118" y="40"/>
                  </a:cubicBezTo>
                  <a:cubicBezTo>
                    <a:pt x="117" y="42"/>
                    <a:pt x="115" y="43"/>
                    <a:pt x="113" y="43"/>
                  </a:cubicBezTo>
                  <a:cubicBezTo>
                    <a:pt x="111" y="43"/>
                    <a:pt x="109" y="42"/>
                    <a:pt x="107" y="41"/>
                  </a:cubicBezTo>
                  <a:cubicBezTo>
                    <a:pt x="103" y="41"/>
                    <a:pt x="100" y="41"/>
                    <a:pt x="96" y="41"/>
                  </a:cubicBezTo>
                  <a:cubicBezTo>
                    <a:pt x="94" y="41"/>
                    <a:pt x="91" y="42"/>
                    <a:pt x="88" y="42"/>
                  </a:cubicBezTo>
                  <a:cubicBezTo>
                    <a:pt x="85" y="41"/>
                    <a:pt x="81" y="40"/>
                    <a:pt x="78" y="38"/>
                  </a:cubicBezTo>
                  <a:cubicBezTo>
                    <a:pt x="76" y="37"/>
                    <a:pt x="75" y="35"/>
                    <a:pt x="74" y="33"/>
                  </a:cubicBezTo>
                  <a:cubicBezTo>
                    <a:pt x="74" y="32"/>
                    <a:pt x="75" y="30"/>
                    <a:pt x="74" y="30"/>
                  </a:cubicBezTo>
                  <a:cubicBezTo>
                    <a:pt x="69" y="28"/>
                    <a:pt x="64" y="29"/>
                    <a:pt x="60" y="28"/>
                  </a:cubicBezTo>
                  <a:cubicBezTo>
                    <a:pt x="58" y="28"/>
                    <a:pt x="58" y="26"/>
                    <a:pt x="56" y="25"/>
                  </a:cubicBezTo>
                  <a:cubicBezTo>
                    <a:pt x="55" y="25"/>
                    <a:pt x="54" y="27"/>
                    <a:pt x="53" y="27"/>
                  </a:cubicBezTo>
                  <a:cubicBezTo>
                    <a:pt x="52" y="27"/>
                    <a:pt x="51" y="26"/>
                    <a:pt x="50" y="26"/>
                  </a:cubicBezTo>
                  <a:cubicBezTo>
                    <a:pt x="49" y="26"/>
                    <a:pt x="48" y="28"/>
                    <a:pt x="47" y="28"/>
                  </a:cubicBezTo>
                  <a:cubicBezTo>
                    <a:pt x="45" y="29"/>
                    <a:pt x="43" y="27"/>
                    <a:pt x="42" y="28"/>
                  </a:cubicBezTo>
                  <a:cubicBezTo>
                    <a:pt x="40" y="29"/>
                    <a:pt x="40" y="31"/>
                    <a:pt x="39" y="32"/>
                  </a:cubicBezTo>
                  <a:cubicBezTo>
                    <a:pt x="37" y="33"/>
                    <a:pt x="35" y="31"/>
                    <a:pt x="33" y="32"/>
                  </a:cubicBezTo>
                  <a:cubicBezTo>
                    <a:pt x="30" y="34"/>
                    <a:pt x="27" y="37"/>
                    <a:pt x="24" y="40"/>
                  </a:cubicBezTo>
                  <a:cubicBezTo>
                    <a:pt x="22" y="42"/>
                    <a:pt x="20" y="45"/>
                    <a:pt x="18" y="46"/>
                  </a:cubicBezTo>
                  <a:cubicBezTo>
                    <a:pt x="15" y="48"/>
                    <a:pt x="11" y="47"/>
                    <a:pt x="8" y="49"/>
                  </a:cubicBezTo>
                  <a:cubicBezTo>
                    <a:pt x="6" y="50"/>
                    <a:pt x="3" y="53"/>
                    <a:pt x="1" y="55"/>
                  </a:cubicBezTo>
                  <a:cubicBezTo>
                    <a:pt x="1" y="57"/>
                    <a:pt x="0" y="58"/>
                    <a:pt x="0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3" y="64"/>
                    <a:pt x="5" y="66"/>
                    <a:pt x="6" y="68"/>
                  </a:cubicBezTo>
                  <a:cubicBezTo>
                    <a:pt x="8" y="70"/>
                    <a:pt x="10" y="71"/>
                    <a:pt x="12" y="72"/>
                  </a:cubicBezTo>
                  <a:cubicBezTo>
                    <a:pt x="14" y="74"/>
                    <a:pt x="15" y="77"/>
                    <a:pt x="18" y="77"/>
                  </a:cubicBezTo>
                  <a:cubicBezTo>
                    <a:pt x="20" y="78"/>
                    <a:pt x="21" y="75"/>
                    <a:pt x="23" y="75"/>
                  </a:cubicBezTo>
                  <a:cubicBezTo>
                    <a:pt x="24" y="75"/>
                    <a:pt x="23" y="78"/>
                    <a:pt x="25" y="78"/>
                  </a:cubicBezTo>
                  <a:cubicBezTo>
                    <a:pt x="26" y="79"/>
                    <a:pt x="29" y="77"/>
                    <a:pt x="31" y="78"/>
                  </a:cubicBezTo>
                  <a:cubicBezTo>
                    <a:pt x="33" y="79"/>
                    <a:pt x="36" y="81"/>
                    <a:pt x="38" y="83"/>
                  </a:cubicBezTo>
                  <a:cubicBezTo>
                    <a:pt x="39" y="86"/>
                    <a:pt x="39" y="90"/>
                    <a:pt x="40" y="92"/>
                  </a:cubicBezTo>
                  <a:cubicBezTo>
                    <a:pt x="41" y="94"/>
                    <a:pt x="45" y="92"/>
                    <a:pt x="46" y="94"/>
                  </a:cubicBezTo>
                  <a:cubicBezTo>
                    <a:pt x="47" y="96"/>
                    <a:pt x="46" y="98"/>
                    <a:pt x="46" y="100"/>
                  </a:cubicBezTo>
                  <a:cubicBezTo>
                    <a:pt x="46" y="102"/>
                    <a:pt x="45" y="103"/>
                    <a:pt x="45" y="105"/>
                  </a:cubicBezTo>
                  <a:cubicBezTo>
                    <a:pt x="47" y="110"/>
                    <a:pt x="45" y="115"/>
                    <a:pt x="45" y="120"/>
                  </a:cubicBezTo>
                  <a:cubicBezTo>
                    <a:pt x="45" y="121"/>
                    <a:pt x="45" y="123"/>
                    <a:pt x="46" y="124"/>
                  </a:cubicBezTo>
                  <a:cubicBezTo>
                    <a:pt x="48" y="125"/>
                    <a:pt x="50" y="126"/>
                    <a:pt x="53" y="126"/>
                  </a:cubicBezTo>
                  <a:cubicBezTo>
                    <a:pt x="55" y="127"/>
                    <a:pt x="58" y="129"/>
                    <a:pt x="61" y="129"/>
                  </a:cubicBezTo>
                  <a:cubicBezTo>
                    <a:pt x="65" y="129"/>
                    <a:pt x="70" y="126"/>
                    <a:pt x="74" y="127"/>
                  </a:cubicBezTo>
                  <a:cubicBezTo>
                    <a:pt x="79" y="127"/>
                    <a:pt x="82" y="130"/>
                    <a:pt x="86" y="133"/>
                  </a:cubicBezTo>
                  <a:cubicBezTo>
                    <a:pt x="90" y="135"/>
                    <a:pt x="93" y="138"/>
                    <a:pt x="97" y="140"/>
                  </a:cubicBezTo>
                  <a:cubicBezTo>
                    <a:pt x="100" y="141"/>
                    <a:pt x="103" y="139"/>
                    <a:pt x="105" y="140"/>
                  </a:cubicBezTo>
                  <a:cubicBezTo>
                    <a:pt x="106" y="141"/>
                    <a:pt x="104" y="143"/>
                    <a:pt x="105" y="144"/>
                  </a:cubicBezTo>
                  <a:cubicBezTo>
                    <a:pt x="106" y="146"/>
                    <a:pt x="109" y="144"/>
                    <a:pt x="111" y="146"/>
                  </a:cubicBezTo>
                  <a:cubicBezTo>
                    <a:pt x="114" y="150"/>
                    <a:pt x="114" y="155"/>
                    <a:pt x="116" y="159"/>
                  </a:cubicBezTo>
                  <a:cubicBezTo>
                    <a:pt x="117" y="160"/>
                    <a:pt x="119" y="161"/>
                    <a:pt x="120" y="162"/>
                  </a:cubicBezTo>
                  <a:cubicBezTo>
                    <a:pt x="122" y="163"/>
                    <a:pt x="121" y="166"/>
                    <a:pt x="123" y="166"/>
                  </a:cubicBezTo>
                  <a:cubicBezTo>
                    <a:pt x="126" y="167"/>
                    <a:pt x="130" y="167"/>
                    <a:pt x="133" y="167"/>
                  </a:cubicBezTo>
                  <a:cubicBezTo>
                    <a:pt x="136" y="167"/>
                    <a:pt x="138" y="165"/>
                    <a:pt x="141" y="165"/>
                  </a:cubicBezTo>
                  <a:cubicBezTo>
                    <a:pt x="146" y="166"/>
                    <a:pt x="151" y="168"/>
                    <a:pt x="157" y="168"/>
                  </a:cubicBezTo>
                  <a:cubicBezTo>
                    <a:pt x="161" y="168"/>
                    <a:pt x="164" y="165"/>
                    <a:pt x="168" y="165"/>
                  </a:cubicBezTo>
                  <a:cubicBezTo>
                    <a:pt x="175" y="165"/>
                    <a:pt x="182" y="166"/>
                    <a:pt x="188" y="168"/>
                  </a:cubicBezTo>
                  <a:cubicBezTo>
                    <a:pt x="190" y="168"/>
                    <a:pt x="191" y="172"/>
                    <a:pt x="193" y="173"/>
                  </a:cubicBezTo>
                  <a:cubicBezTo>
                    <a:pt x="199" y="176"/>
                    <a:pt x="206" y="178"/>
                    <a:pt x="213" y="180"/>
                  </a:cubicBezTo>
                  <a:cubicBezTo>
                    <a:pt x="216" y="181"/>
                    <a:pt x="220" y="179"/>
                    <a:pt x="222" y="181"/>
                  </a:cubicBezTo>
                  <a:cubicBezTo>
                    <a:pt x="225" y="182"/>
                    <a:pt x="228" y="185"/>
                    <a:pt x="231" y="184"/>
                  </a:cubicBezTo>
                  <a:cubicBezTo>
                    <a:pt x="238" y="182"/>
                    <a:pt x="242" y="174"/>
                    <a:pt x="249" y="171"/>
                  </a:cubicBezTo>
                  <a:cubicBezTo>
                    <a:pt x="255" y="169"/>
                    <a:pt x="262" y="169"/>
                    <a:pt x="269" y="170"/>
                  </a:cubicBezTo>
                  <a:cubicBezTo>
                    <a:pt x="273" y="170"/>
                    <a:pt x="276" y="173"/>
                    <a:pt x="279" y="172"/>
                  </a:cubicBezTo>
                  <a:cubicBezTo>
                    <a:pt x="284" y="172"/>
                    <a:pt x="288" y="168"/>
                    <a:pt x="292" y="165"/>
                  </a:cubicBezTo>
                  <a:cubicBezTo>
                    <a:pt x="295" y="162"/>
                    <a:pt x="296" y="159"/>
                    <a:pt x="298" y="156"/>
                  </a:cubicBezTo>
                  <a:cubicBezTo>
                    <a:pt x="301" y="151"/>
                    <a:pt x="306" y="149"/>
                    <a:pt x="307" y="144"/>
                  </a:cubicBezTo>
                  <a:cubicBezTo>
                    <a:pt x="308" y="142"/>
                    <a:pt x="304" y="143"/>
                    <a:pt x="303" y="142"/>
                  </a:cubicBezTo>
                  <a:cubicBezTo>
                    <a:pt x="301" y="140"/>
                    <a:pt x="300" y="137"/>
                    <a:pt x="300" y="135"/>
                  </a:cubicBezTo>
                  <a:cubicBezTo>
                    <a:pt x="300" y="132"/>
                    <a:pt x="301" y="129"/>
                    <a:pt x="303" y="127"/>
                  </a:cubicBezTo>
                  <a:cubicBezTo>
                    <a:pt x="305" y="126"/>
                    <a:pt x="309" y="126"/>
                    <a:pt x="311" y="127"/>
                  </a:cubicBezTo>
                  <a:cubicBezTo>
                    <a:pt x="315" y="128"/>
                    <a:pt x="317" y="132"/>
                    <a:pt x="320" y="132"/>
                  </a:cubicBezTo>
                  <a:cubicBezTo>
                    <a:pt x="323" y="133"/>
                    <a:pt x="327" y="131"/>
                    <a:pt x="330" y="129"/>
                  </a:cubicBezTo>
                  <a:cubicBezTo>
                    <a:pt x="333" y="127"/>
                    <a:pt x="333" y="122"/>
                    <a:pt x="336" y="120"/>
                  </a:cubicBezTo>
                  <a:cubicBezTo>
                    <a:pt x="339" y="119"/>
                    <a:pt x="342" y="122"/>
                    <a:pt x="345" y="121"/>
                  </a:cubicBezTo>
                  <a:cubicBezTo>
                    <a:pt x="348" y="120"/>
                    <a:pt x="350" y="118"/>
                    <a:pt x="352" y="115"/>
                  </a:cubicBezTo>
                  <a:cubicBezTo>
                    <a:pt x="353" y="114"/>
                    <a:pt x="351" y="112"/>
                    <a:pt x="352" y="111"/>
                  </a:cubicBezTo>
                  <a:cubicBezTo>
                    <a:pt x="353" y="108"/>
                    <a:pt x="356" y="106"/>
                    <a:pt x="359" y="104"/>
                  </a:cubicBezTo>
                  <a:cubicBezTo>
                    <a:pt x="361" y="104"/>
                    <a:pt x="362" y="108"/>
                    <a:pt x="364" y="107"/>
                  </a:cubicBezTo>
                  <a:cubicBezTo>
                    <a:pt x="366" y="106"/>
                    <a:pt x="364" y="102"/>
                    <a:pt x="365" y="101"/>
                  </a:cubicBezTo>
                  <a:cubicBezTo>
                    <a:pt x="366" y="100"/>
                    <a:pt x="367" y="103"/>
                    <a:pt x="369" y="103"/>
                  </a:cubicBezTo>
                  <a:cubicBezTo>
                    <a:pt x="370" y="102"/>
                    <a:pt x="371" y="100"/>
                    <a:pt x="373" y="99"/>
                  </a:cubicBezTo>
                  <a:cubicBezTo>
                    <a:pt x="375" y="98"/>
                    <a:pt x="378" y="98"/>
                    <a:pt x="381" y="98"/>
                  </a:cubicBezTo>
                  <a:cubicBezTo>
                    <a:pt x="384" y="98"/>
                    <a:pt x="386" y="102"/>
                    <a:pt x="389" y="101"/>
                  </a:cubicBezTo>
                  <a:cubicBezTo>
                    <a:pt x="390" y="100"/>
                    <a:pt x="392" y="97"/>
                    <a:pt x="393" y="96"/>
                  </a:cubicBezTo>
                  <a:cubicBezTo>
                    <a:pt x="392" y="92"/>
                    <a:pt x="389" y="90"/>
                    <a:pt x="386" y="87"/>
                  </a:cubicBezTo>
                  <a:cubicBezTo>
                    <a:pt x="383" y="84"/>
                    <a:pt x="377" y="80"/>
                    <a:pt x="375" y="76"/>
                  </a:cubicBezTo>
                  <a:cubicBezTo>
                    <a:pt x="371" y="74"/>
                    <a:pt x="367" y="73"/>
                    <a:pt x="363" y="73"/>
                  </a:cubicBezTo>
                  <a:cubicBezTo>
                    <a:pt x="362" y="73"/>
                    <a:pt x="363" y="75"/>
                    <a:pt x="363" y="76"/>
                  </a:cubicBezTo>
                  <a:cubicBezTo>
                    <a:pt x="361" y="78"/>
                    <a:pt x="360" y="82"/>
                    <a:pt x="358" y="82"/>
                  </a:cubicBezTo>
                  <a:cubicBezTo>
                    <a:pt x="355" y="82"/>
                    <a:pt x="355" y="77"/>
                    <a:pt x="352" y="76"/>
                  </a:cubicBezTo>
                  <a:cubicBezTo>
                    <a:pt x="348" y="76"/>
                    <a:pt x="345" y="80"/>
                    <a:pt x="342" y="80"/>
                  </a:cubicBezTo>
                  <a:cubicBezTo>
                    <a:pt x="340" y="80"/>
                    <a:pt x="338" y="80"/>
                    <a:pt x="337" y="78"/>
                  </a:cubicBezTo>
                  <a:cubicBezTo>
                    <a:pt x="336" y="77"/>
                    <a:pt x="336" y="75"/>
                    <a:pt x="336" y="74"/>
                  </a:cubicBezTo>
                  <a:cubicBezTo>
                    <a:pt x="336" y="73"/>
                    <a:pt x="338" y="73"/>
                    <a:pt x="338" y="72"/>
                  </a:cubicBezTo>
                  <a:cubicBezTo>
                    <a:pt x="339" y="70"/>
                    <a:pt x="338" y="67"/>
                    <a:pt x="338" y="65"/>
                  </a:cubicBezTo>
                  <a:cubicBezTo>
                    <a:pt x="338" y="62"/>
                    <a:pt x="337" y="59"/>
                    <a:pt x="338" y="56"/>
                  </a:cubicBezTo>
                  <a:cubicBezTo>
                    <a:pt x="339" y="51"/>
                    <a:pt x="342" y="47"/>
                    <a:pt x="343" y="4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3" name="Freeform 123"/>
            <p:cNvSpPr>
              <a:spLocks noChangeAspect="1"/>
            </p:cNvSpPr>
            <p:nvPr/>
          </p:nvSpPr>
          <p:spPr bwMode="auto">
            <a:xfrm>
              <a:off x="6145213" y="2947988"/>
              <a:ext cx="249237" cy="128587"/>
            </a:xfrm>
            <a:custGeom>
              <a:avLst/>
              <a:gdLst>
                <a:gd name="T0" fmla="*/ 110349 w 131"/>
                <a:gd name="T1" fmla="*/ 122829 h 67"/>
                <a:gd name="T2" fmla="*/ 110349 w 131"/>
                <a:gd name="T3" fmla="*/ 105556 h 67"/>
                <a:gd name="T4" fmla="*/ 121765 w 131"/>
                <a:gd name="T5" fmla="*/ 99799 h 67"/>
                <a:gd name="T6" fmla="*/ 133180 w 131"/>
                <a:gd name="T7" fmla="*/ 92122 h 67"/>
                <a:gd name="T8" fmla="*/ 142693 w 131"/>
                <a:gd name="T9" fmla="*/ 94041 h 67"/>
                <a:gd name="T10" fmla="*/ 150303 w 131"/>
                <a:gd name="T11" fmla="*/ 86364 h 67"/>
                <a:gd name="T12" fmla="*/ 152206 w 131"/>
                <a:gd name="T13" fmla="*/ 95960 h 67"/>
                <a:gd name="T14" fmla="*/ 169329 w 131"/>
                <a:gd name="T15" fmla="*/ 92122 h 67"/>
                <a:gd name="T16" fmla="*/ 176939 w 131"/>
                <a:gd name="T17" fmla="*/ 72930 h 67"/>
                <a:gd name="T18" fmla="*/ 186452 w 131"/>
                <a:gd name="T19" fmla="*/ 71011 h 67"/>
                <a:gd name="T20" fmla="*/ 207380 w 131"/>
                <a:gd name="T21" fmla="*/ 71011 h 67"/>
                <a:gd name="T22" fmla="*/ 213088 w 131"/>
                <a:gd name="T23" fmla="*/ 59495 h 67"/>
                <a:gd name="T24" fmla="*/ 228309 w 131"/>
                <a:gd name="T25" fmla="*/ 46061 h 67"/>
                <a:gd name="T26" fmla="*/ 235919 w 131"/>
                <a:gd name="T27" fmla="*/ 49899 h 67"/>
                <a:gd name="T28" fmla="*/ 241627 w 131"/>
                <a:gd name="T29" fmla="*/ 40303 h 67"/>
                <a:gd name="T30" fmla="*/ 249237 w 131"/>
                <a:gd name="T31" fmla="*/ 34546 h 67"/>
                <a:gd name="T32" fmla="*/ 245432 w 131"/>
                <a:gd name="T33" fmla="*/ 30707 h 67"/>
                <a:gd name="T34" fmla="*/ 239724 w 131"/>
                <a:gd name="T35" fmla="*/ 28788 h 67"/>
                <a:gd name="T36" fmla="*/ 226406 w 131"/>
                <a:gd name="T37" fmla="*/ 24950 h 67"/>
                <a:gd name="T38" fmla="*/ 224504 w 131"/>
                <a:gd name="T39" fmla="*/ 17273 h 67"/>
                <a:gd name="T40" fmla="*/ 218796 w 131"/>
                <a:gd name="T41" fmla="*/ 17273 h 67"/>
                <a:gd name="T42" fmla="*/ 207380 w 131"/>
                <a:gd name="T43" fmla="*/ 13434 h 67"/>
                <a:gd name="T44" fmla="*/ 188355 w 131"/>
                <a:gd name="T45" fmla="*/ 13434 h 67"/>
                <a:gd name="T46" fmla="*/ 167426 w 131"/>
                <a:gd name="T47" fmla="*/ 11515 h 67"/>
                <a:gd name="T48" fmla="*/ 150303 w 131"/>
                <a:gd name="T49" fmla="*/ 11515 h 67"/>
                <a:gd name="T50" fmla="*/ 148401 w 131"/>
                <a:gd name="T51" fmla="*/ 15354 h 67"/>
                <a:gd name="T52" fmla="*/ 127472 w 131"/>
                <a:gd name="T53" fmla="*/ 11515 h 67"/>
                <a:gd name="T54" fmla="*/ 108447 w 131"/>
                <a:gd name="T55" fmla="*/ 1919 h 67"/>
                <a:gd name="T56" fmla="*/ 95129 w 131"/>
                <a:gd name="T57" fmla="*/ 3838 h 67"/>
                <a:gd name="T58" fmla="*/ 87518 w 131"/>
                <a:gd name="T59" fmla="*/ 9596 h 67"/>
                <a:gd name="T60" fmla="*/ 87518 w 131"/>
                <a:gd name="T61" fmla="*/ 24950 h 67"/>
                <a:gd name="T62" fmla="*/ 78005 w 131"/>
                <a:gd name="T63" fmla="*/ 26869 h 67"/>
                <a:gd name="T64" fmla="*/ 51369 w 131"/>
                <a:gd name="T65" fmla="*/ 19192 h 67"/>
                <a:gd name="T66" fmla="*/ 41857 w 131"/>
                <a:gd name="T67" fmla="*/ 21111 h 67"/>
                <a:gd name="T68" fmla="*/ 30441 w 131"/>
                <a:gd name="T69" fmla="*/ 30707 h 67"/>
                <a:gd name="T70" fmla="*/ 41857 w 131"/>
                <a:gd name="T71" fmla="*/ 34546 h 67"/>
                <a:gd name="T72" fmla="*/ 20928 w 131"/>
                <a:gd name="T73" fmla="*/ 53738 h 67"/>
                <a:gd name="T74" fmla="*/ 20928 w 131"/>
                <a:gd name="T75" fmla="*/ 61415 h 67"/>
                <a:gd name="T76" fmla="*/ 32344 w 131"/>
                <a:gd name="T77" fmla="*/ 61415 h 67"/>
                <a:gd name="T78" fmla="*/ 32344 w 131"/>
                <a:gd name="T79" fmla="*/ 72930 h 67"/>
                <a:gd name="T80" fmla="*/ 47564 w 131"/>
                <a:gd name="T81" fmla="*/ 72930 h 67"/>
                <a:gd name="T82" fmla="*/ 51369 w 131"/>
                <a:gd name="T83" fmla="*/ 57576 h 67"/>
                <a:gd name="T84" fmla="*/ 62785 w 131"/>
                <a:gd name="T85" fmla="*/ 71011 h 67"/>
                <a:gd name="T86" fmla="*/ 76103 w 131"/>
                <a:gd name="T87" fmla="*/ 72930 h 67"/>
                <a:gd name="T88" fmla="*/ 89421 w 131"/>
                <a:gd name="T89" fmla="*/ 76768 h 67"/>
                <a:gd name="T90" fmla="*/ 83713 w 131"/>
                <a:gd name="T91" fmla="*/ 90203 h 67"/>
                <a:gd name="T92" fmla="*/ 72298 w 131"/>
                <a:gd name="T93" fmla="*/ 90203 h 67"/>
                <a:gd name="T94" fmla="*/ 60882 w 131"/>
                <a:gd name="T95" fmla="*/ 101718 h 67"/>
                <a:gd name="T96" fmla="*/ 53272 w 131"/>
                <a:gd name="T97" fmla="*/ 101718 h 67"/>
                <a:gd name="T98" fmla="*/ 47564 w 131"/>
                <a:gd name="T99" fmla="*/ 97880 h 67"/>
                <a:gd name="T100" fmla="*/ 41857 w 131"/>
                <a:gd name="T101" fmla="*/ 101718 h 67"/>
                <a:gd name="T102" fmla="*/ 36149 w 131"/>
                <a:gd name="T103" fmla="*/ 101718 h 67"/>
                <a:gd name="T104" fmla="*/ 15221 w 131"/>
                <a:gd name="T105" fmla="*/ 105556 h 67"/>
                <a:gd name="T106" fmla="*/ 1903 w 131"/>
                <a:gd name="T107" fmla="*/ 109395 h 67"/>
                <a:gd name="T108" fmla="*/ 7610 w 131"/>
                <a:gd name="T109" fmla="*/ 120910 h 67"/>
                <a:gd name="T110" fmla="*/ 30441 w 131"/>
                <a:gd name="T111" fmla="*/ 118991 h 67"/>
                <a:gd name="T112" fmla="*/ 41857 w 131"/>
                <a:gd name="T113" fmla="*/ 124749 h 67"/>
                <a:gd name="T114" fmla="*/ 58980 w 131"/>
                <a:gd name="T115" fmla="*/ 117072 h 67"/>
                <a:gd name="T116" fmla="*/ 64687 w 131"/>
                <a:gd name="T117" fmla="*/ 126668 h 67"/>
                <a:gd name="T118" fmla="*/ 79908 w 131"/>
                <a:gd name="T119" fmla="*/ 126668 h 67"/>
                <a:gd name="T120" fmla="*/ 110349 w 131"/>
                <a:gd name="T121" fmla="*/ 122829 h 6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1"/>
                <a:gd name="T184" fmla="*/ 0 h 67"/>
                <a:gd name="T185" fmla="*/ 131 w 131"/>
                <a:gd name="T186" fmla="*/ 67 h 6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1" h="67">
                  <a:moveTo>
                    <a:pt x="58" y="64"/>
                  </a:moveTo>
                  <a:cubicBezTo>
                    <a:pt x="58" y="61"/>
                    <a:pt x="57" y="57"/>
                    <a:pt x="58" y="55"/>
                  </a:cubicBezTo>
                  <a:cubicBezTo>
                    <a:pt x="59" y="53"/>
                    <a:pt x="62" y="53"/>
                    <a:pt x="64" y="52"/>
                  </a:cubicBezTo>
                  <a:cubicBezTo>
                    <a:pt x="66" y="51"/>
                    <a:pt x="68" y="49"/>
                    <a:pt x="70" y="48"/>
                  </a:cubicBezTo>
                  <a:cubicBezTo>
                    <a:pt x="71" y="47"/>
                    <a:pt x="73" y="49"/>
                    <a:pt x="75" y="49"/>
                  </a:cubicBezTo>
                  <a:cubicBezTo>
                    <a:pt x="76" y="48"/>
                    <a:pt x="77" y="45"/>
                    <a:pt x="79" y="45"/>
                  </a:cubicBezTo>
                  <a:cubicBezTo>
                    <a:pt x="81" y="46"/>
                    <a:pt x="79" y="50"/>
                    <a:pt x="80" y="50"/>
                  </a:cubicBezTo>
                  <a:cubicBezTo>
                    <a:pt x="83" y="51"/>
                    <a:pt x="87" y="50"/>
                    <a:pt x="89" y="48"/>
                  </a:cubicBezTo>
                  <a:cubicBezTo>
                    <a:pt x="92" y="45"/>
                    <a:pt x="90" y="41"/>
                    <a:pt x="93" y="38"/>
                  </a:cubicBezTo>
                  <a:cubicBezTo>
                    <a:pt x="94" y="37"/>
                    <a:pt x="96" y="37"/>
                    <a:pt x="98" y="37"/>
                  </a:cubicBezTo>
                  <a:cubicBezTo>
                    <a:pt x="102" y="36"/>
                    <a:pt x="106" y="38"/>
                    <a:pt x="109" y="37"/>
                  </a:cubicBezTo>
                  <a:cubicBezTo>
                    <a:pt x="111" y="36"/>
                    <a:pt x="110" y="32"/>
                    <a:pt x="112" y="31"/>
                  </a:cubicBezTo>
                  <a:cubicBezTo>
                    <a:pt x="114" y="28"/>
                    <a:pt x="116" y="25"/>
                    <a:pt x="120" y="24"/>
                  </a:cubicBezTo>
                  <a:cubicBezTo>
                    <a:pt x="121" y="23"/>
                    <a:pt x="122" y="26"/>
                    <a:pt x="124" y="26"/>
                  </a:cubicBezTo>
                  <a:cubicBezTo>
                    <a:pt x="126" y="25"/>
                    <a:pt x="125" y="22"/>
                    <a:pt x="127" y="21"/>
                  </a:cubicBezTo>
                  <a:cubicBezTo>
                    <a:pt x="128" y="19"/>
                    <a:pt x="130" y="19"/>
                    <a:pt x="131" y="18"/>
                  </a:cubicBezTo>
                  <a:cubicBezTo>
                    <a:pt x="131" y="18"/>
                    <a:pt x="129" y="16"/>
                    <a:pt x="129" y="16"/>
                  </a:cubicBezTo>
                  <a:cubicBezTo>
                    <a:pt x="128" y="16"/>
                    <a:pt x="127" y="16"/>
                    <a:pt x="126" y="15"/>
                  </a:cubicBezTo>
                  <a:cubicBezTo>
                    <a:pt x="124" y="15"/>
                    <a:pt x="121" y="15"/>
                    <a:pt x="119" y="13"/>
                  </a:cubicBezTo>
                  <a:cubicBezTo>
                    <a:pt x="118" y="12"/>
                    <a:pt x="119" y="10"/>
                    <a:pt x="118" y="9"/>
                  </a:cubicBezTo>
                  <a:cubicBezTo>
                    <a:pt x="117" y="8"/>
                    <a:pt x="116" y="9"/>
                    <a:pt x="115" y="9"/>
                  </a:cubicBezTo>
                  <a:cubicBezTo>
                    <a:pt x="113" y="9"/>
                    <a:pt x="111" y="7"/>
                    <a:pt x="109" y="7"/>
                  </a:cubicBezTo>
                  <a:cubicBezTo>
                    <a:pt x="106" y="6"/>
                    <a:pt x="103" y="7"/>
                    <a:pt x="99" y="7"/>
                  </a:cubicBezTo>
                  <a:cubicBezTo>
                    <a:pt x="95" y="7"/>
                    <a:pt x="92" y="7"/>
                    <a:pt x="88" y="6"/>
                  </a:cubicBezTo>
                  <a:cubicBezTo>
                    <a:pt x="85" y="6"/>
                    <a:pt x="82" y="6"/>
                    <a:pt x="79" y="6"/>
                  </a:cubicBezTo>
                  <a:cubicBezTo>
                    <a:pt x="78" y="6"/>
                    <a:pt x="78" y="8"/>
                    <a:pt x="78" y="8"/>
                  </a:cubicBezTo>
                  <a:cubicBezTo>
                    <a:pt x="74" y="8"/>
                    <a:pt x="70" y="7"/>
                    <a:pt x="67" y="6"/>
                  </a:cubicBezTo>
                  <a:cubicBezTo>
                    <a:pt x="63" y="5"/>
                    <a:pt x="60" y="2"/>
                    <a:pt x="57" y="1"/>
                  </a:cubicBezTo>
                  <a:cubicBezTo>
                    <a:pt x="55" y="0"/>
                    <a:pt x="52" y="1"/>
                    <a:pt x="50" y="2"/>
                  </a:cubicBezTo>
                  <a:cubicBezTo>
                    <a:pt x="48" y="2"/>
                    <a:pt x="46" y="3"/>
                    <a:pt x="46" y="5"/>
                  </a:cubicBezTo>
                  <a:cubicBezTo>
                    <a:pt x="45" y="7"/>
                    <a:pt x="47" y="10"/>
                    <a:pt x="46" y="13"/>
                  </a:cubicBezTo>
                  <a:cubicBezTo>
                    <a:pt x="45" y="14"/>
                    <a:pt x="43" y="14"/>
                    <a:pt x="41" y="14"/>
                  </a:cubicBezTo>
                  <a:cubicBezTo>
                    <a:pt x="36" y="13"/>
                    <a:pt x="32" y="11"/>
                    <a:pt x="27" y="10"/>
                  </a:cubicBezTo>
                  <a:cubicBezTo>
                    <a:pt x="26" y="10"/>
                    <a:pt x="24" y="10"/>
                    <a:pt x="22" y="11"/>
                  </a:cubicBezTo>
                  <a:cubicBezTo>
                    <a:pt x="20" y="12"/>
                    <a:pt x="18" y="14"/>
                    <a:pt x="16" y="16"/>
                  </a:cubicBezTo>
                  <a:cubicBezTo>
                    <a:pt x="18" y="17"/>
                    <a:pt x="23" y="17"/>
                    <a:pt x="22" y="18"/>
                  </a:cubicBezTo>
                  <a:cubicBezTo>
                    <a:pt x="20" y="23"/>
                    <a:pt x="14" y="24"/>
                    <a:pt x="11" y="28"/>
                  </a:cubicBezTo>
                  <a:cubicBezTo>
                    <a:pt x="10" y="29"/>
                    <a:pt x="10" y="31"/>
                    <a:pt x="11" y="32"/>
                  </a:cubicBezTo>
                  <a:cubicBezTo>
                    <a:pt x="12" y="33"/>
                    <a:pt x="15" y="31"/>
                    <a:pt x="17" y="32"/>
                  </a:cubicBezTo>
                  <a:cubicBezTo>
                    <a:pt x="18" y="33"/>
                    <a:pt x="16" y="37"/>
                    <a:pt x="17" y="38"/>
                  </a:cubicBezTo>
                  <a:cubicBezTo>
                    <a:pt x="20" y="40"/>
                    <a:pt x="23" y="40"/>
                    <a:pt x="25" y="38"/>
                  </a:cubicBezTo>
                  <a:cubicBezTo>
                    <a:pt x="27" y="36"/>
                    <a:pt x="25" y="31"/>
                    <a:pt x="27" y="30"/>
                  </a:cubicBezTo>
                  <a:cubicBezTo>
                    <a:pt x="30" y="30"/>
                    <a:pt x="31" y="35"/>
                    <a:pt x="33" y="37"/>
                  </a:cubicBezTo>
                  <a:cubicBezTo>
                    <a:pt x="35" y="38"/>
                    <a:pt x="38" y="37"/>
                    <a:pt x="40" y="38"/>
                  </a:cubicBezTo>
                  <a:cubicBezTo>
                    <a:pt x="43" y="39"/>
                    <a:pt x="46" y="38"/>
                    <a:pt x="47" y="40"/>
                  </a:cubicBezTo>
                  <a:cubicBezTo>
                    <a:pt x="48" y="43"/>
                    <a:pt x="46" y="45"/>
                    <a:pt x="44" y="47"/>
                  </a:cubicBezTo>
                  <a:cubicBezTo>
                    <a:pt x="42" y="48"/>
                    <a:pt x="40" y="46"/>
                    <a:pt x="38" y="47"/>
                  </a:cubicBezTo>
                  <a:cubicBezTo>
                    <a:pt x="36" y="48"/>
                    <a:pt x="35" y="52"/>
                    <a:pt x="32" y="53"/>
                  </a:cubicBezTo>
                  <a:cubicBezTo>
                    <a:pt x="31" y="54"/>
                    <a:pt x="30" y="53"/>
                    <a:pt x="28" y="53"/>
                  </a:cubicBezTo>
                  <a:cubicBezTo>
                    <a:pt x="27" y="52"/>
                    <a:pt x="26" y="51"/>
                    <a:pt x="25" y="51"/>
                  </a:cubicBezTo>
                  <a:cubicBezTo>
                    <a:pt x="24" y="51"/>
                    <a:pt x="23" y="52"/>
                    <a:pt x="22" y="53"/>
                  </a:cubicBezTo>
                  <a:cubicBezTo>
                    <a:pt x="21" y="53"/>
                    <a:pt x="20" y="53"/>
                    <a:pt x="19" y="53"/>
                  </a:cubicBezTo>
                  <a:cubicBezTo>
                    <a:pt x="16" y="54"/>
                    <a:pt x="12" y="54"/>
                    <a:pt x="8" y="55"/>
                  </a:cubicBezTo>
                  <a:cubicBezTo>
                    <a:pt x="6" y="55"/>
                    <a:pt x="2" y="55"/>
                    <a:pt x="1" y="57"/>
                  </a:cubicBezTo>
                  <a:cubicBezTo>
                    <a:pt x="0" y="59"/>
                    <a:pt x="2" y="63"/>
                    <a:pt x="4" y="63"/>
                  </a:cubicBezTo>
                  <a:cubicBezTo>
                    <a:pt x="8" y="64"/>
                    <a:pt x="12" y="61"/>
                    <a:pt x="16" y="62"/>
                  </a:cubicBezTo>
                  <a:cubicBezTo>
                    <a:pt x="19" y="62"/>
                    <a:pt x="20" y="65"/>
                    <a:pt x="22" y="65"/>
                  </a:cubicBezTo>
                  <a:cubicBezTo>
                    <a:pt x="25" y="65"/>
                    <a:pt x="28" y="61"/>
                    <a:pt x="31" y="61"/>
                  </a:cubicBezTo>
                  <a:cubicBezTo>
                    <a:pt x="33" y="61"/>
                    <a:pt x="32" y="65"/>
                    <a:pt x="34" y="66"/>
                  </a:cubicBezTo>
                  <a:cubicBezTo>
                    <a:pt x="37" y="67"/>
                    <a:pt x="40" y="66"/>
                    <a:pt x="42" y="66"/>
                  </a:cubicBezTo>
                  <a:cubicBezTo>
                    <a:pt x="47" y="66"/>
                    <a:pt x="52" y="64"/>
                    <a:pt x="58" y="6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4" name="Freeform 124"/>
            <p:cNvSpPr>
              <a:spLocks noChangeAspect="1"/>
            </p:cNvSpPr>
            <p:nvPr/>
          </p:nvSpPr>
          <p:spPr bwMode="auto">
            <a:xfrm>
              <a:off x="6107113" y="3025775"/>
              <a:ext cx="188912" cy="130175"/>
            </a:xfrm>
            <a:custGeom>
              <a:avLst/>
              <a:gdLst>
                <a:gd name="T0" fmla="*/ 179371 w 99"/>
                <a:gd name="T1" fmla="*/ 107203 h 68"/>
                <a:gd name="T2" fmla="*/ 188912 w 99"/>
                <a:gd name="T3" fmla="*/ 101460 h 68"/>
                <a:gd name="T4" fmla="*/ 179371 w 99"/>
                <a:gd name="T5" fmla="*/ 76574 h 68"/>
                <a:gd name="T6" fmla="*/ 167922 w 99"/>
                <a:gd name="T7" fmla="*/ 63173 h 68"/>
                <a:gd name="T8" fmla="*/ 150748 w 99"/>
                <a:gd name="T9" fmla="*/ 70831 h 68"/>
                <a:gd name="T10" fmla="*/ 150748 w 99"/>
                <a:gd name="T11" fmla="*/ 61259 h 68"/>
                <a:gd name="T12" fmla="*/ 152656 w 99"/>
                <a:gd name="T13" fmla="*/ 55516 h 68"/>
                <a:gd name="T14" fmla="*/ 148840 w 99"/>
                <a:gd name="T15" fmla="*/ 44030 h 68"/>
                <a:gd name="T16" fmla="*/ 118309 w 99"/>
                <a:gd name="T17" fmla="*/ 47858 h 68"/>
                <a:gd name="T18" fmla="*/ 103043 w 99"/>
                <a:gd name="T19" fmla="*/ 47858 h 68"/>
                <a:gd name="T20" fmla="*/ 97318 w 99"/>
                <a:gd name="T21" fmla="*/ 38287 h 68"/>
                <a:gd name="T22" fmla="*/ 80144 w 99"/>
                <a:gd name="T23" fmla="*/ 45944 h 68"/>
                <a:gd name="T24" fmla="*/ 68695 w 99"/>
                <a:gd name="T25" fmla="*/ 40201 h 68"/>
                <a:gd name="T26" fmla="*/ 45797 w 99"/>
                <a:gd name="T27" fmla="*/ 42115 h 68"/>
                <a:gd name="T28" fmla="*/ 40072 w 99"/>
                <a:gd name="T29" fmla="*/ 30629 h 68"/>
                <a:gd name="T30" fmla="*/ 53430 w 99"/>
                <a:gd name="T31" fmla="*/ 26801 h 68"/>
                <a:gd name="T32" fmla="*/ 74420 w 99"/>
                <a:gd name="T33" fmla="*/ 22972 h 68"/>
                <a:gd name="T34" fmla="*/ 70603 w 99"/>
                <a:gd name="T35" fmla="*/ 15315 h 68"/>
                <a:gd name="T36" fmla="*/ 74420 w 99"/>
                <a:gd name="T37" fmla="*/ 7657 h 68"/>
                <a:gd name="T38" fmla="*/ 61062 w 99"/>
                <a:gd name="T39" fmla="*/ 0 h 68"/>
                <a:gd name="T40" fmla="*/ 53430 w 99"/>
                <a:gd name="T41" fmla="*/ 9572 h 68"/>
                <a:gd name="T42" fmla="*/ 41980 w 99"/>
                <a:gd name="T43" fmla="*/ 7657 h 68"/>
                <a:gd name="T44" fmla="*/ 38164 w 99"/>
                <a:gd name="T45" fmla="*/ 19143 h 68"/>
                <a:gd name="T46" fmla="*/ 22898 w 99"/>
                <a:gd name="T47" fmla="*/ 22972 h 68"/>
                <a:gd name="T48" fmla="*/ 26715 w 99"/>
                <a:gd name="T49" fmla="*/ 24886 h 68"/>
                <a:gd name="T50" fmla="*/ 26715 w 99"/>
                <a:gd name="T51" fmla="*/ 30629 h 68"/>
                <a:gd name="T52" fmla="*/ 20990 w 99"/>
                <a:gd name="T53" fmla="*/ 40201 h 68"/>
                <a:gd name="T54" fmla="*/ 3816 w 99"/>
                <a:gd name="T55" fmla="*/ 42115 h 68"/>
                <a:gd name="T56" fmla="*/ 0 w 99"/>
                <a:gd name="T57" fmla="*/ 51687 h 68"/>
                <a:gd name="T58" fmla="*/ 3816 w 99"/>
                <a:gd name="T59" fmla="*/ 55516 h 68"/>
                <a:gd name="T60" fmla="*/ 15266 w 99"/>
                <a:gd name="T61" fmla="*/ 57430 h 68"/>
                <a:gd name="T62" fmla="*/ 15266 w 99"/>
                <a:gd name="T63" fmla="*/ 67002 h 68"/>
                <a:gd name="T64" fmla="*/ 22898 w 99"/>
                <a:gd name="T65" fmla="*/ 74659 h 68"/>
                <a:gd name="T66" fmla="*/ 24807 w 99"/>
                <a:gd name="T67" fmla="*/ 82317 h 68"/>
                <a:gd name="T68" fmla="*/ 11449 w 99"/>
                <a:gd name="T69" fmla="*/ 99546 h 68"/>
                <a:gd name="T70" fmla="*/ 11449 w 99"/>
                <a:gd name="T71" fmla="*/ 107203 h 68"/>
                <a:gd name="T72" fmla="*/ 17174 w 99"/>
                <a:gd name="T73" fmla="*/ 116775 h 68"/>
                <a:gd name="T74" fmla="*/ 28623 w 99"/>
                <a:gd name="T75" fmla="*/ 120603 h 68"/>
                <a:gd name="T76" fmla="*/ 43889 w 99"/>
                <a:gd name="T77" fmla="*/ 109117 h 68"/>
                <a:gd name="T78" fmla="*/ 51521 w 99"/>
                <a:gd name="T79" fmla="*/ 116775 h 68"/>
                <a:gd name="T80" fmla="*/ 51521 w 99"/>
                <a:gd name="T81" fmla="*/ 109117 h 68"/>
                <a:gd name="T82" fmla="*/ 57246 w 99"/>
                <a:gd name="T83" fmla="*/ 99546 h 68"/>
                <a:gd name="T84" fmla="*/ 70603 w 99"/>
                <a:gd name="T85" fmla="*/ 97631 h 68"/>
                <a:gd name="T86" fmla="*/ 62971 w 99"/>
                <a:gd name="T87" fmla="*/ 91888 h 68"/>
                <a:gd name="T88" fmla="*/ 78236 w 99"/>
                <a:gd name="T89" fmla="*/ 74659 h 68"/>
                <a:gd name="T90" fmla="*/ 91594 w 99"/>
                <a:gd name="T91" fmla="*/ 80402 h 68"/>
                <a:gd name="T92" fmla="*/ 91594 w 99"/>
                <a:gd name="T93" fmla="*/ 91888 h 68"/>
                <a:gd name="T94" fmla="*/ 101135 w 99"/>
                <a:gd name="T95" fmla="*/ 91888 h 68"/>
                <a:gd name="T96" fmla="*/ 101135 w 99"/>
                <a:gd name="T97" fmla="*/ 109117 h 68"/>
                <a:gd name="T98" fmla="*/ 104951 w 99"/>
                <a:gd name="T99" fmla="*/ 122518 h 68"/>
                <a:gd name="T100" fmla="*/ 110676 w 99"/>
                <a:gd name="T101" fmla="*/ 130175 h 68"/>
                <a:gd name="T102" fmla="*/ 116400 w 99"/>
                <a:gd name="T103" fmla="*/ 120603 h 68"/>
                <a:gd name="T104" fmla="*/ 124033 w 99"/>
                <a:gd name="T105" fmla="*/ 118689 h 68"/>
                <a:gd name="T106" fmla="*/ 135482 w 99"/>
                <a:gd name="T107" fmla="*/ 114860 h 68"/>
                <a:gd name="T108" fmla="*/ 148840 w 99"/>
                <a:gd name="T109" fmla="*/ 109117 h 68"/>
                <a:gd name="T110" fmla="*/ 156473 w 99"/>
                <a:gd name="T111" fmla="*/ 114860 h 68"/>
                <a:gd name="T112" fmla="*/ 173646 w 99"/>
                <a:gd name="T113" fmla="*/ 107203 h 68"/>
                <a:gd name="T114" fmla="*/ 179371 w 99"/>
                <a:gd name="T115" fmla="*/ 107203 h 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9"/>
                <a:gd name="T175" fmla="*/ 0 h 68"/>
                <a:gd name="T176" fmla="*/ 99 w 99"/>
                <a:gd name="T177" fmla="*/ 68 h 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9" h="68">
                  <a:moveTo>
                    <a:pt x="94" y="56"/>
                  </a:moveTo>
                  <a:cubicBezTo>
                    <a:pt x="95" y="55"/>
                    <a:pt x="99" y="55"/>
                    <a:pt x="99" y="53"/>
                  </a:cubicBezTo>
                  <a:cubicBezTo>
                    <a:pt x="99" y="48"/>
                    <a:pt x="96" y="44"/>
                    <a:pt x="94" y="40"/>
                  </a:cubicBezTo>
                  <a:cubicBezTo>
                    <a:pt x="93" y="38"/>
                    <a:pt x="91" y="34"/>
                    <a:pt x="88" y="33"/>
                  </a:cubicBezTo>
                  <a:cubicBezTo>
                    <a:pt x="85" y="33"/>
                    <a:pt x="82" y="37"/>
                    <a:pt x="79" y="37"/>
                  </a:cubicBezTo>
                  <a:cubicBezTo>
                    <a:pt x="78" y="37"/>
                    <a:pt x="79" y="34"/>
                    <a:pt x="79" y="32"/>
                  </a:cubicBezTo>
                  <a:cubicBezTo>
                    <a:pt x="80" y="31"/>
                    <a:pt x="80" y="30"/>
                    <a:pt x="80" y="29"/>
                  </a:cubicBezTo>
                  <a:cubicBezTo>
                    <a:pt x="80" y="27"/>
                    <a:pt x="78" y="24"/>
                    <a:pt x="78" y="23"/>
                  </a:cubicBezTo>
                  <a:cubicBezTo>
                    <a:pt x="72" y="23"/>
                    <a:pt x="67" y="25"/>
                    <a:pt x="62" y="25"/>
                  </a:cubicBezTo>
                  <a:cubicBezTo>
                    <a:pt x="60" y="25"/>
                    <a:pt x="57" y="26"/>
                    <a:pt x="54" y="25"/>
                  </a:cubicBezTo>
                  <a:cubicBezTo>
                    <a:pt x="52" y="24"/>
                    <a:pt x="53" y="20"/>
                    <a:pt x="51" y="20"/>
                  </a:cubicBezTo>
                  <a:cubicBezTo>
                    <a:pt x="48" y="20"/>
                    <a:pt x="45" y="24"/>
                    <a:pt x="42" y="24"/>
                  </a:cubicBezTo>
                  <a:cubicBezTo>
                    <a:pt x="40" y="24"/>
                    <a:pt x="39" y="21"/>
                    <a:pt x="36" y="21"/>
                  </a:cubicBezTo>
                  <a:cubicBezTo>
                    <a:pt x="32" y="20"/>
                    <a:pt x="28" y="23"/>
                    <a:pt x="24" y="22"/>
                  </a:cubicBezTo>
                  <a:cubicBezTo>
                    <a:pt x="22" y="22"/>
                    <a:pt x="20" y="18"/>
                    <a:pt x="21" y="16"/>
                  </a:cubicBezTo>
                  <a:cubicBezTo>
                    <a:pt x="22" y="14"/>
                    <a:pt x="26" y="14"/>
                    <a:pt x="28" y="14"/>
                  </a:cubicBezTo>
                  <a:cubicBezTo>
                    <a:pt x="32" y="13"/>
                    <a:pt x="36" y="13"/>
                    <a:pt x="39" y="12"/>
                  </a:cubicBezTo>
                  <a:cubicBezTo>
                    <a:pt x="38" y="11"/>
                    <a:pt x="37" y="10"/>
                    <a:pt x="37" y="8"/>
                  </a:cubicBezTo>
                  <a:cubicBezTo>
                    <a:pt x="37" y="7"/>
                    <a:pt x="39" y="6"/>
                    <a:pt x="39" y="4"/>
                  </a:cubicBezTo>
                  <a:cubicBezTo>
                    <a:pt x="37" y="2"/>
                    <a:pt x="35" y="0"/>
                    <a:pt x="32" y="0"/>
                  </a:cubicBezTo>
                  <a:cubicBezTo>
                    <a:pt x="30" y="0"/>
                    <a:pt x="30" y="4"/>
                    <a:pt x="28" y="5"/>
                  </a:cubicBezTo>
                  <a:cubicBezTo>
                    <a:pt x="26" y="5"/>
                    <a:pt x="24" y="3"/>
                    <a:pt x="22" y="4"/>
                  </a:cubicBezTo>
                  <a:cubicBezTo>
                    <a:pt x="21" y="5"/>
                    <a:pt x="22" y="8"/>
                    <a:pt x="20" y="10"/>
                  </a:cubicBezTo>
                  <a:cubicBezTo>
                    <a:pt x="18" y="12"/>
                    <a:pt x="15" y="11"/>
                    <a:pt x="12" y="12"/>
                  </a:cubicBezTo>
                  <a:cubicBezTo>
                    <a:pt x="11" y="13"/>
                    <a:pt x="13" y="12"/>
                    <a:pt x="14" y="13"/>
                  </a:cubicBezTo>
                  <a:cubicBezTo>
                    <a:pt x="14" y="14"/>
                    <a:pt x="14" y="15"/>
                    <a:pt x="14" y="16"/>
                  </a:cubicBezTo>
                  <a:cubicBezTo>
                    <a:pt x="13" y="18"/>
                    <a:pt x="13" y="20"/>
                    <a:pt x="11" y="21"/>
                  </a:cubicBezTo>
                  <a:cubicBezTo>
                    <a:pt x="8" y="22"/>
                    <a:pt x="5" y="21"/>
                    <a:pt x="2" y="22"/>
                  </a:cubicBezTo>
                  <a:cubicBezTo>
                    <a:pt x="0" y="23"/>
                    <a:pt x="0" y="25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4" y="30"/>
                    <a:pt x="7" y="28"/>
                    <a:pt x="8" y="30"/>
                  </a:cubicBezTo>
                  <a:cubicBezTo>
                    <a:pt x="10" y="31"/>
                    <a:pt x="8" y="34"/>
                    <a:pt x="8" y="35"/>
                  </a:cubicBezTo>
                  <a:cubicBezTo>
                    <a:pt x="9" y="37"/>
                    <a:pt x="11" y="38"/>
                    <a:pt x="12" y="39"/>
                  </a:cubicBezTo>
                  <a:cubicBezTo>
                    <a:pt x="12" y="40"/>
                    <a:pt x="13" y="42"/>
                    <a:pt x="13" y="43"/>
                  </a:cubicBezTo>
                  <a:cubicBezTo>
                    <a:pt x="11" y="47"/>
                    <a:pt x="8" y="49"/>
                    <a:pt x="6" y="52"/>
                  </a:cubicBezTo>
                  <a:cubicBezTo>
                    <a:pt x="6" y="53"/>
                    <a:pt x="6" y="55"/>
                    <a:pt x="6" y="56"/>
                  </a:cubicBezTo>
                  <a:cubicBezTo>
                    <a:pt x="7" y="58"/>
                    <a:pt x="8" y="59"/>
                    <a:pt x="9" y="61"/>
                  </a:cubicBezTo>
                  <a:cubicBezTo>
                    <a:pt x="11" y="62"/>
                    <a:pt x="13" y="63"/>
                    <a:pt x="15" y="63"/>
                  </a:cubicBezTo>
                  <a:cubicBezTo>
                    <a:pt x="18" y="62"/>
                    <a:pt x="20" y="57"/>
                    <a:pt x="23" y="57"/>
                  </a:cubicBezTo>
                  <a:cubicBezTo>
                    <a:pt x="25" y="56"/>
                    <a:pt x="25" y="60"/>
                    <a:pt x="27" y="61"/>
                  </a:cubicBezTo>
                  <a:cubicBezTo>
                    <a:pt x="28" y="61"/>
                    <a:pt x="27" y="58"/>
                    <a:pt x="27" y="57"/>
                  </a:cubicBezTo>
                  <a:cubicBezTo>
                    <a:pt x="28" y="55"/>
                    <a:pt x="28" y="53"/>
                    <a:pt x="30" y="52"/>
                  </a:cubicBezTo>
                  <a:cubicBezTo>
                    <a:pt x="32" y="51"/>
                    <a:pt x="36" y="53"/>
                    <a:pt x="37" y="51"/>
                  </a:cubicBezTo>
                  <a:cubicBezTo>
                    <a:pt x="38" y="50"/>
                    <a:pt x="33" y="50"/>
                    <a:pt x="33" y="48"/>
                  </a:cubicBezTo>
                  <a:cubicBezTo>
                    <a:pt x="34" y="44"/>
                    <a:pt x="37" y="40"/>
                    <a:pt x="41" y="39"/>
                  </a:cubicBezTo>
                  <a:cubicBezTo>
                    <a:pt x="44" y="38"/>
                    <a:pt x="47" y="40"/>
                    <a:pt x="48" y="42"/>
                  </a:cubicBezTo>
                  <a:cubicBezTo>
                    <a:pt x="49" y="44"/>
                    <a:pt x="47" y="46"/>
                    <a:pt x="48" y="48"/>
                  </a:cubicBezTo>
                  <a:cubicBezTo>
                    <a:pt x="49" y="49"/>
                    <a:pt x="52" y="46"/>
                    <a:pt x="53" y="48"/>
                  </a:cubicBezTo>
                  <a:cubicBezTo>
                    <a:pt x="54" y="50"/>
                    <a:pt x="52" y="54"/>
                    <a:pt x="53" y="57"/>
                  </a:cubicBezTo>
                  <a:cubicBezTo>
                    <a:pt x="53" y="59"/>
                    <a:pt x="54" y="61"/>
                    <a:pt x="55" y="64"/>
                  </a:cubicBezTo>
                  <a:cubicBezTo>
                    <a:pt x="56" y="65"/>
                    <a:pt x="56" y="68"/>
                    <a:pt x="58" y="68"/>
                  </a:cubicBezTo>
                  <a:cubicBezTo>
                    <a:pt x="60" y="67"/>
                    <a:pt x="60" y="64"/>
                    <a:pt x="61" y="63"/>
                  </a:cubicBezTo>
                  <a:cubicBezTo>
                    <a:pt x="62" y="62"/>
                    <a:pt x="64" y="63"/>
                    <a:pt x="65" y="62"/>
                  </a:cubicBezTo>
                  <a:cubicBezTo>
                    <a:pt x="67" y="62"/>
                    <a:pt x="69" y="61"/>
                    <a:pt x="71" y="60"/>
                  </a:cubicBezTo>
                  <a:cubicBezTo>
                    <a:pt x="73" y="59"/>
                    <a:pt x="76" y="57"/>
                    <a:pt x="78" y="57"/>
                  </a:cubicBezTo>
                  <a:cubicBezTo>
                    <a:pt x="80" y="57"/>
                    <a:pt x="80" y="60"/>
                    <a:pt x="82" y="60"/>
                  </a:cubicBezTo>
                  <a:cubicBezTo>
                    <a:pt x="85" y="60"/>
                    <a:pt x="88" y="57"/>
                    <a:pt x="91" y="56"/>
                  </a:cubicBezTo>
                  <a:cubicBezTo>
                    <a:pt x="92" y="56"/>
                    <a:pt x="93" y="56"/>
                    <a:pt x="94" y="5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5" name="Freeform 125"/>
            <p:cNvSpPr>
              <a:spLocks noChangeAspect="1"/>
            </p:cNvSpPr>
            <p:nvPr/>
          </p:nvSpPr>
          <p:spPr bwMode="auto">
            <a:xfrm>
              <a:off x="6161088" y="3192463"/>
              <a:ext cx="687387" cy="784225"/>
            </a:xfrm>
            <a:custGeom>
              <a:avLst/>
              <a:gdLst>
                <a:gd name="T0" fmla="*/ 479838 w 361"/>
                <a:gd name="T1" fmla="*/ 392113 h 412"/>
                <a:gd name="T2" fmla="*/ 441756 w 361"/>
                <a:gd name="T3" fmla="*/ 460637 h 412"/>
                <a:gd name="T4" fmla="*/ 371303 w 361"/>
                <a:gd name="T5" fmla="*/ 519644 h 412"/>
                <a:gd name="T6" fmla="*/ 302755 w 361"/>
                <a:gd name="T7" fmla="*/ 571038 h 412"/>
                <a:gd name="T8" fmla="*/ 297043 w 361"/>
                <a:gd name="T9" fmla="*/ 719507 h 412"/>
                <a:gd name="T10" fmla="*/ 251344 w 361"/>
                <a:gd name="T11" fmla="*/ 778515 h 412"/>
                <a:gd name="T12" fmla="*/ 217070 w 361"/>
                <a:gd name="T13" fmla="*/ 734735 h 412"/>
                <a:gd name="T14" fmla="*/ 167562 w 361"/>
                <a:gd name="T15" fmla="*/ 609107 h 412"/>
                <a:gd name="T16" fmla="*/ 135192 w 361"/>
                <a:gd name="T17" fmla="*/ 527258 h 412"/>
                <a:gd name="T18" fmla="*/ 121864 w 361"/>
                <a:gd name="T19" fmla="*/ 472058 h 412"/>
                <a:gd name="T20" fmla="*/ 118055 w 361"/>
                <a:gd name="T21" fmla="*/ 407340 h 412"/>
                <a:gd name="T22" fmla="*/ 100918 w 361"/>
                <a:gd name="T23" fmla="*/ 395919 h 412"/>
                <a:gd name="T24" fmla="*/ 22849 w 361"/>
                <a:gd name="T25" fmla="*/ 395919 h 412"/>
                <a:gd name="T26" fmla="*/ 57124 w 361"/>
                <a:gd name="T27" fmla="*/ 361657 h 412"/>
                <a:gd name="T28" fmla="*/ 9521 w 361"/>
                <a:gd name="T29" fmla="*/ 348333 h 412"/>
                <a:gd name="T30" fmla="*/ 36178 w 361"/>
                <a:gd name="T31" fmla="*/ 333105 h 412"/>
                <a:gd name="T32" fmla="*/ 66644 w 361"/>
                <a:gd name="T33" fmla="*/ 323588 h 412"/>
                <a:gd name="T34" fmla="*/ 43795 w 361"/>
                <a:gd name="T35" fmla="*/ 279808 h 412"/>
                <a:gd name="T36" fmla="*/ 45699 w 361"/>
                <a:gd name="T37" fmla="*/ 224608 h 412"/>
                <a:gd name="T38" fmla="*/ 81877 w 361"/>
                <a:gd name="T39" fmla="*/ 211284 h 412"/>
                <a:gd name="T40" fmla="*/ 127576 w 361"/>
                <a:gd name="T41" fmla="*/ 157987 h 412"/>
                <a:gd name="T42" fmla="*/ 140905 w 361"/>
                <a:gd name="T43" fmla="*/ 119918 h 412"/>
                <a:gd name="T44" fmla="*/ 135192 w 361"/>
                <a:gd name="T45" fmla="*/ 85656 h 412"/>
                <a:gd name="T46" fmla="*/ 131384 w 361"/>
                <a:gd name="T47" fmla="*/ 24745 h 412"/>
                <a:gd name="T48" fmla="*/ 198028 w 361"/>
                <a:gd name="T49" fmla="*/ 3807 h 412"/>
                <a:gd name="T50" fmla="*/ 224686 w 361"/>
                <a:gd name="T51" fmla="*/ 41876 h 412"/>
                <a:gd name="T52" fmla="*/ 234207 w 361"/>
                <a:gd name="T53" fmla="*/ 93269 h 412"/>
                <a:gd name="T54" fmla="*/ 239919 w 361"/>
                <a:gd name="T55" fmla="*/ 127532 h 412"/>
                <a:gd name="T56" fmla="*/ 295138 w 361"/>
                <a:gd name="T57" fmla="*/ 159891 h 412"/>
                <a:gd name="T58" fmla="*/ 281810 w 361"/>
                <a:gd name="T59" fmla="*/ 203670 h 412"/>
                <a:gd name="T60" fmla="*/ 371303 w 361"/>
                <a:gd name="T61" fmla="*/ 239836 h 412"/>
                <a:gd name="T62" fmla="*/ 413194 w 361"/>
                <a:gd name="T63" fmla="*/ 266484 h 412"/>
                <a:gd name="T64" fmla="*/ 464605 w 361"/>
                <a:gd name="T65" fmla="*/ 251257 h 412"/>
                <a:gd name="T66" fmla="*/ 483646 w 361"/>
                <a:gd name="T67" fmla="*/ 234125 h 412"/>
                <a:gd name="T68" fmla="*/ 527441 w 361"/>
                <a:gd name="T69" fmla="*/ 260774 h 412"/>
                <a:gd name="T70" fmla="*/ 548386 w 361"/>
                <a:gd name="T71" fmla="*/ 230318 h 412"/>
                <a:gd name="T72" fmla="*/ 586469 w 361"/>
                <a:gd name="T73" fmla="*/ 201767 h 412"/>
                <a:gd name="T74" fmla="*/ 635976 w 361"/>
                <a:gd name="T75" fmla="*/ 190346 h 412"/>
                <a:gd name="T76" fmla="*/ 664538 w 361"/>
                <a:gd name="T77" fmla="*/ 211284 h 412"/>
                <a:gd name="T78" fmla="*/ 675962 w 361"/>
                <a:gd name="T79" fmla="*/ 232222 h 412"/>
                <a:gd name="T80" fmla="*/ 656921 w 361"/>
                <a:gd name="T81" fmla="*/ 249353 h 412"/>
                <a:gd name="T82" fmla="*/ 641688 w 361"/>
                <a:gd name="T83" fmla="*/ 283615 h 412"/>
                <a:gd name="T84" fmla="*/ 620743 w 361"/>
                <a:gd name="T85" fmla="*/ 342623 h 412"/>
                <a:gd name="T86" fmla="*/ 605510 w 361"/>
                <a:gd name="T87" fmla="*/ 369271 h 412"/>
                <a:gd name="T88" fmla="*/ 586469 w 361"/>
                <a:gd name="T89" fmla="*/ 399726 h 412"/>
                <a:gd name="T90" fmla="*/ 565523 w 361"/>
                <a:gd name="T91" fmla="*/ 365464 h 412"/>
                <a:gd name="T92" fmla="*/ 550290 w 361"/>
                <a:gd name="T93" fmla="*/ 336912 h 412"/>
                <a:gd name="T94" fmla="*/ 561715 w 361"/>
                <a:gd name="T95" fmla="*/ 304553 h 412"/>
                <a:gd name="T96" fmla="*/ 502688 w 361"/>
                <a:gd name="T97" fmla="*/ 283615 h 412"/>
                <a:gd name="T98" fmla="*/ 479838 w 361"/>
                <a:gd name="T99" fmla="*/ 272195 h 412"/>
                <a:gd name="T100" fmla="*/ 483646 w 361"/>
                <a:gd name="T101" fmla="*/ 314071 h 412"/>
                <a:gd name="T102" fmla="*/ 487455 w 361"/>
                <a:gd name="T103" fmla="*/ 344526 h 412"/>
                <a:gd name="T104" fmla="*/ 498879 w 361"/>
                <a:gd name="T105" fmla="*/ 374981 h 41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61"/>
                <a:gd name="T160" fmla="*/ 0 h 412"/>
                <a:gd name="T161" fmla="*/ 361 w 361"/>
                <a:gd name="T162" fmla="*/ 412 h 41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61" h="412">
                  <a:moveTo>
                    <a:pt x="266" y="211"/>
                  </a:moveTo>
                  <a:cubicBezTo>
                    <a:pt x="265" y="212"/>
                    <a:pt x="264" y="215"/>
                    <a:pt x="263" y="214"/>
                  </a:cubicBezTo>
                  <a:cubicBezTo>
                    <a:pt x="260" y="213"/>
                    <a:pt x="261" y="208"/>
                    <a:pt x="258" y="208"/>
                  </a:cubicBezTo>
                  <a:cubicBezTo>
                    <a:pt x="256" y="207"/>
                    <a:pt x="258" y="213"/>
                    <a:pt x="256" y="212"/>
                  </a:cubicBezTo>
                  <a:cubicBezTo>
                    <a:pt x="254" y="212"/>
                    <a:pt x="254" y="206"/>
                    <a:pt x="252" y="206"/>
                  </a:cubicBezTo>
                  <a:cubicBezTo>
                    <a:pt x="249" y="207"/>
                    <a:pt x="249" y="211"/>
                    <a:pt x="247" y="213"/>
                  </a:cubicBezTo>
                  <a:cubicBezTo>
                    <a:pt x="245" y="216"/>
                    <a:pt x="239" y="215"/>
                    <a:pt x="238" y="219"/>
                  </a:cubicBezTo>
                  <a:cubicBezTo>
                    <a:pt x="236" y="221"/>
                    <a:pt x="239" y="225"/>
                    <a:pt x="239" y="228"/>
                  </a:cubicBezTo>
                  <a:cubicBezTo>
                    <a:pt x="239" y="230"/>
                    <a:pt x="238" y="231"/>
                    <a:pt x="238" y="233"/>
                  </a:cubicBezTo>
                  <a:cubicBezTo>
                    <a:pt x="236" y="236"/>
                    <a:pt x="234" y="240"/>
                    <a:pt x="232" y="242"/>
                  </a:cubicBezTo>
                  <a:cubicBezTo>
                    <a:pt x="230" y="244"/>
                    <a:pt x="227" y="245"/>
                    <a:pt x="224" y="245"/>
                  </a:cubicBezTo>
                  <a:cubicBezTo>
                    <a:pt x="223" y="245"/>
                    <a:pt x="221" y="242"/>
                    <a:pt x="220" y="243"/>
                  </a:cubicBezTo>
                  <a:cubicBezTo>
                    <a:pt x="217" y="245"/>
                    <a:pt x="217" y="249"/>
                    <a:pt x="215" y="251"/>
                  </a:cubicBezTo>
                  <a:cubicBezTo>
                    <a:pt x="212" y="255"/>
                    <a:pt x="209" y="260"/>
                    <a:pt x="206" y="264"/>
                  </a:cubicBezTo>
                  <a:cubicBezTo>
                    <a:pt x="203" y="267"/>
                    <a:pt x="199" y="270"/>
                    <a:pt x="195" y="273"/>
                  </a:cubicBezTo>
                  <a:cubicBezTo>
                    <a:pt x="191" y="276"/>
                    <a:pt x="185" y="276"/>
                    <a:pt x="182" y="280"/>
                  </a:cubicBezTo>
                  <a:cubicBezTo>
                    <a:pt x="181" y="283"/>
                    <a:pt x="187" y="286"/>
                    <a:pt x="185" y="288"/>
                  </a:cubicBezTo>
                  <a:cubicBezTo>
                    <a:pt x="183" y="292"/>
                    <a:pt x="177" y="290"/>
                    <a:pt x="174" y="292"/>
                  </a:cubicBezTo>
                  <a:cubicBezTo>
                    <a:pt x="171" y="294"/>
                    <a:pt x="170" y="298"/>
                    <a:pt x="167" y="300"/>
                  </a:cubicBezTo>
                  <a:cubicBezTo>
                    <a:pt x="164" y="301"/>
                    <a:pt x="161" y="298"/>
                    <a:pt x="159" y="300"/>
                  </a:cubicBezTo>
                  <a:cubicBezTo>
                    <a:pt x="157" y="301"/>
                    <a:pt x="157" y="305"/>
                    <a:pt x="157" y="308"/>
                  </a:cubicBezTo>
                  <a:cubicBezTo>
                    <a:pt x="158" y="314"/>
                    <a:pt x="160" y="321"/>
                    <a:pt x="160" y="328"/>
                  </a:cubicBezTo>
                  <a:cubicBezTo>
                    <a:pt x="161" y="333"/>
                    <a:pt x="161" y="338"/>
                    <a:pt x="160" y="342"/>
                  </a:cubicBezTo>
                  <a:cubicBezTo>
                    <a:pt x="159" y="347"/>
                    <a:pt x="156" y="352"/>
                    <a:pt x="155" y="356"/>
                  </a:cubicBezTo>
                  <a:cubicBezTo>
                    <a:pt x="154" y="364"/>
                    <a:pt x="158" y="371"/>
                    <a:pt x="156" y="378"/>
                  </a:cubicBezTo>
                  <a:cubicBezTo>
                    <a:pt x="156" y="380"/>
                    <a:pt x="152" y="377"/>
                    <a:pt x="150" y="378"/>
                  </a:cubicBezTo>
                  <a:cubicBezTo>
                    <a:pt x="147" y="381"/>
                    <a:pt x="145" y="384"/>
                    <a:pt x="144" y="388"/>
                  </a:cubicBezTo>
                  <a:cubicBezTo>
                    <a:pt x="144" y="391"/>
                    <a:pt x="148" y="393"/>
                    <a:pt x="147" y="395"/>
                  </a:cubicBezTo>
                  <a:cubicBezTo>
                    <a:pt x="146" y="397"/>
                    <a:pt x="141" y="396"/>
                    <a:pt x="139" y="398"/>
                  </a:cubicBezTo>
                  <a:cubicBezTo>
                    <a:pt x="136" y="401"/>
                    <a:pt x="135" y="406"/>
                    <a:pt x="132" y="409"/>
                  </a:cubicBezTo>
                  <a:cubicBezTo>
                    <a:pt x="131" y="411"/>
                    <a:pt x="128" y="412"/>
                    <a:pt x="126" y="411"/>
                  </a:cubicBezTo>
                  <a:cubicBezTo>
                    <a:pt x="123" y="409"/>
                    <a:pt x="120" y="405"/>
                    <a:pt x="118" y="402"/>
                  </a:cubicBezTo>
                  <a:cubicBezTo>
                    <a:pt x="118" y="401"/>
                    <a:pt x="119" y="400"/>
                    <a:pt x="119" y="399"/>
                  </a:cubicBezTo>
                  <a:cubicBezTo>
                    <a:pt x="119" y="398"/>
                    <a:pt x="117" y="397"/>
                    <a:pt x="116" y="395"/>
                  </a:cubicBezTo>
                  <a:cubicBezTo>
                    <a:pt x="115" y="392"/>
                    <a:pt x="116" y="389"/>
                    <a:pt x="114" y="386"/>
                  </a:cubicBezTo>
                  <a:cubicBezTo>
                    <a:pt x="113" y="383"/>
                    <a:pt x="110" y="380"/>
                    <a:pt x="109" y="376"/>
                  </a:cubicBezTo>
                  <a:cubicBezTo>
                    <a:pt x="108" y="372"/>
                    <a:pt x="109" y="368"/>
                    <a:pt x="107" y="364"/>
                  </a:cubicBezTo>
                  <a:cubicBezTo>
                    <a:pt x="105" y="359"/>
                    <a:pt x="100" y="354"/>
                    <a:pt x="96" y="348"/>
                  </a:cubicBezTo>
                  <a:cubicBezTo>
                    <a:pt x="94" y="345"/>
                    <a:pt x="92" y="341"/>
                    <a:pt x="91" y="337"/>
                  </a:cubicBezTo>
                  <a:cubicBezTo>
                    <a:pt x="89" y="331"/>
                    <a:pt x="90" y="326"/>
                    <a:pt x="88" y="320"/>
                  </a:cubicBezTo>
                  <a:cubicBezTo>
                    <a:pt x="87" y="318"/>
                    <a:pt x="85" y="316"/>
                    <a:pt x="83" y="313"/>
                  </a:cubicBezTo>
                  <a:cubicBezTo>
                    <a:pt x="81" y="311"/>
                    <a:pt x="79" y="308"/>
                    <a:pt x="77" y="306"/>
                  </a:cubicBezTo>
                  <a:cubicBezTo>
                    <a:pt x="77" y="305"/>
                    <a:pt x="77" y="304"/>
                    <a:pt x="77" y="303"/>
                  </a:cubicBezTo>
                  <a:cubicBezTo>
                    <a:pt x="76" y="300"/>
                    <a:pt x="73" y="298"/>
                    <a:pt x="72" y="295"/>
                  </a:cubicBezTo>
                  <a:cubicBezTo>
                    <a:pt x="71" y="289"/>
                    <a:pt x="72" y="283"/>
                    <a:pt x="71" y="277"/>
                  </a:cubicBezTo>
                  <a:cubicBezTo>
                    <a:pt x="70" y="272"/>
                    <a:pt x="67" y="269"/>
                    <a:pt x="66" y="264"/>
                  </a:cubicBezTo>
                  <a:cubicBezTo>
                    <a:pt x="66" y="263"/>
                    <a:pt x="68" y="262"/>
                    <a:pt x="68" y="261"/>
                  </a:cubicBezTo>
                  <a:cubicBezTo>
                    <a:pt x="68" y="260"/>
                    <a:pt x="65" y="261"/>
                    <a:pt x="65" y="259"/>
                  </a:cubicBezTo>
                  <a:cubicBezTo>
                    <a:pt x="64" y="258"/>
                    <a:pt x="65" y="255"/>
                    <a:pt x="65" y="253"/>
                  </a:cubicBezTo>
                  <a:cubicBezTo>
                    <a:pt x="65" y="252"/>
                    <a:pt x="65" y="250"/>
                    <a:pt x="64" y="248"/>
                  </a:cubicBezTo>
                  <a:cubicBezTo>
                    <a:pt x="63" y="243"/>
                    <a:pt x="60" y="239"/>
                    <a:pt x="60" y="234"/>
                  </a:cubicBezTo>
                  <a:cubicBezTo>
                    <a:pt x="60" y="231"/>
                    <a:pt x="63" y="230"/>
                    <a:pt x="63" y="227"/>
                  </a:cubicBezTo>
                  <a:cubicBezTo>
                    <a:pt x="64" y="224"/>
                    <a:pt x="62" y="221"/>
                    <a:pt x="61" y="219"/>
                  </a:cubicBezTo>
                  <a:cubicBezTo>
                    <a:pt x="60" y="218"/>
                    <a:pt x="58" y="217"/>
                    <a:pt x="59" y="215"/>
                  </a:cubicBezTo>
                  <a:cubicBezTo>
                    <a:pt x="59" y="214"/>
                    <a:pt x="62" y="215"/>
                    <a:pt x="62" y="214"/>
                  </a:cubicBezTo>
                  <a:cubicBezTo>
                    <a:pt x="61" y="212"/>
                    <a:pt x="58" y="214"/>
                    <a:pt x="57" y="213"/>
                  </a:cubicBezTo>
                  <a:cubicBezTo>
                    <a:pt x="56" y="211"/>
                    <a:pt x="57" y="208"/>
                    <a:pt x="57" y="206"/>
                  </a:cubicBezTo>
                  <a:cubicBezTo>
                    <a:pt x="58" y="204"/>
                    <a:pt x="60" y="203"/>
                    <a:pt x="59" y="203"/>
                  </a:cubicBezTo>
                  <a:cubicBezTo>
                    <a:pt x="58" y="201"/>
                    <a:pt x="55" y="201"/>
                    <a:pt x="54" y="203"/>
                  </a:cubicBezTo>
                  <a:cubicBezTo>
                    <a:pt x="53" y="204"/>
                    <a:pt x="53" y="206"/>
                    <a:pt x="53" y="208"/>
                  </a:cubicBezTo>
                  <a:cubicBezTo>
                    <a:pt x="53" y="211"/>
                    <a:pt x="53" y="213"/>
                    <a:pt x="53" y="215"/>
                  </a:cubicBezTo>
                  <a:cubicBezTo>
                    <a:pt x="53" y="217"/>
                    <a:pt x="53" y="219"/>
                    <a:pt x="51" y="220"/>
                  </a:cubicBezTo>
                  <a:cubicBezTo>
                    <a:pt x="49" y="223"/>
                    <a:pt x="46" y="225"/>
                    <a:pt x="42" y="226"/>
                  </a:cubicBezTo>
                  <a:cubicBezTo>
                    <a:pt x="38" y="226"/>
                    <a:pt x="34" y="225"/>
                    <a:pt x="31" y="223"/>
                  </a:cubicBezTo>
                  <a:cubicBezTo>
                    <a:pt x="24" y="219"/>
                    <a:pt x="17" y="214"/>
                    <a:pt x="12" y="208"/>
                  </a:cubicBezTo>
                  <a:cubicBezTo>
                    <a:pt x="11" y="207"/>
                    <a:pt x="11" y="204"/>
                    <a:pt x="12" y="203"/>
                  </a:cubicBezTo>
                  <a:cubicBezTo>
                    <a:pt x="14" y="201"/>
                    <a:pt x="16" y="204"/>
                    <a:pt x="18" y="204"/>
                  </a:cubicBezTo>
                  <a:cubicBezTo>
                    <a:pt x="22" y="202"/>
                    <a:pt x="25" y="199"/>
                    <a:pt x="28" y="197"/>
                  </a:cubicBezTo>
                  <a:cubicBezTo>
                    <a:pt x="29" y="196"/>
                    <a:pt x="32" y="194"/>
                    <a:pt x="33" y="192"/>
                  </a:cubicBezTo>
                  <a:cubicBezTo>
                    <a:pt x="33" y="191"/>
                    <a:pt x="31" y="190"/>
                    <a:pt x="30" y="190"/>
                  </a:cubicBezTo>
                  <a:cubicBezTo>
                    <a:pt x="27" y="191"/>
                    <a:pt x="26" y="194"/>
                    <a:pt x="23" y="194"/>
                  </a:cubicBezTo>
                  <a:cubicBezTo>
                    <a:pt x="20" y="195"/>
                    <a:pt x="15" y="195"/>
                    <a:pt x="12" y="194"/>
                  </a:cubicBezTo>
                  <a:cubicBezTo>
                    <a:pt x="10" y="194"/>
                    <a:pt x="8" y="191"/>
                    <a:pt x="7" y="189"/>
                  </a:cubicBezTo>
                  <a:cubicBezTo>
                    <a:pt x="6" y="188"/>
                    <a:pt x="6" y="187"/>
                    <a:pt x="5" y="186"/>
                  </a:cubicBezTo>
                  <a:cubicBezTo>
                    <a:pt x="5" y="185"/>
                    <a:pt x="6" y="183"/>
                    <a:pt x="5" y="183"/>
                  </a:cubicBezTo>
                  <a:cubicBezTo>
                    <a:pt x="4" y="182"/>
                    <a:pt x="2" y="182"/>
                    <a:pt x="0" y="182"/>
                  </a:cubicBezTo>
                  <a:cubicBezTo>
                    <a:pt x="1" y="181"/>
                    <a:pt x="3" y="180"/>
                    <a:pt x="4" y="179"/>
                  </a:cubicBezTo>
                  <a:cubicBezTo>
                    <a:pt x="5" y="178"/>
                    <a:pt x="7" y="178"/>
                    <a:pt x="8" y="177"/>
                  </a:cubicBezTo>
                  <a:cubicBezTo>
                    <a:pt x="9" y="176"/>
                    <a:pt x="7" y="174"/>
                    <a:pt x="8" y="174"/>
                  </a:cubicBezTo>
                  <a:cubicBezTo>
                    <a:pt x="12" y="173"/>
                    <a:pt x="15" y="174"/>
                    <a:pt x="19" y="175"/>
                  </a:cubicBezTo>
                  <a:cubicBezTo>
                    <a:pt x="21" y="175"/>
                    <a:pt x="23" y="176"/>
                    <a:pt x="25" y="176"/>
                  </a:cubicBezTo>
                  <a:cubicBezTo>
                    <a:pt x="28" y="176"/>
                    <a:pt x="30" y="172"/>
                    <a:pt x="33" y="172"/>
                  </a:cubicBezTo>
                  <a:cubicBezTo>
                    <a:pt x="34" y="172"/>
                    <a:pt x="31" y="175"/>
                    <a:pt x="33" y="175"/>
                  </a:cubicBezTo>
                  <a:cubicBezTo>
                    <a:pt x="34" y="176"/>
                    <a:pt x="37" y="175"/>
                    <a:pt x="37" y="174"/>
                  </a:cubicBezTo>
                  <a:cubicBezTo>
                    <a:pt x="38" y="173"/>
                    <a:pt x="35" y="171"/>
                    <a:pt x="35" y="170"/>
                  </a:cubicBezTo>
                  <a:cubicBezTo>
                    <a:pt x="35" y="169"/>
                    <a:pt x="38" y="169"/>
                    <a:pt x="38" y="169"/>
                  </a:cubicBezTo>
                  <a:cubicBezTo>
                    <a:pt x="37" y="165"/>
                    <a:pt x="33" y="162"/>
                    <a:pt x="32" y="158"/>
                  </a:cubicBezTo>
                  <a:cubicBezTo>
                    <a:pt x="31" y="157"/>
                    <a:pt x="33" y="155"/>
                    <a:pt x="32" y="154"/>
                  </a:cubicBezTo>
                  <a:cubicBezTo>
                    <a:pt x="31" y="154"/>
                    <a:pt x="29" y="155"/>
                    <a:pt x="28" y="154"/>
                  </a:cubicBezTo>
                  <a:cubicBezTo>
                    <a:pt x="25" y="153"/>
                    <a:pt x="24" y="150"/>
                    <a:pt x="23" y="147"/>
                  </a:cubicBezTo>
                  <a:cubicBezTo>
                    <a:pt x="22" y="145"/>
                    <a:pt x="24" y="143"/>
                    <a:pt x="23" y="140"/>
                  </a:cubicBezTo>
                  <a:cubicBezTo>
                    <a:pt x="23" y="139"/>
                    <a:pt x="21" y="139"/>
                    <a:pt x="20" y="138"/>
                  </a:cubicBezTo>
                  <a:cubicBezTo>
                    <a:pt x="18" y="138"/>
                    <a:pt x="16" y="139"/>
                    <a:pt x="15" y="138"/>
                  </a:cubicBezTo>
                  <a:cubicBezTo>
                    <a:pt x="13" y="137"/>
                    <a:pt x="12" y="135"/>
                    <a:pt x="13" y="133"/>
                  </a:cubicBezTo>
                  <a:cubicBezTo>
                    <a:pt x="15" y="127"/>
                    <a:pt x="20" y="123"/>
                    <a:pt x="24" y="118"/>
                  </a:cubicBezTo>
                  <a:cubicBezTo>
                    <a:pt x="25" y="118"/>
                    <a:pt x="26" y="117"/>
                    <a:pt x="27" y="118"/>
                  </a:cubicBezTo>
                  <a:cubicBezTo>
                    <a:pt x="29" y="118"/>
                    <a:pt x="30" y="121"/>
                    <a:pt x="32" y="122"/>
                  </a:cubicBezTo>
                  <a:cubicBezTo>
                    <a:pt x="34" y="122"/>
                    <a:pt x="35" y="119"/>
                    <a:pt x="37" y="118"/>
                  </a:cubicBezTo>
                  <a:cubicBezTo>
                    <a:pt x="39" y="118"/>
                    <a:pt x="42" y="121"/>
                    <a:pt x="43" y="119"/>
                  </a:cubicBezTo>
                  <a:cubicBezTo>
                    <a:pt x="45" y="117"/>
                    <a:pt x="43" y="114"/>
                    <a:pt x="43" y="111"/>
                  </a:cubicBezTo>
                  <a:cubicBezTo>
                    <a:pt x="44" y="110"/>
                    <a:pt x="46" y="111"/>
                    <a:pt x="47" y="110"/>
                  </a:cubicBezTo>
                  <a:cubicBezTo>
                    <a:pt x="49" y="108"/>
                    <a:pt x="49" y="105"/>
                    <a:pt x="51" y="104"/>
                  </a:cubicBezTo>
                  <a:cubicBezTo>
                    <a:pt x="53" y="101"/>
                    <a:pt x="58" y="101"/>
                    <a:pt x="59" y="98"/>
                  </a:cubicBezTo>
                  <a:cubicBezTo>
                    <a:pt x="61" y="95"/>
                    <a:pt x="58" y="90"/>
                    <a:pt x="59" y="87"/>
                  </a:cubicBezTo>
                  <a:cubicBezTo>
                    <a:pt x="60" y="84"/>
                    <a:pt x="65" y="84"/>
                    <a:pt x="67" y="83"/>
                  </a:cubicBezTo>
                  <a:cubicBezTo>
                    <a:pt x="67" y="82"/>
                    <a:pt x="66" y="80"/>
                    <a:pt x="67" y="79"/>
                  </a:cubicBezTo>
                  <a:cubicBezTo>
                    <a:pt x="68" y="77"/>
                    <a:pt x="69" y="74"/>
                    <a:pt x="71" y="72"/>
                  </a:cubicBezTo>
                  <a:cubicBezTo>
                    <a:pt x="72" y="71"/>
                    <a:pt x="74" y="72"/>
                    <a:pt x="74" y="70"/>
                  </a:cubicBezTo>
                  <a:cubicBezTo>
                    <a:pt x="75" y="69"/>
                    <a:pt x="72" y="69"/>
                    <a:pt x="72" y="67"/>
                  </a:cubicBezTo>
                  <a:cubicBezTo>
                    <a:pt x="72" y="66"/>
                    <a:pt x="74" y="65"/>
                    <a:pt x="74" y="63"/>
                  </a:cubicBezTo>
                  <a:cubicBezTo>
                    <a:pt x="74" y="62"/>
                    <a:pt x="72" y="60"/>
                    <a:pt x="73" y="59"/>
                  </a:cubicBezTo>
                  <a:cubicBezTo>
                    <a:pt x="73" y="57"/>
                    <a:pt x="75" y="55"/>
                    <a:pt x="76" y="54"/>
                  </a:cubicBezTo>
                  <a:cubicBezTo>
                    <a:pt x="79" y="52"/>
                    <a:pt x="83" y="52"/>
                    <a:pt x="84" y="50"/>
                  </a:cubicBezTo>
                  <a:cubicBezTo>
                    <a:pt x="85" y="47"/>
                    <a:pt x="81" y="45"/>
                    <a:pt x="79" y="44"/>
                  </a:cubicBezTo>
                  <a:cubicBezTo>
                    <a:pt x="76" y="43"/>
                    <a:pt x="73" y="45"/>
                    <a:pt x="71" y="45"/>
                  </a:cubicBezTo>
                  <a:cubicBezTo>
                    <a:pt x="70" y="44"/>
                    <a:pt x="71" y="43"/>
                    <a:pt x="71" y="42"/>
                  </a:cubicBezTo>
                  <a:cubicBezTo>
                    <a:pt x="69" y="40"/>
                    <a:pt x="66" y="39"/>
                    <a:pt x="65" y="37"/>
                  </a:cubicBezTo>
                  <a:cubicBezTo>
                    <a:pt x="64" y="33"/>
                    <a:pt x="65" y="28"/>
                    <a:pt x="65" y="24"/>
                  </a:cubicBezTo>
                  <a:cubicBezTo>
                    <a:pt x="65" y="21"/>
                    <a:pt x="64" y="18"/>
                    <a:pt x="65" y="15"/>
                  </a:cubicBezTo>
                  <a:cubicBezTo>
                    <a:pt x="65" y="14"/>
                    <a:pt x="67" y="13"/>
                    <a:pt x="69" y="13"/>
                  </a:cubicBezTo>
                  <a:cubicBezTo>
                    <a:pt x="72" y="13"/>
                    <a:pt x="74" y="16"/>
                    <a:pt x="77" y="17"/>
                  </a:cubicBezTo>
                  <a:cubicBezTo>
                    <a:pt x="81" y="18"/>
                    <a:pt x="85" y="17"/>
                    <a:pt x="89" y="17"/>
                  </a:cubicBezTo>
                  <a:cubicBezTo>
                    <a:pt x="92" y="16"/>
                    <a:pt x="95" y="15"/>
                    <a:pt x="97" y="13"/>
                  </a:cubicBezTo>
                  <a:cubicBezTo>
                    <a:pt x="98" y="12"/>
                    <a:pt x="99" y="10"/>
                    <a:pt x="100" y="8"/>
                  </a:cubicBezTo>
                  <a:cubicBezTo>
                    <a:pt x="102" y="6"/>
                    <a:pt x="103" y="4"/>
                    <a:pt x="104" y="2"/>
                  </a:cubicBezTo>
                  <a:cubicBezTo>
                    <a:pt x="106" y="2"/>
                    <a:pt x="108" y="0"/>
                    <a:pt x="110" y="1"/>
                  </a:cubicBezTo>
                  <a:cubicBezTo>
                    <a:pt x="112" y="3"/>
                    <a:pt x="111" y="7"/>
                    <a:pt x="113" y="9"/>
                  </a:cubicBezTo>
                  <a:cubicBezTo>
                    <a:pt x="115" y="12"/>
                    <a:pt x="118" y="13"/>
                    <a:pt x="120" y="16"/>
                  </a:cubicBezTo>
                  <a:cubicBezTo>
                    <a:pt x="121" y="18"/>
                    <a:pt x="123" y="19"/>
                    <a:pt x="123" y="22"/>
                  </a:cubicBezTo>
                  <a:cubicBezTo>
                    <a:pt x="122" y="23"/>
                    <a:pt x="118" y="20"/>
                    <a:pt x="118" y="22"/>
                  </a:cubicBezTo>
                  <a:cubicBezTo>
                    <a:pt x="118" y="25"/>
                    <a:pt x="120" y="28"/>
                    <a:pt x="122" y="31"/>
                  </a:cubicBezTo>
                  <a:cubicBezTo>
                    <a:pt x="123" y="33"/>
                    <a:pt x="126" y="34"/>
                    <a:pt x="128" y="36"/>
                  </a:cubicBezTo>
                  <a:cubicBezTo>
                    <a:pt x="131" y="39"/>
                    <a:pt x="135" y="42"/>
                    <a:pt x="135" y="45"/>
                  </a:cubicBezTo>
                  <a:cubicBezTo>
                    <a:pt x="135" y="49"/>
                    <a:pt x="130" y="51"/>
                    <a:pt x="127" y="52"/>
                  </a:cubicBezTo>
                  <a:cubicBezTo>
                    <a:pt x="125" y="52"/>
                    <a:pt x="124" y="50"/>
                    <a:pt x="123" y="49"/>
                  </a:cubicBezTo>
                  <a:cubicBezTo>
                    <a:pt x="123" y="48"/>
                    <a:pt x="124" y="46"/>
                    <a:pt x="123" y="46"/>
                  </a:cubicBezTo>
                  <a:cubicBezTo>
                    <a:pt x="122" y="46"/>
                    <a:pt x="121" y="48"/>
                    <a:pt x="120" y="49"/>
                  </a:cubicBezTo>
                  <a:cubicBezTo>
                    <a:pt x="119" y="50"/>
                    <a:pt x="119" y="51"/>
                    <a:pt x="119" y="52"/>
                  </a:cubicBezTo>
                  <a:cubicBezTo>
                    <a:pt x="120" y="55"/>
                    <a:pt x="122" y="58"/>
                    <a:pt x="123" y="61"/>
                  </a:cubicBezTo>
                  <a:cubicBezTo>
                    <a:pt x="124" y="63"/>
                    <a:pt x="124" y="66"/>
                    <a:pt x="126" y="67"/>
                  </a:cubicBezTo>
                  <a:cubicBezTo>
                    <a:pt x="127" y="68"/>
                    <a:pt x="129" y="66"/>
                    <a:pt x="130" y="67"/>
                  </a:cubicBezTo>
                  <a:cubicBezTo>
                    <a:pt x="133" y="69"/>
                    <a:pt x="133" y="72"/>
                    <a:pt x="136" y="74"/>
                  </a:cubicBezTo>
                  <a:cubicBezTo>
                    <a:pt x="137" y="75"/>
                    <a:pt x="139" y="74"/>
                    <a:pt x="141" y="74"/>
                  </a:cubicBezTo>
                  <a:cubicBezTo>
                    <a:pt x="144" y="76"/>
                    <a:pt x="147" y="79"/>
                    <a:pt x="150" y="81"/>
                  </a:cubicBezTo>
                  <a:cubicBezTo>
                    <a:pt x="152" y="82"/>
                    <a:pt x="153" y="83"/>
                    <a:pt x="155" y="84"/>
                  </a:cubicBezTo>
                  <a:cubicBezTo>
                    <a:pt x="153" y="86"/>
                    <a:pt x="151" y="88"/>
                    <a:pt x="149" y="90"/>
                  </a:cubicBezTo>
                  <a:cubicBezTo>
                    <a:pt x="147" y="91"/>
                    <a:pt x="146" y="92"/>
                    <a:pt x="145" y="93"/>
                  </a:cubicBezTo>
                  <a:cubicBezTo>
                    <a:pt x="144" y="95"/>
                    <a:pt x="146" y="95"/>
                    <a:pt x="145" y="97"/>
                  </a:cubicBezTo>
                  <a:cubicBezTo>
                    <a:pt x="145" y="99"/>
                    <a:pt x="144" y="101"/>
                    <a:pt x="144" y="104"/>
                  </a:cubicBezTo>
                  <a:cubicBezTo>
                    <a:pt x="145" y="105"/>
                    <a:pt x="147" y="106"/>
                    <a:pt x="148" y="107"/>
                  </a:cubicBezTo>
                  <a:cubicBezTo>
                    <a:pt x="150" y="108"/>
                    <a:pt x="152" y="106"/>
                    <a:pt x="153" y="107"/>
                  </a:cubicBezTo>
                  <a:cubicBezTo>
                    <a:pt x="156" y="110"/>
                    <a:pt x="158" y="114"/>
                    <a:pt x="162" y="117"/>
                  </a:cubicBezTo>
                  <a:cubicBezTo>
                    <a:pt x="166" y="120"/>
                    <a:pt x="171" y="120"/>
                    <a:pt x="175" y="123"/>
                  </a:cubicBezTo>
                  <a:cubicBezTo>
                    <a:pt x="176" y="123"/>
                    <a:pt x="177" y="125"/>
                    <a:pt x="178" y="125"/>
                  </a:cubicBezTo>
                  <a:cubicBezTo>
                    <a:pt x="184" y="126"/>
                    <a:pt x="189" y="125"/>
                    <a:pt x="195" y="126"/>
                  </a:cubicBezTo>
                  <a:cubicBezTo>
                    <a:pt x="198" y="126"/>
                    <a:pt x="202" y="127"/>
                    <a:pt x="204" y="129"/>
                  </a:cubicBezTo>
                  <a:cubicBezTo>
                    <a:pt x="205" y="130"/>
                    <a:pt x="203" y="132"/>
                    <a:pt x="204" y="133"/>
                  </a:cubicBezTo>
                  <a:cubicBezTo>
                    <a:pt x="206" y="135"/>
                    <a:pt x="208" y="137"/>
                    <a:pt x="211" y="138"/>
                  </a:cubicBezTo>
                  <a:cubicBezTo>
                    <a:pt x="212" y="138"/>
                    <a:pt x="213" y="136"/>
                    <a:pt x="214" y="137"/>
                  </a:cubicBezTo>
                  <a:cubicBezTo>
                    <a:pt x="215" y="137"/>
                    <a:pt x="215" y="140"/>
                    <a:pt x="217" y="140"/>
                  </a:cubicBezTo>
                  <a:cubicBezTo>
                    <a:pt x="219" y="141"/>
                    <a:pt x="221" y="140"/>
                    <a:pt x="223" y="140"/>
                  </a:cubicBezTo>
                  <a:cubicBezTo>
                    <a:pt x="226" y="141"/>
                    <a:pt x="228" y="142"/>
                    <a:pt x="231" y="143"/>
                  </a:cubicBezTo>
                  <a:cubicBezTo>
                    <a:pt x="235" y="143"/>
                    <a:pt x="239" y="145"/>
                    <a:pt x="243" y="144"/>
                  </a:cubicBezTo>
                  <a:cubicBezTo>
                    <a:pt x="245" y="144"/>
                    <a:pt x="247" y="142"/>
                    <a:pt x="247" y="141"/>
                  </a:cubicBezTo>
                  <a:cubicBezTo>
                    <a:pt x="247" y="138"/>
                    <a:pt x="245" y="135"/>
                    <a:pt x="244" y="132"/>
                  </a:cubicBezTo>
                  <a:cubicBezTo>
                    <a:pt x="244" y="130"/>
                    <a:pt x="245" y="128"/>
                    <a:pt x="245" y="126"/>
                  </a:cubicBezTo>
                  <a:cubicBezTo>
                    <a:pt x="245" y="124"/>
                    <a:pt x="245" y="122"/>
                    <a:pt x="245" y="121"/>
                  </a:cubicBezTo>
                  <a:cubicBezTo>
                    <a:pt x="247" y="119"/>
                    <a:pt x="248" y="117"/>
                    <a:pt x="250" y="116"/>
                  </a:cubicBezTo>
                  <a:cubicBezTo>
                    <a:pt x="251" y="116"/>
                    <a:pt x="253" y="115"/>
                    <a:pt x="254" y="116"/>
                  </a:cubicBezTo>
                  <a:cubicBezTo>
                    <a:pt x="255" y="118"/>
                    <a:pt x="254" y="121"/>
                    <a:pt x="254" y="123"/>
                  </a:cubicBezTo>
                  <a:cubicBezTo>
                    <a:pt x="254" y="126"/>
                    <a:pt x="255" y="128"/>
                    <a:pt x="255" y="130"/>
                  </a:cubicBezTo>
                  <a:cubicBezTo>
                    <a:pt x="256" y="132"/>
                    <a:pt x="256" y="134"/>
                    <a:pt x="258" y="135"/>
                  </a:cubicBezTo>
                  <a:cubicBezTo>
                    <a:pt x="261" y="137"/>
                    <a:pt x="265" y="138"/>
                    <a:pt x="269" y="138"/>
                  </a:cubicBezTo>
                  <a:cubicBezTo>
                    <a:pt x="271" y="138"/>
                    <a:pt x="271" y="135"/>
                    <a:pt x="273" y="135"/>
                  </a:cubicBezTo>
                  <a:cubicBezTo>
                    <a:pt x="274" y="135"/>
                    <a:pt x="275" y="137"/>
                    <a:pt x="277" y="137"/>
                  </a:cubicBezTo>
                  <a:cubicBezTo>
                    <a:pt x="281" y="137"/>
                    <a:pt x="285" y="136"/>
                    <a:pt x="288" y="135"/>
                  </a:cubicBezTo>
                  <a:cubicBezTo>
                    <a:pt x="291" y="135"/>
                    <a:pt x="295" y="136"/>
                    <a:pt x="296" y="134"/>
                  </a:cubicBezTo>
                  <a:cubicBezTo>
                    <a:pt x="298" y="132"/>
                    <a:pt x="296" y="128"/>
                    <a:pt x="294" y="126"/>
                  </a:cubicBezTo>
                  <a:cubicBezTo>
                    <a:pt x="293" y="125"/>
                    <a:pt x="289" y="126"/>
                    <a:pt x="287" y="125"/>
                  </a:cubicBezTo>
                  <a:cubicBezTo>
                    <a:pt x="286" y="124"/>
                    <a:pt x="288" y="122"/>
                    <a:pt x="288" y="121"/>
                  </a:cubicBezTo>
                  <a:cubicBezTo>
                    <a:pt x="291" y="121"/>
                    <a:pt x="293" y="120"/>
                    <a:pt x="296" y="120"/>
                  </a:cubicBezTo>
                  <a:cubicBezTo>
                    <a:pt x="298" y="119"/>
                    <a:pt x="301" y="121"/>
                    <a:pt x="302" y="120"/>
                  </a:cubicBezTo>
                  <a:cubicBezTo>
                    <a:pt x="303" y="119"/>
                    <a:pt x="300" y="116"/>
                    <a:pt x="301" y="115"/>
                  </a:cubicBezTo>
                  <a:cubicBezTo>
                    <a:pt x="302" y="113"/>
                    <a:pt x="305" y="113"/>
                    <a:pt x="307" y="111"/>
                  </a:cubicBezTo>
                  <a:cubicBezTo>
                    <a:pt x="308" y="110"/>
                    <a:pt x="307" y="107"/>
                    <a:pt x="308" y="106"/>
                  </a:cubicBezTo>
                  <a:cubicBezTo>
                    <a:pt x="311" y="104"/>
                    <a:pt x="315" y="106"/>
                    <a:pt x="318" y="105"/>
                  </a:cubicBezTo>
                  <a:cubicBezTo>
                    <a:pt x="319" y="104"/>
                    <a:pt x="317" y="102"/>
                    <a:pt x="317" y="101"/>
                  </a:cubicBezTo>
                  <a:cubicBezTo>
                    <a:pt x="319" y="99"/>
                    <a:pt x="322" y="98"/>
                    <a:pt x="324" y="98"/>
                  </a:cubicBezTo>
                  <a:cubicBezTo>
                    <a:pt x="327" y="98"/>
                    <a:pt x="329" y="101"/>
                    <a:pt x="332" y="101"/>
                  </a:cubicBezTo>
                  <a:cubicBezTo>
                    <a:pt x="333" y="102"/>
                    <a:pt x="333" y="100"/>
                    <a:pt x="334" y="100"/>
                  </a:cubicBezTo>
                  <a:cubicBezTo>
                    <a:pt x="336" y="98"/>
                    <a:pt x="338" y="96"/>
                    <a:pt x="341" y="95"/>
                  </a:cubicBezTo>
                  <a:cubicBezTo>
                    <a:pt x="343" y="95"/>
                    <a:pt x="345" y="97"/>
                    <a:pt x="346" y="98"/>
                  </a:cubicBezTo>
                  <a:cubicBezTo>
                    <a:pt x="347" y="100"/>
                    <a:pt x="349" y="102"/>
                    <a:pt x="349" y="105"/>
                  </a:cubicBezTo>
                  <a:cubicBezTo>
                    <a:pt x="348" y="107"/>
                    <a:pt x="344" y="108"/>
                    <a:pt x="344" y="111"/>
                  </a:cubicBezTo>
                  <a:cubicBezTo>
                    <a:pt x="344" y="112"/>
                    <a:pt x="347" y="110"/>
                    <a:pt x="349" y="111"/>
                  </a:cubicBezTo>
                  <a:cubicBezTo>
                    <a:pt x="350" y="111"/>
                    <a:pt x="351" y="113"/>
                    <a:pt x="352" y="113"/>
                  </a:cubicBezTo>
                  <a:cubicBezTo>
                    <a:pt x="354" y="114"/>
                    <a:pt x="357" y="112"/>
                    <a:pt x="359" y="113"/>
                  </a:cubicBezTo>
                  <a:cubicBezTo>
                    <a:pt x="360" y="113"/>
                    <a:pt x="360" y="115"/>
                    <a:pt x="361" y="116"/>
                  </a:cubicBezTo>
                  <a:cubicBezTo>
                    <a:pt x="360" y="118"/>
                    <a:pt x="360" y="119"/>
                    <a:pt x="359" y="120"/>
                  </a:cubicBezTo>
                  <a:cubicBezTo>
                    <a:pt x="358" y="122"/>
                    <a:pt x="356" y="121"/>
                    <a:pt x="355" y="122"/>
                  </a:cubicBezTo>
                  <a:cubicBezTo>
                    <a:pt x="354" y="123"/>
                    <a:pt x="354" y="125"/>
                    <a:pt x="355" y="126"/>
                  </a:cubicBezTo>
                  <a:cubicBezTo>
                    <a:pt x="355" y="128"/>
                    <a:pt x="358" y="129"/>
                    <a:pt x="358" y="131"/>
                  </a:cubicBezTo>
                  <a:cubicBezTo>
                    <a:pt x="358" y="132"/>
                    <a:pt x="356" y="131"/>
                    <a:pt x="355" y="131"/>
                  </a:cubicBezTo>
                  <a:cubicBezTo>
                    <a:pt x="353" y="131"/>
                    <a:pt x="352" y="129"/>
                    <a:pt x="351" y="129"/>
                  </a:cubicBezTo>
                  <a:cubicBezTo>
                    <a:pt x="349" y="129"/>
                    <a:pt x="347" y="130"/>
                    <a:pt x="345" y="131"/>
                  </a:cubicBezTo>
                  <a:cubicBezTo>
                    <a:pt x="343" y="133"/>
                    <a:pt x="342" y="135"/>
                    <a:pt x="340" y="137"/>
                  </a:cubicBezTo>
                  <a:cubicBezTo>
                    <a:pt x="338" y="138"/>
                    <a:pt x="336" y="138"/>
                    <a:pt x="335" y="139"/>
                  </a:cubicBezTo>
                  <a:cubicBezTo>
                    <a:pt x="334" y="140"/>
                    <a:pt x="335" y="141"/>
                    <a:pt x="335" y="143"/>
                  </a:cubicBezTo>
                  <a:cubicBezTo>
                    <a:pt x="335" y="144"/>
                    <a:pt x="334" y="145"/>
                    <a:pt x="335" y="147"/>
                  </a:cubicBezTo>
                  <a:cubicBezTo>
                    <a:pt x="335" y="147"/>
                    <a:pt x="337" y="148"/>
                    <a:pt x="337" y="149"/>
                  </a:cubicBezTo>
                  <a:cubicBezTo>
                    <a:pt x="336" y="150"/>
                    <a:pt x="334" y="150"/>
                    <a:pt x="333" y="151"/>
                  </a:cubicBezTo>
                  <a:cubicBezTo>
                    <a:pt x="333" y="153"/>
                    <a:pt x="334" y="154"/>
                    <a:pt x="333" y="155"/>
                  </a:cubicBezTo>
                  <a:cubicBezTo>
                    <a:pt x="332" y="157"/>
                    <a:pt x="329" y="156"/>
                    <a:pt x="329" y="158"/>
                  </a:cubicBezTo>
                  <a:cubicBezTo>
                    <a:pt x="329" y="160"/>
                    <a:pt x="333" y="161"/>
                    <a:pt x="332" y="162"/>
                  </a:cubicBezTo>
                  <a:cubicBezTo>
                    <a:pt x="330" y="168"/>
                    <a:pt x="328" y="174"/>
                    <a:pt x="326" y="180"/>
                  </a:cubicBezTo>
                  <a:cubicBezTo>
                    <a:pt x="326" y="181"/>
                    <a:pt x="324" y="181"/>
                    <a:pt x="323" y="181"/>
                  </a:cubicBezTo>
                  <a:cubicBezTo>
                    <a:pt x="321" y="180"/>
                    <a:pt x="319" y="178"/>
                    <a:pt x="317" y="178"/>
                  </a:cubicBezTo>
                  <a:cubicBezTo>
                    <a:pt x="316" y="177"/>
                    <a:pt x="315" y="178"/>
                    <a:pt x="315" y="179"/>
                  </a:cubicBezTo>
                  <a:cubicBezTo>
                    <a:pt x="316" y="181"/>
                    <a:pt x="317" y="183"/>
                    <a:pt x="318" y="185"/>
                  </a:cubicBezTo>
                  <a:cubicBezTo>
                    <a:pt x="318" y="188"/>
                    <a:pt x="319" y="191"/>
                    <a:pt x="318" y="194"/>
                  </a:cubicBezTo>
                  <a:cubicBezTo>
                    <a:pt x="318" y="194"/>
                    <a:pt x="315" y="193"/>
                    <a:pt x="315" y="194"/>
                  </a:cubicBezTo>
                  <a:cubicBezTo>
                    <a:pt x="314" y="197"/>
                    <a:pt x="315" y="201"/>
                    <a:pt x="315" y="204"/>
                  </a:cubicBezTo>
                  <a:cubicBezTo>
                    <a:pt x="315" y="206"/>
                    <a:pt x="314" y="208"/>
                    <a:pt x="313" y="210"/>
                  </a:cubicBezTo>
                  <a:cubicBezTo>
                    <a:pt x="313" y="211"/>
                    <a:pt x="312" y="210"/>
                    <a:pt x="311" y="210"/>
                  </a:cubicBezTo>
                  <a:cubicBezTo>
                    <a:pt x="310" y="210"/>
                    <a:pt x="309" y="210"/>
                    <a:pt x="308" y="210"/>
                  </a:cubicBezTo>
                  <a:cubicBezTo>
                    <a:pt x="308" y="206"/>
                    <a:pt x="309" y="202"/>
                    <a:pt x="308" y="198"/>
                  </a:cubicBezTo>
                  <a:cubicBezTo>
                    <a:pt x="307" y="195"/>
                    <a:pt x="304" y="193"/>
                    <a:pt x="303" y="190"/>
                  </a:cubicBezTo>
                  <a:cubicBezTo>
                    <a:pt x="302" y="187"/>
                    <a:pt x="304" y="185"/>
                    <a:pt x="303" y="183"/>
                  </a:cubicBezTo>
                  <a:cubicBezTo>
                    <a:pt x="302" y="182"/>
                    <a:pt x="299" y="181"/>
                    <a:pt x="298" y="182"/>
                  </a:cubicBezTo>
                  <a:cubicBezTo>
                    <a:pt x="296" y="185"/>
                    <a:pt x="298" y="189"/>
                    <a:pt x="297" y="192"/>
                  </a:cubicBezTo>
                  <a:cubicBezTo>
                    <a:pt x="296" y="194"/>
                    <a:pt x="294" y="195"/>
                    <a:pt x="293" y="194"/>
                  </a:cubicBezTo>
                  <a:cubicBezTo>
                    <a:pt x="291" y="193"/>
                    <a:pt x="293" y="190"/>
                    <a:pt x="291" y="189"/>
                  </a:cubicBezTo>
                  <a:cubicBezTo>
                    <a:pt x="290" y="189"/>
                    <a:pt x="289" y="192"/>
                    <a:pt x="287" y="192"/>
                  </a:cubicBezTo>
                  <a:cubicBezTo>
                    <a:pt x="286" y="192"/>
                    <a:pt x="286" y="190"/>
                    <a:pt x="286" y="188"/>
                  </a:cubicBezTo>
                  <a:cubicBezTo>
                    <a:pt x="286" y="184"/>
                    <a:pt x="287" y="180"/>
                    <a:pt x="289" y="177"/>
                  </a:cubicBezTo>
                  <a:cubicBezTo>
                    <a:pt x="290" y="175"/>
                    <a:pt x="294" y="175"/>
                    <a:pt x="296" y="173"/>
                  </a:cubicBezTo>
                  <a:cubicBezTo>
                    <a:pt x="297" y="171"/>
                    <a:pt x="298" y="169"/>
                    <a:pt x="300" y="167"/>
                  </a:cubicBezTo>
                  <a:cubicBezTo>
                    <a:pt x="301" y="166"/>
                    <a:pt x="303" y="168"/>
                    <a:pt x="303" y="167"/>
                  </a:cubicBezTo>
                  <a:cubicBezTo>
                    <a:pt x="303" y="165"/>
                    <a:pt x="302" y="164"/>
                    <a:pt x="301" y="163"/>
                  </a:cubicBezTo>
                  <a:cubicBezTo>
                    <a:pt x="299" y="162"/>
                    <a:pt x="297" y="160"/>
                    <a:pt x="295" y="160"/>
                  </a:cubicBezTo>
                  <a:cubicBezTo>
                    <a:pt x="289" y="159"/>
                    <a:pt x="282" y="160"/>
                    <a:pt x="276" y="160"/>
                  </a:cubicBezTo>
                  <a:cubicBezTo>
                    <a:pt x="274" y="160"/>
                    <a:pt x="272" y="159"/>
                    <a:pt x="271" y="158"/>
                  </a:cubicBezTo>
                  <a:cubicBezTo>
                    <a:pt x="270" y="156"/>
                    <a:pt x="272" y="154"/>
                    <a:pt x="272" y="151"/>
                  </a:cubicBezTo>
                  <a:cubicBezTo>
                    <a:pt x="272" y="149"/>
                    <a:pt x="271" y="146"/>
                    <a:pt x="269" y="146"/>
                  </a:cubicBezTo>
                  <a:cubicBezTo>
                    <a:pt x="267" y="145"/>
                    <a:pt x="266" y="150"/>
                    <a:pt x="264" y="149"/>
                  </a:cubicBezTo>
                  <a:cubicBezTo>
                    <a:pt x="262" y="148"/>
                    <a:pt x="262" y="144"/>
                    <a:pt x="259" y="143"/>
                  </a:cubicBezTo>
                  <a:cubicBezTo>
                    <a:pt x="258" y="142"/>
                    <a:pt x="257" y="145"/>
                    <a:pt x="256" y="144"/>
                  </a:cubicBezTo>
                  <a:cubicBezTo>
                    <a:pt x="254" y="143"/>
                    <a:pt x="253" y="139"/>
                    <a:pt x="250" y="138"/>
                  </a:cubicBezTo>
                  <a:cubicBezTo>
                    <a:pt x="249" y="138"/>
                    <a:pt x="249" y="140"/>
                    <a:pt x="250" y="141"/>
                  </a:cubicBezTo>
                  <a:cubicBezTo>
                    <a:pt x="250" y="142"/>
                    <a:pt x="252" y="142"/>
                    <a:pt x="252" y="143"/>
                  </a:cubicBezTo>
                  <a:cubicBezTo>
                    <a:pt x="252" y="145"/>
                    <a:pt x="249" y="147"/>
                    <a:pt x="249" y="150"/>
                  </a:cubicBezTo>
                  <a:cubicBezTo>
                    <a:pt x="249" y="152"/>
                    <a:pt x="251" y="153"/>
                    <a:pt x="252" y="154"/>
                  </a:cubicBezTo>
                  <a:cubicBezTo>
                    <a:pt x="254" y="157"/>
                    <a:pt x="259" y="158"/>
                    <a:pt x="259" y="161"/>
                  </a:cubicBezTo>
                  <a:cubicBezTo>
                    <a:pt x="259" y="163"/>
                    <a:pt x="255" y="161"/>
                    <a:pt x="254" y="162"/>
                  </a:cubicBezTo>
                  <a:cubicBezTo>
                    <a:pt x="253" y="162"/>
                    <a:pt x="255" y="164"/>
                    <a:pt x="254" y="165"/>
                  </a:cubicBezTo>
                  <a:cubicBezTo>
                    <a:pt x="254" y="166"/>
                    <a:pt x="253" y="165"/>
                    <a:pt x="252" y="166"/>
                  </a:cubicBezTo>
                  <a:cubicBezTo>
                    <a:pt x="252" y="167"/>
                    <a:pt x="251" y="168"/>
                    <a:pt x="251" y="169"/>
                  </a:cubicBezTo>
                  <a:cubicBezTo>
                    <a:pt x="252" y="171"/>
                    <a:pt x="255" y="171"/>
                    <a:pt x="256" y="172"/>
                  </a:cubicBezTo>
                  <a:cubicBezTo>
                    <a:pt x="258" y="173"/>
                    <a:pt x="259" y="174"/>
                    <a:pt x="259" y="176"/>
                  </a:cubicBezTo>
                  <a:cubicBezTo>
                    <a:pt x="259" y="178"/>
                    <a:pt x="256" y="179"/>
                    <a:pt x="256" y="181"/>
                  </a:cubicBezTo>
                  <a:cubicBezTo>
                    <a:pt x="255" y="182"/>
                    <a:pt x="257" y="183"/>
                    <a:pt x="258" y="184"/>
                  </a:cubicBezTo>
                  <a:cubicBezTo>
                    <a:pt x="259" y="186"/>
                    <a:pt x="258" y="188"/>
                    <a:pt x="259" y="190"/>
                  </a:cubicBezTo>
                  <a:cubicBezTo>
                    <a:pt x="260" y="191"/>
                    <a:pt x="262" y="189"/>
                    <a:pt x="263" y="190"/>
                  </a:cubicBezTo>
                  <a:cubicBezTo>
                    <a:pt x="263" y="191"/>
                    <a:pt x="262" y="192"/>
                    <a:pt x="262" y="193"/>
                  </a:cubicBezTo>
                  <a:cubicBezTo>
                    <a:pt x="262" y="194"/>
                    <a:pt x="262" y="195"/>
                    <a:pt x="262" y="197"/>
                  </a:cubicBezTo>
                  <a:cubicBezTo>
                    <a:pt x="262" y="198"/>
                    <a:pt x="263" y="199"/>
                    <a:pt x="263" y="201"/>
                  </a:cubicBezTo>
                  <a:cubicBezTo>
                    <a:pt x="263" y="202"/>
                    <a:pt x="263" y="203"/>
                    <a:pt x="263" y="205"/>
                  </a:cubicBezTo>
                  <a:cubicBezTo>
                    <a:pt x="263" y="207"/>
                    <a:pt x="265" y="209"/>
                    <a:pt x="266" y="211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6" name="Freeform 126"/>
            <p:cNvSpPr>
              <a:spLocks noChangeAspect="1"/>
            </p:cNvSpPr>
            <p:nvPr/>
          </p:nvSpPr>
          <p:spPr bwMode="auto">
            <a:xfrm>
              <a:off x="6646863" y="3408363"/>
              <a:ext cx="80962" cy="47625"/>
            </a:xfrm>
            <a:custGeom>
              <a:avLst/>
              <a:gdLst>
                <a:gd name="T0" fmla="*/ 62134 w 43"/>
                <a:gd name="T1" fmla="*/ 15240 h 25"/>
                <a:gd name="T2" fmla="*/ 60251 w 43"/>
                <a:gd name="T3" fmla="*/ 22860 h 25"/>
                <a:gd name="T4" fmla="*/ 73431 w 43"/>
                <a:gd name="T5" fmla="*/ 24765 h 25"/>
                <a:gd name="T6" fmla="*/ 77196 w 43"/>
                <a:gd name="T7" fmla="*/ 40005 h 25"/>
                <a:gd name="T8" fmla="*/ 62134 w 43"/>
                <a:gd name="T9" fmla="*/ 41910 h 25"/>
                <a:gd name="T10" fmla="*/ 41422 w 43"/>
                <a:gd name="T11" fmla="*/ 45720 h 25"/>
                <a:gd name="T12" fmla="*/ 33891 w 43"/>
                <a:gd name="T13" fmla="*/ 41910 h 25"/>
                <a:gd name="T14" fmla="*/ 26360 w 43"/>
                <a:gd name="T15" fmla="*/ 47625 h 25"/>
                <a:gd name="T16" fmla="*/ 5649 w 43"/>
                <a:gd name="T17" fmla="*/ 41910 h 25"/>
                <a:gd name="T18" fmla="*/ 0 w 43"/>
                <a:gd name="T19" fmla="*/ 32385 h 25"/>
                <a:gd name="T20" fmla="*/ 7531 w 43"/>
                <a:gd name="T21" fmla="*/ 17145 h 25"/>
                <a:gd name="T22" fmla="*/ 9414 w 43"/>
                <a:gd name="T23" fmla="*/ 7620 h 25"/>
                <a:gd name="T24" fmla="*/ 16946 w 43"/>
                <a:gd name="T25" fmla="*/ 1905 h 25"/>
                <a:gd name="T26" fmla="*/ 24477 w 43"/>
                <a:gd name="T27" fmla="*/ 3810 h 25"/>
                <a:gd name="T28" fmla="*/ 32008 w 43"/>
                <a:gd name="T29" fmla="*/ 1905 h 25"/>
                <a:gd name="T30" fmla="*/ 39540 w 43"/>
                <a:gd name="T31" fmla="*/ 7620 h 25"/>
                <a:gd name="T32" fmla="*/ 52719 w 43"/>
                <a:gd name="T33" fmla="*/ 9525 h 25"/>
                <a:gd name="T34" fmla="*/ 60251 w 43"/>
                <a:gd name="T35" fmla="*/ 7620 h 25"/>
                <a:gd name="T36" fmla="*/ 62134 w 43"/>
                <a:gd name="T37" fmla="*/ 15240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3"/>
                <a:gd name="T58" fmla="*/ 0 h 25"/>
                <a:gd name="T59" fmla="*/ 43 w 43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3" h="25">
                  <a:moveTo>
                    <a:pt x="33" y="8"/>
                  </a:moveTo>
                  <a:cubicBezTo>
                    <a:pt x="33" y="9"/>
                    <a:pt x="31" y="11"/>
                    <a:pt x="32" y="12"/>
                  </a:cubicBezTo>
                  <a:cubicBezTo>
                    <a:pt x="34" y="13"/>
                    <a:pt x="38" y="12"/>
                    <a:pt x="39" y="13"/>
                  </a:cubicBezTo>
                  <a:cubicBezTo>
                    <a:pt x="41" y="15"/>
                    <a:pt x="43" y="19"/>
                    <a:pt x="41" y="21"/>
                  </a:cubicBezTo>
                  <a:cubicBezTo>
                    <a:pt x="40" y="23"/>
                    <a:pt x="36" y="22"/>
                    <a:pt x="33" y="22"/>
                  </a:cubicBezTo>
                  <a:cubicBezTo>
                    <a:pt x="30" y="23"/>
                    <a:pt x="26" y="24"/>
                    <a:pt x="22" y="24"/>
                  </a:cubicBezTo>
                  <a:cubicBezTo>
                    <a:pt x="20" y="24"/>
                    <a:pt x="19" y="22"/>
                    <a:pt x="18" y="22"/>
                  </a:cubicBezTo>
                  <a:cubicBezTo>
                    <a:pt x="16" y="22"/>
                    <a:pt x="16" y="25"/>
                    <a:pt x="14" y="25"/>
                  </a:cubicBezTo>
                  <a:cubicBezTo>
                    <a:pt x="10" y="25"/>
                    <a:pt x="6" y="24"/>
                    <a:pt x="3" y="22"/>
                  </a:cubicBezTo>
                  <a:cubicBezTo>
                    <a:pt x="1" y="21"/>
                    <a:pt x="1" y="19"/>
                    <a:pt x="0" y="17"/>
                  </a:cubicBezTo>
                  <a:cubicBezTo>
                    <a:pt x="2" y="15"/>
                    <a:pt x="4" y="11"/>
                    <a:pt x="4" y="9"/>
                  </a:cubicBezTo>
                  <a:cubicBezTo>
                    <a:pt x="5" y="7"/>
                    <a:pt x="4" y="6"/>
                    <a:pt x="5" y="4"/>
                  </a:cubicBezTo>
                  <a:cubicBezTo>
                    <a:pt x="6" y="3"/>
                    <a:pt x="8" y="2"/>
                    <a:pt x="9" y="1"/>
                  </a:cubicBezTo>
                  <a:cubicBezTo>
                    <a:pt x="11" y="1"/>
                    <a:pt x="12" y="2"/>
                    <a:pt x="13" y="2"/>
                  </a:cubicBezTo>
                  <a:cubicBezTo>
                    <a:pt x="15" y="2"/>
                    <a:pt x="16" y="0"/>
                    <a:pt x="17" y="1"/>
                  </a:cubicBezTo>
                  <a:cubicBezTo>
                    <a:pt x="19" y="1"/>
                    <a:pt x="20" y="3"/>
                    <a:pt x="21" y="4"/>
                  </a:cubicBezTo>
                  <a:cubicBezTo>
                    <a:pt x="23" y="5"/>
                    <a:pt x="25" y="5"/>
                    <a:pt x="28" y="5"/>
                  </a:cubicBezTo>
                  <a:cubicBezTo>
                    <a:pt x="29" y="5"/>
                    <a:pt x="31" y="4"/>
                    <a:pt x="32" y="4"/>
                  </a:cubicBezTo>
                  <a:cubicBezTo>
                    <a:pt x="33" y="5"/>
                    <a:pt x="33" y="7"/>
                    <a:pt x="33" y="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7" name="Freeform 127"/>
            <p:cNvSpPr>
              <a:spLocks noChangeAspect="1"/>
            </p:cNvSpPr>
            <p:nvPr/>
          </p:nvSpPr>
          <p:spPr bwMode="auto">
            <a:xfrm>
              <a:off x="6435725" y="3348038"/>
              <a:ext cx="195263" cy="120650"/>
            </a:xfrm>
            <a:custGeom>
              <a:avLst/>
              <a:gdLst>
                <a:gd name="T0" fmla="*/ 191471 w 103"/>
                <a:gd name="T1" fmla="*/ 74688 h 63"/>
                <a:gd name="T2" fmla="*/ 191471 w 103"/>
                <a:gd name="T3" fmla="*/ 84264 h 63"/>
                <a:gd name="T4" fmla="*/ 189576 w 103"/>
                <a:gd name="T5" fmla="*/ 95754 h 63"/>
                <a:gd name="T6" fmla="*/ 195263 w 103"/>
                <a:gd name="T7" fmla="*/ 112990 h 63"/>
                <a:gd name="T8" fmla="*/ 187680 w 103"/>
                <a:gd name="T9" fmla="*/ 118735 h 63"/>
                <a:gd name="T10" fmla="*/ 164931 w 103"/>
                <a:gd name="T11" fmla="*/ 116820 h 63"/>
                <a:gd name="T12" fmla="*/ 149765 w 103"/>
                <a:gd name="T13" fmla="*/ 111075 h 63"/>
                <a:gd name="T14" fmla="*/ 138390 w 103"/>
                <a:gd name="T15" fmla="*/ 111075 h 63"/>
                <a:gd name="T16" fmla="*/ 132703 w 103"/>
                <a:gd name="T17" fmla="*/ 105329 h 63"/>
                <a:gd name="T18" fmla="*/ 127016 w 103"/>
                <a:gd name="T19" fmla="*/ 107244 h 63"/>
                <a:gd name="T20" fmla="*/ 113745 w 103"/>
                <a:gd name="T21" fmla="*/ 97669 h 63"/>
                <a:gd name="T22" fmla="*/ 113745 w 103"/>
                <a:gd name="T23" fmla="*/ 90009 h 63"/>
                <a:gd name="T24" fmla="*/ 96684 w 103"/>
                <a:gd name="T25" fmla="*/ 84264 h 63"/>
                <a:gd name="T26" fmla="*/ 64456 w 103"/>
                <a:gd name="T27" fmla="*/ 82348 h 63"/>
                <a:gd name="T28" fmla="*/ 58768 w 103"/>
                <a:gd name="T29" fmla="*/ 78518 h 63"/>
                <a:gd name="T30" fmla="*/ 34124 w 103"/>
                <a:gd name="T31" fmla="*/ 67028 h 63"/>
                <a:gd name="T32" fmla="*/ 17062 w 103"/>
                <a:gd name="T33" fmla="*/ 47877 h 63"/>
                <a:gd name="T34" fmla="*/ 7583 w 103"/>
                <a:gd name="T35" fmla="*/ 47877 h 63"/>
                <a:gd name="T36" fmla="*/ 0 w 103"/>
                <a:gd name="T37" fmla="*/ 42132 h 63"/>
                <a:gd name="T38" fmla="*/ 1896 w 103"/>
                <a:gd name="T39" fmla="*/ 28726 h 63"/>
                <a:gd name="T40" fmla="*/ 1896 w 103"/>
                <a:gd name="T41" fmla="*/ 21066 h 63"/>
                <a:gd name="T42" fmla="*/ 9479 w 103"/>
                <a:gd name="T43" fmla="*/ 15321 h 63"/>
                <a:gd name="T44" fmla="*/ 20853 w 103"/>
                <a:gd name="T45" fmla="*/ 3830 h 63"/>
                <a:gd name="T46" fmla="*/ 28436 w 103"/>
                <a:gd name="T47" fmla="*/ 9575 h 63"/>
                <a:gd name="T48" fmla="*/ 28436 w 103"/>
                <a:gd name="T49" fmla="*/ 1915 h 63"/>
                <a:gd name="T50" fmla="*/ 36019 w 103"/>
                <a:gd name="T51" fmla="*/ 1915 h 63"/>
                <a:gd name="T52" fmla="*/ 51185 w 103"/>
                <a:gd name="T53" fmla="*/ 7660 h 63"/>
                <a:gd name="T54" fmla="*/ 70143 w 103"/>
                <a:gd name="T55" fmla="*/ 21066 h 63"/>
                <a:gd name="T56" fmla="*/ 81518 w 103"/>
                <a:gd name="T57" fmla="*/ 34471 h 63"/>
                <a:gd name="T58" fmla="*/ 87205 w 103"/>
                <a:gd name="T59" fmla="*/ 26811 h 63"/>
                <a:gd name="T60" fmla="*/ 94788 w 103"/>
                <a:gd name="T61" fmla="*/ 26811 h 63"/>
                <a:gd name="T62" fmla="*/ 94788 w 103"/>
                <a:gd name="T63" fmla="*/ 38302 h 63"/>
                <a:gd name="T64" fmla="*/ 98579 w 103"/>
                <a:gd name="T65" fmla="*/ 45962 h 63"/>
                <a:gd name="T66" fmla="*/ 119433 w 103"/>
                <a:gd name="T67" fmla="*/ 47877 h 63"/>
                <a:gd name="T68" fmla="*/ 119433 w 103"/>
                <a:gd name="T69" fmla="*/ 57452 h 63"/>
                <a:gd name="T70" fmla="*/ 130807 w 103"/>
                <a:gd name="T71" fmla="*/ 59367 h 63"/>
                <a:gd name="T72" fmla="*/ 138390 w 103"/>
                <a:gd name="T73" fmla="*/ 68943 h 63"/>
                <a:gd name="T74" fmla="*/ 145973 w 103"/>
                <a:gd name="T75" fmla="*/ 67028 h 63"/>
                <a:gd name="T76" fmla="*/ 151661 w 103"/>
                <a:gd name="T77" fmla="*/ 72773 h 63"/>
                <a:gd name="T78" fmla="*/ 159244 w 103"/>
                <a:gd name="T79" fmla="*/ 67028 h 63"/>
                <a:gd name="T80" fmla="*/ 166827 w 103"/>
                <a:gd name="T81" fmla="*/ 74688 h 63"/>
                <a:gd name="T82" fmla="*/ 174410 w 103"/>
                <a:gd name="T83" fmla="*/ 78518 h 63"/>
                <a:gd name="T84" fmla="*/ 185784 w 103"/>
                <a:gd name="T85" fmla="*/ 72773 h 63"/>
                <a:gd name="T86" fmla="*/ 191471 w 103"/>
                <a:gd name="T87" fmla="*/ 74688 h 6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03"/>
                <a:gd name="T133" fmla="*/ 0 h 63"/>
                <a:gd name="T134" fmla="*/ 103 w 103"/>
                <a:gd name="T135" fmla="*/ 63 h 6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03" h="63">
                  <a:moveTo>
                    <a:pt x="101" y="39"/>
                  </a:moveTo>
                  <a:cubicBezTo>
                    <a:pt x="101" y="40"/>
                    <a:pt x="101" y="42"/>
                    <a:pt x="101" y="44"/>
                  </a:cubicBezTo>
                  <a:cubicBezTo>
                    <a:pt x="101" y="46"/>
                    <a:pt x="100" y="48"/>
                    <a:pt x="100" y="50"/>
                  </a:cubicBezTo>
                  <a:cubicBezTo>
                    <a:pt x="101" y="53"/>
                    <a:pt x="103" y="56"/>
                    <a:pt x="103" y="59"/>
                  </a:cubicBezTo>
                  <a:cubicBezTo>
                    <a:pt x="103" y="60"/>
                    <a:pt x="101" y="62"/>
                    <a:pt x="99" y="62"/>
                  </a:cubicBezTo>
                  <a:cubicBezTo>
                    <a:pt x="95" y="63"/>
                    <a:pt x="91" y="61"/>
                    <a:pt x="87" y="61"/>
                  </a:cubicBezTo>
                  <a:cubicBezTo>
                    <a:pt x="84" y="60"/>
                    <a:pt x="82" y="59"/>
                    <a:pt x="79" y="58"/>
                  </a:cubicBezTo>
                  <a:cubicBezTo>
                    <a:pt x="77" y="58"/>
                    <a:pt x="75" y="59"/>
                    <a:pt x="73" y="58"/>
                  </a:cubicBezTo>
                  <a:cubicBezTo>
                    <a:pt x="71" y="58"/>
                    <a:pt x="71" y="55"/>
                    <a:pt x="70" y="55"/>
                  </a:cubicBezTo>
                  <a:cubicBezTo>
                    <a:pt x="69" y="54"/>
                    <a:pt x="68" y="56"/>
                    <a:pt x="67" y="56"/>
                  </a:cubicBezTo>
                  <a:cubicBezTo>
                    <a:pt x="64" y="55"/>
                    <a:pt x="62" y="53"/>
                    <a:pt x="60" y="51"/>
                  </a:cubicBezTo>
                  <a:cubicBezTo>
                    <a:pt x="59" y="50"/>
                    <a:pt x="61" y="48"/>
                    <a:pt x="60" y="47"/>
                  </a:cubicBezTo>
                  <a:cubicBezTo>
                    <a:pt x="58" y="45"/>
                    <a:pt x="54" y="44"/>
                    <a:pt x="51" y="44"/>
                  </a:cubicBezTo>
                  <a:cubicBezTo>
                    <a:pt x="45" y="43"/>
                    <a:pt x="40" y="44"/>
                    <a:pt x="34" y="43"/>
                  </a:cubicBezTo>
                  <a:cubicBezTo>
                    <a:pt x="33" y="43"/>
                    <a:pt x="32" y="41"/>
                    <a:pt x="31" y="41"/>
                  </a:cubicBezTo>
                  <a:cubicBezTo>
                    <a:pt x="27" y="38"/>
                    <a:pt x="22" y="38"/>
                    <a:pt x="18" y="35"/>
                  </a:cubicBezTo>
                  <a:cubicBezTo>
                    <a:pt x="14" y="32"/>
                    <a:pt x="12" y="28"/>
                    <a:pt x="9" y="25"/>
                  </a:cubicBezTo>
                  <a:cubicBezTo>
                    <a:pt x="8" y="24"/>
                    <a:pt x="6" y="26"/>
                    <a:pt x="4" y="25"/>
                  </a:cubicBezTo>
                  <a:cubicBezTo>
                    <a:pt x="3" y="24"/>
                    <a:pt x="1" y="23"/>
                    <a:pt x="0" y="22"/>
                  </a:cubicBezTo>
                  <a:cubicBezTo>
                    <a:pt x="0" y="19"/>
                    <a:pt x="1" y="17"/>
                    <a:pt x="1" y="15"/>
                  </a:cubicBezTo>
                  <a:cubicBezTo>
                    <a:pt x="2" y="13"/>
                    <a:pt x="0" y="13"/>
                    <a:pt x="1" y="11"/>
                  </a:cubicBezTo>
                  <a:cubicBezTo>
                    <a:pt x="2" y="10"/>
                    <a:pt x="3" y="9"/>
                    <a:pt x="5" y="8"/>
                  </a:cubicBezTo>
                  <a:cubicBezTo>
                    <a:pt x="7" y="6"/>
                    <a:pt x="9" y="4"/>
                    <a:pt x="11" y="2"/>
                  </a:cubicBezTo>
                  <a:cubicBezTo>
                    <a:pt x="12" y="3"/>
                    <a:pt x="13" y="6"/>
                    <a:pt x="15" y="5"/>
                  </a:cubicBezTo>
                  <a:cubicBezTo>
                    <a:pt x="16" y="5"/>
                    <a:pt x="14" y="2"/>
                    <a:pt x="15" y="1"/>
                  </a:cubicBezTo>
                  <a:cubicBezTo>
                    <a:pt x="16" y="0"/>
                    <a:pt x="18" y="1"/>
                    <a:pt x="19" y="1"/>
                  </a:cubicBezTo>
                  <a:cubicBezTo>
                    <a:pt x="21" y="2"/>
                    <a:pt x="24" y="3"/>
                    <a:pt x="27" y="4"/>
                  </a:cubicBezTo>
                  <a:cubicBezTo>
                    <a:pt x="30" y="6"/>
                    <a:pt x="34" y="9"/>
                    <a:pt x="37" y="11"/>
                  </a:cubicBezTo>
                  <a:cubicBezTo>
                    <a:pt x="39" y="13"/>
                    <a:pt x="40" y="17"/>
                    <a:pt x="43" y="18"/>
                  </a:cubicBezTo>
                  <a:cubicBezTo>
                    <a:pt x="45" y="18"/>
                    <a:pt x="45" y="14"/>
                    <a:pt x="46" y="14"/>
                  </a:cubicBezTo>
                  <a:cubicBezTo>
                    <a:pt x="47" y="13"/>
                    <a:pt x="49" y="13"/>
                    <a:pt x="50" y="14"/>
                  </a:cubicBezTo>
                  <a:cubicBezTo>
                    <a:pt x="51" y="16"/>
                    <a:pt x="49" y="18"/>
                    <a:pt x="50" y="20"/>
                  </a:cubicBezTo>
                  <a:cubicBezTo>
                    <a:pt x="50" y="22"/>
                    <a:pt x="51" y="23"/>
                    <a:pt x="52" y="24"/>
                  </a:cubicBezTo>
                  <a:cubicBezTo>
                    <a:pt x="55" y="25"/>
                    <a:pt x="60" y="24"/>
                    <a:pt x="63" y="25"/>
                  </a:cubicBezTo>
                  <a:cubicBezTo>
                    <a:pt x="64" y="26"/>
                    <a:pt x="62" y="29"/>
                    <a:pt x="63" y="30"/>
                  </a:cubicBezTo>
                  <a:cubicBezTo>
                    <a:pt x="64" y="31"/>
                    <a:pt x="67" y="30"/>
                    <a:pt x="69" y="31"/>
                  </a:cubicBezTo>
                  <a:cubicBezTo>
                    <a:pt x="71" y="32"/>
                    <a:pt x="71" y="35"/>
                    <a:pt x="73" y="36"/>
                  </a:cubicBezTo>
                  <a:cubicBezTo>
                    <a:pt x="74" y="37"/>
                    <a:pt x="76" y="34"/>
                    <a:pt x="77" y="35"/>
                  </a:cubicBezTo>
                  <a:cubicBezTo>
                    <a:pt x="78" y="35"/>
                    <a:pt x="78" y="38"/>
                    <a:pt x="80" y="38"/>
                  </a:cubicBezTo>
                  <a:cubicBezTo>
                    <a:pt x="81" y="38"/>
                    <a:pt x="82" y="35"/>
                    <a:pt x="84" y="35"/>
                  </a:cubicBezTo>
                  <a:cubicBezTo>
                    <a:pt x="86" y="35"/>
                    <a:pt x="86" y="38"/>
                    <a:pt x="88" y="39"/>
                  </a:cubicBezTo>
                  <a:cubicBezTo>
                    <a:pt x="89" y="40"/>
                    <a:pt x="91" y="41"/>
                    <a:pt x="92" y="41"/>
                  </a:cubicBezTo>
                  <a:cubicBezTo>
                    <a:pt x="94" y="41"/>
                    <a:pt x="96" y="39"/>
                    <a:pt x="98" y="38"/>
                  </a:cubicBezTo>
                  <a:cubicBezTo>
                    <a:pt x="99" y="38"/>
                    <a:pt x="100" y="39"/>
                    <a:pt x="101" y="3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8" name="Freeform 128"/>
            <p:cNvSpPr>
              <a:spLocks noChangeAspect="1"/>
            </p:cNvSpPr>
            <p:nvPr/>
          </p:nvSpPr>
          <p:spPr bwMode="auto">
            <a:xfrm>
              <a:off x="6635750" y="3455988"/>
              <a:ext cx="119063" cy="163512"/>
            </a:xfrm>
            <a:custGeom>
              <a:avLst/>
              <a:gdLst>
                <a:gd name="T0" fmla="*/ 39688 w 63"/>
                <a:gd name="T1" fmla="*/ 138795 h 86"/>
                <a:gd name="T2" fmla="*/ 45357 w 63"/>
                <a:gd name="T3" fmla="*/ 125486 h 86"/>
                <a:gd name="T4" fmla="*/ 52917 w 63"/>
                <a:gd name="T5" fmla="*/ 134992 h 86"/>
                <a:gd name="T6" fmla="*/ 64256 w 63"/>
                <a:gd name="T7" fmla="*/ 117881 h 86"/>
                <a:gd name="T8" fmla="*/ 56697 w 63"/>
                <a:gd name="T9" fmla="*/ 93164 h 86"/>
                <a:gd name="T10" fmla="*/ 69926 w 63"/>
                <a:gd name="T11" fmla="*/ 108374 h 86"/>
                <a:gd name="T12" fmla="*/ 86935 w 63"/>
                <a:gd name="T13" fmla="*/ 112177 h 86"/>
                <a:gd name="T14" fmla="*/ 94494 w 63"/>
                <a:gd name="T15" fmla="*/ 133091 h 86"/>
                <a:gd name="T16" fmla="*/ 98274 w 63"/>
                <a:gd name="T17" fmla="*/ 146400 h 86"/>
                <a:gd name="T18" fmla="*/ 103944 w 63"/>
                <a:gd name="T19" fmla="*/ 163512 h 86"/>
                <a:gd name="T20" fmla="*/ 115283 w 63"/>
                <a:gd name="T21" fmla="*/ 159709 h 86"/>
                <a:gd name="T22" fmla="*/ 111503 w 63"/>
                <a:gd name="T23" fmla="*/ 114078 h 86"/>
                <a:gd name="T24" fmla="*/ 102054 w 63"/>
                <a:gd name="T25" fmla="*/ 85559 h 86"/>
                <a:gd name="T26" fmla="*/ 90715 w 63"/>
                <a:gd name="T27" fmla="*/ 102670 h 86"/>
                <a:gd name="T28" fmla="*/ 79375 w 63"/>
                <a:gd name="T29" fmla="*/ 96966 h 86"/>
                <a:gd name="T30" fmla="*/ 69926 w 63"/>
                <a:gd name="T31" fmla="*/ 95065 h 86"/>
                <a:gd name="T32" fmla="*/ 88825 w 63"/>
                <a:gd name="T33" fmla="*/ 66546 h 86"/>
                <a:gd name="T34" fmla="*/ 102054 w 63"/>
                <a:gd name="T35" fmla="*/ 55138 h 86"/>
                <a:gd name="T36" fmla="*/ 86935 w 63"/>
                <a:gd name="T37" fmla="*/ 41829 h 86"/>
                <a:gd name="T38" fmla="*/ 41578 w 63"/>
                <a:gd name="T39" fmla="*/ 38026 h 86"/>
                <a:gd name="T40" fmla="*/ 37798 w 63"/>
                <a:gd name="T41" fmla="*/ 15210 h 86"/>
                <a:gd name="T42" fmla="*/ 18899 w 63"/>
                <a:gd name="T43" fmla="*/ 9507 h 86"/>
                <a:gd name="T44" fmla="*/ 1890 w 63"/>
                <a:gd name="T45" fmla="*/ 0 h 86"/>
                <a:gd name="T46" fmla="*/ 5670 w 63"/>
                <a:gd name="T47" fmla="*/ 9507 h 86"/>
                <a:gd name="T48" fmla="*/ 5670 w 63"/>
                <a:gd name="T49" fmla="*/ 30421 h 86"/>
                <a:gd name="T50" fmla="*/ 9449 w 63"/>
                <a:gd name="T51" fmla="*/ 45631 h 86"/>
                <a:gd name="T52" fmla="*/ 5670 w 63"/>
                <a:gd name="T53" fmla="*/ 53236 h 86"/>
                <a:gd name="T54" fmla="*/ 13229 w 63"/>
                <a:gd name="T55" fmla="*/ 64644 h 86"/>
                <a:gd name="T56" fmla="*/ 13229 w 63"/>
                <a:gd name="T57" fmla="*/ 81756 h 86"/>
                <a:gd name="T58" fmla="*/ 18899 w 63"/>
                <a:gd name="T59" fmla="*/ 98868 h 86"/>
                <a:gd name="T60" fmla="*/ 24569 w 63"/>
                <a:gd name="T61" fmla="*/ 104572 h 86"/>
                <a:gd name="T62" fmla="*/ 26458 w 63"/>
                <a:gd name="T63" fmla="*/ 119782 h 86"/>
                <a:gd name="T64" fmla="*/ 32128 w 63"/>
                <a:gd name="T65" fmla="*/ 138795 h 8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3"/>
                <a:gd name="T100" fmla="*/ 0 h 86"/>
                <a:gd name="T101" fmla="*/ 63 w 63"/>
                <a:gd name="T102" fmla="*/ 86 h 8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3" h="86">
                  <a:moveTo>
                    <a:pt x="17" y="73"/>
                  </a:moveTo>
                  <a:cubicBezTo>
                    <a:pt x="18" y="73"/>
                    <a:pt x="20" y="74"/>
                    <a:pt x="21" y="73"/>
                  </a:cubicBezTo>
                  <a:cubicBezTo>
                    <a:pt x="22" y="73"/>
                    <a:pt x="24" y="72"/>
                    <a:pt x="24" y="71"/>
                  </a:cubicBezTo>
                  <a:cubicBezTo>
                    <a:pt x="24" y="70"/>
                    <a:pt x="23" y="67"/>
                    <a:pt x="24" y="66"/>
                  </a:cubicBezTo>
                  <a:cubicBezTo>
                    <a:pt x="25" y="65"/>
                    <a:pt x="25" y="68"/>
                    <a:pt x="26" y="69"/>
                  </a:cubicBezTo>
                  <a:cubicBezTo>
                    <a:pt x="27" y="70"/>
                    <a:pt x="27" y="71"/>
                    <a:pt x="28" y="71"/>
                  </a:cubicBezTo>
                  <a:cubicBezTo>
                    <a:pt x="30" y="71"/>
                    <a:pt x="32" y="70"/>
                    <a:pt x="32" y="69"/>
                  </a:cubicBezTo>
                  <a:cubicBezTo>
                    <a:pt x="33" y="67"/>
                    <a:pt x="34" y="64"/>
                    <a:pt x="34" y="62"/>
                  </a:cubicBezTo>
                  <a:cubicBezTo>
                    <a:pt x="33" y="59"/>
                    <a:pt x="31" y="57"/>
                    <a:pt x="30" y="55"/>
                  </a:cubicBezTo>
                  <a:cubicBezTo>
                    <a:pt x="30" y="53"/>
                    <a:pt x="29" y="50"/>
                    <a:pt x="30" y="49"/>
                  </a:cubicBezTo>
                  <a:cubicBezTo>
                    <a:pt x="31" y="48"/>
                    <a:pt x="32" y="50"/>
                    <a:pt x="33" y="52"/>
                  </a:cubicBezTo>
                  <a:cubicBezTo>
                    <a:pt x="34" y="53"/>
                    <a:pt x="35" y="56"/>
                    <a:pt x="37" y="57"/>
                  </a:cubicBezTo>
                  <a:cubicBezTo>
                    <a:pt x="38" y="58"/>
                    <a:pt x="40" y="58"/>
                    <a:pt x="41" y="58"/>
                  </a:cubicBezTo>
                  <a:cubicBezTo>
                    <a:pt x="43" y="58"/>
                    <a:pt x="45" y="58"/>
                    <a:pt x="46" y="59"/>
                  </a:cubicBezTo>
                  <a:cubicBezTo>
                    <a:pt x="48" y="60"/>
                    <a:pt x="50" y="61"/>
                    <a:pt x="50" y="63"/>
                  </a:cubicBezTo>
                  <a:cubicBezTo>
                    <a:pt x="51" y="65"/>
                    <a:pt x="51" y="67"/>
                    <a:pt x="50" y="70"/>
                  </a:cubicBezTo>
                  <a:cubicBezTo>
                    <a:pt x="50" y="71"/>
                    <a:pt x="49" y="73"/>
                    <a:pt x="49" y="74"/>
                  </a:cubicBezTo>
                  <a:cubicBezTo>
                    <a:pt x="49" y="76"/>
                    <a:pt x="52" y="76"/>
                    <a:pt x="52" y="77"/>
                  </a:cubicBezTo>
                  <a:cubicBezTo>
                    <a:pt x="53" y="78"/>
                    <a:pt x="52" y="80"/>
                    <a:pt x="52" y="82"/>
                  </a:cubicBezTo>
                  <a:cubicBezTo>
                    <a:pt x="53" y="83"/>
                    <a:pt x="54" y="85"/>
                    <a:pt x="55" y="86"/>
                  </a:cubicBezTo>
                  <a:cubicBezTo>
                    <a:pt x="55" y="84"/>
                    <a:pt x="54" y="81"/>
                    <a:pt x="55" y="80"/>
                  </a:cubicBezTo>
                  <a:cubicBezTo>
                    <a:pt x="57" y="79"/>
                    <a:pt x="60" y="85"/>
                    <a:pt x="61" y="84"/>
                  </a:cubicBezTo>
                  <a:cubicBezTo>
                    <a:pt x="63" y="80"/>
                    <a:pt x="60" y="76"/>
                    <a:pt x="59" y="72"/>
                  </a:cubicBezTo>
                  <a:cubicBezTo>
                    <a:pt x="59" y="68"/>
                    <a:pt x="60" y="64"/>
                    <a:pt x="59" y="60"/>
                  </a:cubicBezTo>
                  <a:cubicBezTo>
                    <a:pt x="58" y="57"/>
                    <a:pt x="55" y="55"/>
                    <a:pt x="54" y="52"/>
                  </a:cubicBezTo>
                  <a:cubicBezTo>
                    <a:pt x="53" y="49"/>
                    <a:pt x="55" y="47"/>
                    <a:pt x="54" y="45"/>
                  </a:cubicBezTo>
                  <a:cubicBezTo>
                    <a:pt x="53" y="44"/>
                    <a:pt x="50" y="43"/>
                    <a:pt x="49" y="44"/>
                  </a:cubicBezTo>
                  <a:cubicBezTo>
                    <a:pt x="47" y="47"/>
                    <a:pt x="49" y="51"/>
                    <a:pt x="48" y="54"/>
                  </a:cubicBezTo>
                  <a:cubicBezTo>
                    <a:pt x="47" y="56"/>
                    <a:pt x="45" y="57"/>
                    <a:pt x="44" y="56"/>
                  </a:cubicBezTo>
                  <a:cubicBezTo>
                    <a:pt x="42" y="55"/>
                    <a:pt x="44" y="52"/>
                    <a:pt x="42" y="51"/>
                  </a:cubicBezTo>
                  <a:cubicBezTo>
                    <a:pt x="41" y="51"/>
                    <a:pt x="40" y="54"/>
                    <a:pt x="38" y="54"/>
                  </a:cubicBezTo>
                  <a:cubicBezTo>
                    <a:pt x="37" y="54"/>
                    <a:pt x="37" y="52"/>
                    <a:pt x="37" y="50"/>
                  </a:cubicBezTo>
                  <a:cubicBezTo>
                    <a:pt x="37" y="46"/>
                    <a:pt x="38" y="42"/>
                    <a:pt x="40" y="39"/>
                  </a:cubicBezTo>
                  <a:cubicBezTo>
                    <a:pt x="41" y="37"/>
                    <a:pt x="45" y="37"/>
                    <a:pt x="47" y="35"/>
                  </a:cubicBezTo>
                  <a:cubicBezTo>
                    <a:pt x="48" y="33"/>
                    <a:pt x="49" y="31"/>
                    <a:pt x="51" y="29"/>
                  </a:cubicBezTo>
                  <a:cubicBezTo>
                    <a:pt x="52" y="28"/>
                    <a:pt x="54" y="30"/>
                    <a:pt x="54" y="29"/>
                  </a:cubicBezTo>
                  <a:cubicBezTo>
                    <a:pt x="54" y="27"/>
                    <a:pt x="53" y="26"/>
                    <a:pt x="52" y="25"/>
                  </a:cubicBezTo>
                  <a:cubicBezTo>
                    <a:pt x="50" y="24"/>
                    <a:pt x="48" y="22"/>
                    <a:pt x="46" y="22"/>
                  </a:cubicBezTo>
                  <a:cubicBezTo>
                    <a:pt x="40" y="21"/>
                    <a:pt x="33" y="22"/>
                    <a:pt x="27" y="22"/>
                  </a:cubicBezTo>
                  <a:cubicBezTo>
                    <a:pt x="25" y="22"/>
                    <a:pt x="23" y="21"/>
                    <a:pt x="22" y="20"/>
                  </a:cubicBezTo>
                  <a:cubicBezTo>
                    <a:pt x="21" y="18"/>
                    <a:pt x="23" y="16"/>
                    <a:pt x="23" y="13"/>
                  </a:cubicBezTo>
                  <a:cubicBezTo>
                    <a:pt x="23" y="11"/>
                    <a:pt x="22" y="8"/>
                    <a:pt x="20" y="8"/>
                  </a:cubicBezTo>
                  <a:cubicBezTo>
                    <a:pt x="18" y="7"/>
                    <a:pt x="17" y="12"/>
                    <a:pt x="15" y="11"/>
                  </a:cubicBezTo>
                  <a:cubicBezTo>
                    <a:pt x="13" y="10"/>
                    <a:pt x="13" y="6"/>
                    <a:pt x="10" y="5"/>
                  </a:cubicBezTo>
                  <a:cubicBezTo>
                    <a:pt x="9" y="4"/>
                    <a:pt x="8" y="7"/>
                    <a:pt x="7" y="6"/>
                  </a:cubicBezTo>
                  <a:cubicBezTo>
                    <a:pt x="5" y="5"/>
                    <a:pt x="4" y="1"/>
                    <a:pt x="1" y="0"/>
                  </a:cubicBezTo>
                  <a:cubicBezTo>
                    <a:pt x="0" y="0"/>
                    <a:pt x="0" y="2"/>
                    <a:pt x="1" y="3"/>
                  </a:cubicBezTo>
                  <a:cubicBezTo>
                    <a:pt x="1" y="4"/>
                    <a:pt x="3" y="4"/>
                    <a:pt x="3" y="5"/>
                  </a:cubicBezTo>
                  <a:cubicBezTo>
                    <a:pt x="3" y="7"/>
                    <a:pt x="0" y="9"/>
                    <a:pt x="0" y="12"/>
                  </a:cubicBezTo>
                  <a:cubicBezTo>
                    <a:pt x="0" y="14"/>
                    <a:pt x="2" y="15"/>
                    <a:pt x="3" y="16"/>
                  </a:cubicBezTo>
                  <a:cubicBezTo>
                    <a:pt x="5" y="19"/>
                    <a:pt x="10" y="20"/>
                    <a:pt x="10" y="23"/>
                  </a:cubicBezTo>
                  <a:cubicBezTo>
                    <a:pt x="10" y="25"/>
                    <a:pt x="6" y="23"/>
                    <a:pt x="5" y="24"/>
                  </a:cubicBezTo>
                  <a:cubicBezTo>
                    <a:pt x="4" y="24"/>
                    <a:pt x="6" y="26"/>
                    <a:pt x="5" y="27"/>
                  </a:cubicBezTo>
                  <a:cubicBezTo>
                    <a:pt x="5" y="28"/>
                    <a:pt x="4" y="27"/>
                    <a:pt x="3" y="28"/>
                  </a:cubicBezTo>
                  <a:cubicBezTo>
                    <a:pt x="3" y="29"/>
                    <a:pt x="2" y="30"/>
                    <a:pt x="2" y="31"/>
                  </a:cubicBezTo>
                  <a:cubicBezTo>
                    <a:pt x="3" y="33"/>
                    <a:pt x="6" y="33"/>
                    <a:pt x="7" y="34"/>
                  </a:cubicBezTo>
                  <a:cubicBezTo>
                    <a:pt x="9" y="35"/>
                    <a:pt x="10" y="36"/>
                    <a:pt x="10" y="38"/>
                  </a:cubicBezTo>
                  <a:cubicBezTo>
                    <a:pt x="10" y="40"/>
                    <a:pt x="7" y="41"/>
                    <a:pt x="7" y="43"/>
                  </a:cubicBezTo>
                  <a:cubicBezTo>
                    <a:pt x="6" y="44"/>
                    <a:pt x="8" y="45"/>
                    <a:pt x="9" y="46"/>
                  </a:cubicBezTo>
                  <a:cubicBezTo>
                    <a:pt x="10" y="48"/>
                    <a:pt x="9" y="50"/>
                    <a:pt x="10" y="52"/>
                  </a:cubicBezTo>
                  <a:cubicBezTo>
                    <a:pt x="11" y="53"/>
                    <a:pt x="13" y="51"/>
                    <a:pt x="14" y="52"/>
                  </a:cubicBezTo>
                  <a:cubicBezTo>
                    <a:pt x="14" y="53"/>
                    <a:pt x="13" y="54"/>
                    <a:pt x="13" y="55"/>
                  </a:cubicBezTo>
                  <a:cubicBezTo>
                    <a:pt x="13" y="56"/>
                    <a:pt x="13" y="57"/>
                    <a:pt x="13" y="59"/>
                  </a:cubicBezTo>
                  <a:cubicBezTo>
                    <a:pt x="13" y="60"/>
                    <a:pt x="14" y="61"/>
                    <a:pt x="14" y="63"/>
                  </a:cubicBezTo>
                  <a:cubicBezTo>
                    <a:pt x="14" y="64"/>
                    <a:pt x="14" y="65"/>
                    <a:pt x="14" y="67"/>
                  </a:cubicBezTo>
                  <a:cubicBezTo>
                    <a:pt x="14" y="69"/>
                    <a:pt x="16" y="71"/>
                    <a:pt x="17" y="73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9" name="Freeform 129"/>
            <p:cNvSpPr>
              <a:spLocks noChangeAspect="1"/>
            </p:cNvSpPr>
            <p:nvPr/>
          </p:nvSpPr>
          <p:spPr bwMode="auto">
            <a:xfrm>
              <a:off x="6737350" y="3403600"/>
              <a:ext cx="215900" cy="522288"/>
            </a:xfrm>
            <a:custGeom>
              <a:avLst/>
              <a:gdLst>
                <a:gd name="T0" fmla="*/ 192973 w 113"/>
                <a:gd name="T1" fmla="*/ 196335 h 274"/>
                <a:gd name="T2" fmla="*/ 164313 w 113"/>
                <a:gd name="T3" fmla="*/ 184898 h 274"/>
                <a:gd name="T4" fmla="*/ 170045 w 113"/>
                <a:gd name="T5" fmla="*/ 158211 h 274"/>
                <a:gd name="T6" fmla="*/ 158581 w 113"/>
                <a:gd name="T7" fmla="*/ 123900 h 274"/>
                <a:gd name="T8" fmla="*/ 122280 w 113"/>
                <a:gd name="T9" fmla="*/ 129619 h 274"/>
                <a:gd name="T10" fmla="*/ 129922 w 113"/>
                <a:gd name="T11" fmla="*/ 91496 h 274"/>
                <a:gd name="T12" fmla="*/ 145207 w 113"/>
                <a:gd name="T13" fmla="*/ 64809 h 274"/>
                <a:gd name="T14" fmla="*/ 129922 w 113"/>
                <a:gd name="T15" fmla="*/ 26686 h 274"/>
                <a:gd name="T16" fmla="*/ 110816 w 113"/>
                <a:gd name="T17" fmla="*/ 9531 h 274"/>
                <a:gd name="T18" fmla="*/ 99352 w 113"/>
                <a:gd name="T19" fmla="*/ 28592 h 274"/>
                <a:gd name="T20" fmla="*/ 91710 w 113"/>
                <a:gd name="T21" fmla="*/ 34311 h 274"/>
                <a:gd name="T22" fmla="*/ 61140 w 113"/>
                <a:gd name="T23" fmla="*/ 53372 h 274"/>
                <a:gd name="T24" fmla="*/ 64961 w 113"/>
                <a:gd name="T25" fmla="*/ 72434 h 274"/>
                <a:gd name="T26" fmla="*/ 49676 w 113"/>
                <a:gd name="T27" fmla="*/ 89590 h 274"/>
                <a:gd name="T28" fmla="*/ 38212 w 113"/>
                <a:gd name="T29" fmla="*/ 133431 h 274"/>
                <a:gd name="T30" fmla="*/ 28659 w 113"/>
                <a:gd name="T31" fmla="*/ 141056 h 274"/>
                <a:gd name="T32" fmla="*/ 22927 w 113"/>
                <a:gd name="T33" fmla="*/ 177273 h 274"/>
                <a:gd name="T34" fmla="*/ 9553 w 113"/>
                <a:gd name="T35" fmla="*/ 188710 h 274"/>
                <a:gd name="T36" fmla="*/ 1911 w 113"/>
                <a:gd name="T37" fmla="*/ 215396 h 274"/>
                <a:gd name="T38" fmla="*/ 17196 w 113"/>
                <a:gd name="T39" fmla="*/ 234458 h 274"/>
                <a:gd name="T40" fmla="*/ 43944 w 113"/>
                <a:gd name="T41" fmla="*/ 247801 h 274"/>
                <a:gd name="T42" fmla="*/ 57319 w 113"/>
                <a:gd name="T43" fmla="*/ 276393 h 274"/>
                <a:gd name="T44" fmla="*/ 63050 w 113"/>
                <a:gd name="T45" fmla="*/ 335484 h 274"/>
                <a:gd name="T46" fmla="*/ 70693 w 113"/>
                <a:gd name="T47" fmla="*/ 341203 h 274"/>
                <a:gd name="T48" fmla="*/ 82157 w 113"/>
                <a:gd name="T49" fmla="*/ 350734 h 274"/>
                <a:gd name="T50" fmla="*/ 91710 w 113"/>
                <a:gd name="T51" fmla="*/ 356452 h 274"/>
                <a:gd name="T52" fmla="*/ 108905 w 113"/>
                <a:gd name="T53" fmla="*/ 341203 h 274"/>
                <a:gd name="T54" fmla="*/ 118458 w 113"/>
                <a:gd name="T55" fmla="*/ 331672 h 274"/>
                <a:gd name="T56" fmla="*/ 133743 w 113"/>
                <a:gd name="T57" fmla="*/ 335484 h 274"/>
                <a:gd name="T58" fmla="*/ 145207 w 113"/>
                <a:gd name="T59" fmla="*/ 369795 h 274"/>
                <a:gd name="T60" fmla="*/ 156671 w 113"/>
                <a:gd name="T61" fmla="*/ 421261 h 274"/>
                <a:gd name="T62" fmla="*/ 175777 w 113"/>
                <a:gd name="T63" fmla="*/ 451760 h 274"/>
                <a:gd name="T64" fmla="*/ 179598 w 113"/>
                <a:gd name="T65" fmla="*/ 478446 h 274"/>
                <a:gd name="T66" fmla="*/ 168135 w 113"/>
                <a:gd name="T67" fmla="*/ 505133 h 274"/>
                <a:gd name="T68" fmla="*/ 177688 w 113"/>
                <a:gd name="T69" fmla="*/ 499414 h 274"/>
                <a:gd name="T70" fmla="*/ 192973 w 113"/>
                <a:gd name="T71" fmla="*/ 459385 h 274"/>
                <a:gd name="T72" fmla="*/ 187241 w 113"/>
                <a:gd name="T73" fmla="*/ 421261 h 274"/>
                <a:gd name="T74" fmla="*/ 154760 w 113"/>
                <a:gd name="T75" fmla="*/ 377420 h 274"/>
                <a:gd name="T76" fmla="*/ 170045 w 113"/>
                <a:gd name="T77" fmla="*/ 350734 h 274"/>
                <a:gd name="T78" fmla="*/ 162403 w 113"/>
                <a:gd name="T79" fmla="*/ 331672 h 274"/>
                <a:gd name="T80" fmla="*/ 147118 w 113"/>
                <a:gd name="T81" fmla="*/ 301173 h 274"/>
                <a:gd name="T82" fmla="*/ 135654 w 113"/>
                <a:gd name="T83" fmla="*/ 280206 h 274"/>
                <a:gd name="T84" fmla="*/ 156671 w 113"/>
                <a:gd name="T85" fmla="*/ 255426 h 274"/>
                <a:gd name="T86" fmla="*/ 179598 w 113"/>
                <a:gd name="T87" fmla="*/ 242082 h 274"/>
                <a:gd name="T88" fmla="*/ 192973 w 113"/>
                <a:gd name="T89" fmla="*/ 232552 h 274"/>
                <a:gd name="T90" fmla="*/ 200615 w 113"/>
                <a:gd name="T91" fmla="*/ 211584 h 27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3"/>
                <a:gd name="T139" fmla="*/ 0 h 274"/>
                <a:gd name="T140" fmla="*/ 113 w 113"/>
                <a:gd name="T141" fmla="*/ 274 h 27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3" h="274">
                  <a:moveTo>
                    <a:pt x="112" y="103"/>
                  </a:moveTo>
                  <a:cubicBezTo>
                    <a:pt x="112" y="102"/>
                    <a:pt x="113" y="101"/>
                    <a:pt x="112" y="101"/>
                  </a:cubicBezTo>
                  <a:cubicBezTo>
                    <a:pt x="108" y="100"/>
                    <a:pt x="105" y="102"/>
                    <a:pt x="101" y="103"/>
                  </a:cubicBezTo>
                  <a:cubicBezTo>
                    <a:pt x="100" y="103"/>
                    <a:pt x="98" y="104"/>
                    <a:pt x="97" y="103"/>
                  </a:cubicBezTo>
                  <a:cubicBezTo>
                    <a:pt x="96" y="102"/>
                    <a:pt x="98" y="98"/>
                    <a:pt x="97" y="97"/>
                  </a:cubicBezTo>
                  <a:cubicBezTo>
                    <a:pt x="94" y="95"/>
                    <a:pt x="89" y="99"/>
                    <a:pt x="86" y="97"/>
                  </a:cubicBezTo>
                  <a:cubicBezTo>
                    <a:pt x="84" y="95"/>
                    <a:pt x="88" y="92"/>
                    <a:pt x="88" y="90"/>
                  </a:cubicBezTo>
                  <a:cubicBezTo>
                    <a:pt x="89" y="88"/>
                    <a:pt x="86" y="87"/>
                    <a:pt x="86" y="85"/>
                  </a:cubicBezTo>
                  <a:cubicBezTo>
                    <a:pt x="86" y="84"/>
                    <a:pt x="90" y="84"/>
                    <a:pt x="89" y="83"/>
                  </a:cubicBezTo>
                  <a:cubicBezTo>
                    <a:pt x="87" y="81"/>
                    <a:pt x="83" y="82"/>
                    <a:pt x="81" y="80"/>
                  </a:cubicBezTo>
                  <a:cubicBezTo>
                    <a:pt x="79" y="77"/>
                    <a:pt x="79" y="73"/>
                    <a:pt x="80" y="69"/>
                  </a:cubicBezTo>
                  <a:cubicBezTo>
                    <a:pt x="80" y="67"/>
                    <a:pt x="85" y="66"/>
                    <a:pt x="83" y="65"/>
                  </a:cubicBezTo>
                  <a:cubicBezTo>
                    <a:pt x="80" y="66"/>
                    <a:pt x="76" y="65"/>
                    <a:pt x="73" y="66"/>
                  </a:cubicBezTo>
                  <a:cubicBezTo>
                    <a:pt x="70" y="67"/>
                    <a:pt x="69" y="70"/>
                    <a:pt x="67" y="71"/>
                  </a:cubicBezTo>
                  <a:cubicBezTo>
                    <a:pt x="66" y="71"/>
                    <a:pt x="64" y="70"/>
                    <a:pt x="64" y="68"/>
                  </a:cubicBezTo>
                  <a:cubicBezTo>
                    <a:pt x="63" y="66"/>
                    <a:pt x="67" y="66"/>
                    <a:pt x="67" y="64"/>
                  </a:cubicBezTo>
                  <a:cubicBezTo>
                    <a:pt x="66" y="61"/>
                    <a:pt x="61" y="62"/>
                    <a:pt x="62" y="59"/>
                  </a:cubicBezTo>
                  <a:cubicBezTo>
                    <a:pt x="62" y="55"/>
                    <a:pt x="66" y="53"/>
                    <a:pt x="68" y="48"/>
                  </a:cubicBezTo>
                  <a:cubicBezTo>
                    <a:pt x="70" y="45"/>
                    <a:pt x="74" y="44"/>
                    <a:pt x="75" y="40"/>
                  </a:cubicBezTo>
                  <a:cubicBezTo>
                    <a:pt x="76" y="38"/>
                    <a:pt x="73" y="37"/>
                    <a:pt x="73" y="34"/>
                  </a:cubicBezTo>
                  <a:cubicBezTo>
                    <a:pt x="73" y="34"/>
                    <a:pt x="75" y="35"/>
                    <a:pt x="76" y="34"/>
                  </a:cubicBezTo>
                  <a:cubicBezTo>
                    <a:pt x="76" y="32"/>
                    <a:pt x="74" y="30"/>
                    <a:pt x="74" y="28"/>
                  </a:cubicBezTo>
                  <a:cubicBezTo>
                    <a:pt x="73" y="23"/>
                    <a:pt x="74" y="18"/>
                    <a:pt x="72" y="14"/>
                  </a:cubicBezTo>
                  <a:cubicBezTo>
                    <a:pt x="72" y="13"/>
                    <a:pt x="69" y="15"/>
                    <a:pt x="68" y="14"/>
                  </a:cubicBezTo>
                  <a:cubicBezTo>
                    <a:pt x="66" y="12"/>
                    <a:pt x="67" y="8"/>
                    <a:pt x="66" y="5"/>
                  </a:cubicBezTo>
                  <a:cubicBezTo>
                    <a:pt x="64" y="3"/>
                    <a:pt x="62" y="0"/>
                    <a:pt x="59" y="0"/>
                  </a:cubicBezTo>
                  <a:cubicBezTo>
                    <a:pt x="58" y="0"/>
                    <a:pt x="58" y="4"/>
                    <a:pt x="58" y="5"/>
                  </a:cubicBezTo>
                  <a:cubicBezTo>
                    <a:pt x="57" y="7"/>
                    <a:pt x="57" y="8"/>
                    <a:pt x="56" y="9"/>
                  </a:cubicBezTo>
                  <a:cubicBezTo>
                    <a:pt x="55" y="11"/>
                    <a:pt x="53" y="10"/>
                    <a:pt x="52" y="11"/>
                  </a:cubicBezTo>
                  <a:cubicBezTo>
                    <a:pt x="51" y="12"/>
                    <a:pt x="51" y="14"/>
                    <a:pt x="52" y="15"/>
                  </a:cubicBezTo>
                  <a:cubicBezTo>
                    <a:pt x="52" y="17"/>
                    <a:pt x="55" y="18"/>
                    <a:pt x="55" y="20"/>
                  </a:cubicBezTo>
                  <a:cubicBezTo>
                    <a:pt x="55" y="21"/>
                    <a:pt x="53" y="20"/>
                    <a:pt x="52" y="20"/>
                  </a:cubicBezTo>
                  <a:cubicBezTo>
                    <a:pt x="50" y="20"/>
                    <a:pt x="49" y="18"/>
                    <a:pt x="48" y="18"/>
                  </a:cubicBezTo>
                  <a:cubicBezTo>
                    <a:pt x="46" y="18"/>
                    <a:pt x="44" y="19"/>
                    <a:pt x="42" y="20"/>
                  </a:cubicBezTo>
                  <a:cubicBezTo>
                    <a:pt x="40" y="22"/>
                    <a:pt x="39" y="24"/>
                    <a:pt x="37" y="26"/>
                  </a:cubicBezTo>
                  <a:cubicBezTo>
                    <a:pt x="35" y="27"/>
                    <a:pt x="33" y="27"/>
                    <a:pt x="32" y="28"/>
                  </a:cubicBezTo>
                  <a:cubicBezTo>
                    <a:pt x="31" y="29"/>
                    <a:pt x="32" y="30"/>
                    <a:pt x="32" y="32"/>
                  </a:cubicBezTo>
                  <a:cubicBezTo>
                    <a:pt x="32" y="33"/>
                    <a:pt x="31" y="34"/>
                    <a:pt x="32" y="36"/>
                  </a:cubicBezTo>
                  <a:cubicBezTo>
                    <a:pt x="32" y="36"/>
                    <a:pt x="34" y="37"/>
                    <a:pt x="34" y="38"/>
                  </a:cubicBezTo>
                  <a:cubicBezTo>
                    <a:pt x="33" y="39"/>
                    <a:pt x="31" y="39"/>
                    <a:pt x="30" y="40"/>
                  </a:cubicBezTo>
                  <a:cubicBezTo>
                    <a:pt x="30" y="42"/>
                    <a:pt x="31" y="43"/>
                    <a:pt x="30" y="44"/>
                  </a:cubicBezTo>
                  <a:cubicBezTo>
                    <a:pt x="29" y="46"/>
                    <a:pt x="26" y="45"/>
                    <a:pt x="26" y="47"/>
                  </a:cubicBezTo>
                  <a:cubicBezTo>
                    <a:pt x="26" y="49"/>
                    <a:pt x="30" y="50"/>
                    <a:pt x="29" y="51"/>
                  </a:cubicBezTo>
                  <a:cubicBezTo>
                    <a:pt x="27" y="57"/>
                    <a:pt x="25" y="63"/>
                    <a:pt x="23" y="69"/>
                  </a:cubicBezTo>
                  <a:cubicBezTo>
                    <a:pt x="23" y="70"/>
                    <a:pt x="21" y="70"/>
                    <a:pt x="20" y="70"/>
                  </a:cubicBezTo>
                  <a:cubicBezTo>
                    <a:pt x="18" y="69"/>
                    <a:pt x="16" y="67"/>
                    <a:pt x="14" y="67"/>
                  </a:cubicBezTo>
                  <a:cubicBezTo>
                    <a:pt x="13" y="66"/>
                    <a:pt x="12" y="67"/>
                    <a:pt x="12" y="68"/>
                  </a:cubicBezTo>
                  <a:cubicBezTo>
                    <a:pt x="13" y="70"/>
                    <a:pt x="14" y="72"/>
                    <a:pt x="15" y="74"/>
                  </a:cubicBezTo>
                  <a:cubicBezTo>
                    <a:pt x="15" y="77"/>
                    <a:pt x="16" y="80"/>
                    <a:pt x="15" y="83"/>
                  </a:cubicBezTo>
                  <a:cubicBezTo>
                    <a:pt x="15" y="83"/>
                    <a:pt x="12" y="82"/>
                    <a:pt x="12" y="83"/>
                  </a:cubicBezTo>
                  <a:cubicBezTo>
                    <a:pt x="11" y="86"/>
                    <a:pt x="12" y="90"/>
                    <a:pt x="12" y="93"/>
                  </a:cubicBezTo>
                  <a:cubicBezTo>
                    <a:pt x="12" y="95"/>
                    <a:pt x="11" y="97"/>
                    <a:pt x="10" y="99"/>
                  </a:cubicBezTo>
                  <a:cubicBezTo>
                    <a:pt x="10" y="100"/>
                    <a:pt x="9" y="99"/>
                    <a:pt x="8" y="99"/>
                  </a:cubicBezTo>
                  <a:cubicBezTo>
                    <a:pt x="7" y="99"/>
                    <a:pt x="6" y="99"/>
                    <a:pt x="5" y="99"/>
                  </a:cubicBezTo>
                  <a:cubicBezTo>
                    <a:pt x="6" y="103"/>
                    <a:pt x="9" y="107"/>
                    <a:pt x="7" y="111"/>
                  </a:cubicBezTo>
                  <a:cubicBezTo>
                    <a:pt x="6" y="112"/>
                    <a:pt x="3" y="106"/>
                    <a:pt x="1" y="107"/>
                  </a:cubicBezTo>
                  <a:cubicBezTo>
                    <a:pt x="0" y="108"/>
                    <a:pt x="1" y="111"/>
                    <a:pt x="1" y="113"/>
                  </a:cubicBezTo>
                  <a:cubicBezTo>
                    <a:pt x="2" y="113"/>
                    <a:pt x="4" y="112"/>
                    <a:pt x="5" y="113"/>
                  </a:cubicBezTo>
                  <a:cubicBezTo>
                    <a:pt x="6" y="114"/>
                    <a:pt x="5" y="116"/>
                    <a:pt x="6" y="118"/>
                  </a:cubicBezTo>
                  <a:cubicBezTo>
                    <a:pt x="7" y="120"/>
                    <a:pt x="7" y="122"/>
                    <a:pt x="9" y="123"/>
                  </a:cubicBezTo>
                  <a:cubicBezTo>
                    <a:pt x="10" y="123"/>
                    <a:pt x="11" y="122"/>
                    <a:pt x="12" y="123"/>
                  </a:cubicBezTo>
                  <a:cubicBezTo>
                    <a:pt x="14" y="124"/>
                    <a:pt x="15" y="126"/>
                    <a:pt x="17" y="127"/>
                  </a:cubicBezTo>
                  <a:cubicBezTo>
                    <a:pt x="19" y="128"/>
                    <a:pt x="22" y="128"/>
                    <a:pt x="23" y="130"/>
                  </a:cubicBezTo>
                  <a:cubicBezTo>
                    <a:pt x="24" y="131"/>
                    <a:pt x="23" y="134"/>
                    <a:pt x="24" y="136"/>
                  </a:cubicBezTo>
                  <a:cubicBezTo>
                    <a:pt x="25" y="137"/>
                    <a:pt x="28" y="137"/>
                    <a:pt x="29" y="139"/>
                  </a:cubicBezTo>
                  <a:cubicBezTo>
                    <a:pt x="30" y="141"/>
                    <a:pt x="29" y="143"/>
                    <a:pt x="30" y="145"/>
                  </a:cubicBezTo>
                  <a:cubicBezTo>
                    <a:pt x="31" y="149"/>
                    <a:pt x="32" y="152"/>
                    <a:pt x="33" y="155"/>
                  </a:cubicBezTo>
                  <a:cubicBezTo>
                    <a:pt x="33" y="158"/>
                    <a:pt x="32" y="160"/>
                    <a:pt x="32" y="163"/>
                  </a:cubicBezTo>
                  <a:cubicBezTo>
                    <a:pt x="32" y="167"/>
                    <a:pt x="33" y="172"/>
                    <a:pt x="33" y="176"/>
                  </a:cubicBezTo>
                  <a:cubicBezTo>
                    <a:pt x="32" y="178"/>
                    <a:pt x="32" y="179"/>
                    <a:pt x="32" y="180"/>
                  </a:cubicBezTo>
                  <a:cubicBezTo>
                    <a:pt x="31" y="183"/>
                    <a:pt x="30" y="185"/>
                    <a:pt x="32" y="187"/>
                  </a:cubicBezTo>
                  <a:cubicBezTo>
                    <a:pt x="35" y="185"/>
                    <a:pt x="34" y="179"/>
                    <a:pt x="37" y="179"/>
                  </a:cubicBezTo>
                  <a:cubicBezTo>
                    <a:pt x="40" y="179"/>
                    <a:pt x="37" y="184"/>
                    <a:pt x="38" y="187"/>
                  </a:cubicBezTo>
                  <a:cubicBezTo>
                    <a:pt x="38" y="188"/>
                    <a:pt x="40" y="189"/>
                    <a:pt x="41" y="189"/>
                  </a:cubicBezTo>
                  <a:cubicBezTo>
                    <a:pt x="43" y="188"/>
                    <a:pt x="42" y="185"/>
                    <a:pt x="43" y="184"/>
                  </a:cubicBezTo>
                  <a:cubicBezTo>
                    <a:pt x="44" y="184"/>
                    <a:pt x="44" y="186"/>
                    <a:pt x="45" y="187"/>
                  </a:cubicBezTo>
                  <a:cubicBezTo>
                    <a:pt x="46" y="187"/>
                    <a:pt x="46" y="185"/>
                    <a:pt x="47" y="185"/>
                  </a:cubicBezTo>
                  <a:cubicBezTo>
                    <a:pt x="48" y="185"/>
                    <a:pt x="47" y="187"/>
                    <a:pt x="48" y="187"/>
                  </a:cubicBezTo>
                  <a:cubicBezTo>
                    <a:pt x="51" y="186"/>
                    <a:pt x="53" y="184"/>
                    <a:pt x="54" y="181"/>
                  </a:cubicBezTo>
                  <a:cubicBezTo>
                    <a:pt x="55" y="180"/>
                    <a:pt x="52" y="180"/>
                    <a:pt x="53" y="179"/>
                  </a:cubicBezTo>
                  <a:cubicBezTo>
                    <a:pt x="54" y="178"/>
                    <a:pt x="56" y="180"/>
                    <a:pt x="57" y="179"/>
                  </a:cubicBezTo>
                  <a:cubicBezTo>
                    <a:pt x="58" y="177"/>
                    <a:pt x="54" y="175"/>
                    <a:pt x="55" y="174"/>
                  </a:cubicBezTo>
                  <a:cubicBezTo>
                    <a:pt x="57" y="173"/>
                    <a:pt x="57" y="177"/>
                    <a:pt x="59" y="177"/>
                  </a:cubicBezTo>
                  <a:cubicBezTo>
                    <a:pt x="61" y="177"/>
                    <a:pt x="62" y="175"/>
                    <a:pt x="62" y="174"/>
                  </a:cubicBezTo>
                  <a:cubicBezTo>
                    <a:pt x="63" y="171"/>
                    <a:pt x="61" y="167"/>
                    <a:pt x="63" y="165"/>
                  </a:cubicBezTo>
                  <a:cubicBezTo>
                    <a:pt x="64" y="163"/>
                    <a:pt x="66" y="167"/>
                    <a:pt x="67" y="168"/>
                  </a:cubicBezTo>
                  <a:cubicBezTo>
                    <a:pt x="68" y="171"/>
                    <a:pt x="69" y="174"/>
                    <a:pt x="70" y="176"/>
                  </a:cubicBezTo>
                  <a:cubicBezTo>
                    <a:pt x="71" y="179"/>
                    <a:pt x="71" y="181"/>
                    <a:pt x="73" y="183"/>
                  </a:cubicBezTo>
                  <a:cubicBezTo>
                    <a:pt x="74" y="184"/>
                    <a:pt x="75" y="180"/>
                    <a:pt x="76" y="181"/>
                  </a:cubicBezTo>
                  <a:cubicBezTo>
                    <a:pt x="77" y="185"/>
                    <a:pt x="76" y="190"/>
                    <a:pt x="76" y="194"/>
                  </a:cubicBezTo>
                  <a:cubicBezTo>
                    <a:pt x="77" y="198"/>
                    <a:pt x="77" y="202"/>
                    <a:pt x="78" y="206"/>
                  </a:cubicBezTo>
                  <a:cubicBezTo>
                    <a:pt x="79" y="209"/>
                    <a:pt x="81" y="210"/>
                    <a:pt x="81" y="212"/>
                  </a:cubicBezTo>
                  <a:cubicBezTo>
                    <a:pt x="82" y="215"/>
                    <a:pt x="80" y="218"/>
                    <a:pt x="82" y="221"/>
                  </a:cubicBezTo>
                  <a:cubicBezTo>
                    <a:pt x="83" y="222"/>
                    <a:pt x="83" y="215"/>
                    <a:pt x="84" y="216"/>
                  </a:cubicBezTo>
                  <a:cubicBezTo>
                    <a:pt x="87" y="220"/>
                    <a:pt x="87" y="224"/>
                    <a:pt x="89" y="228"/>
                  </a:cubicBezTo>
                  <a:cubicBezTo>
                    <a:pt x="90" y="231"/>
                    <a:pt x="92" y="234"/>
                    <a:pt x="92" y="237"/>
                  </a:cubicBezTo>
                  <a:cubicBezTo>
                    <a:pt x="92" y="238"/>
                    <a:pt x="90" y="239"/>
                    <a:pt x="90" y="240"/>
                  </a:cubicBezTo>
                  <a:cubicBezTo>
                    <a:pt x="89" y="242"/>
                    <a:pt x="89" y="245"/>
                    <a:pt x="90" y="247"/>
                  </a:cubicBezTo>
                  <a:cubicBezTo>
                    <a:pt x="91" y="249"/>
                    <a:pt x="94" y="249"/>
                    <a:pt x="94" y="251"/>
                  </a:cubicBezTo>
                  <a:cubicBezTo>
                    <a:pt x="94" y="253"/>
                    <a:pt x="90" y="251"/>
                    <a:pt x="90" y="252"/>
                  </a:cubicBezTo>
                  <a:cubicBezTo>
                    <a:pt x="89" y="255"/>
                    <a:pt x="91" y="257"/>
                    <a:pt x="91" y="260"/>
                  </a:cubicBezTo>
                  <a:cubicBezTo>
                    <a:pt x="91" y="262"/>
                    <a:pt x="88" y="263"/>
                    <a:pt x="88" y="265"/>
                  </a:cubicBezTo>
                  <a:cubicBezTo>
                    <a:pt x="88" y="268"/>
                    <a:pt x="88" y="271"/>
                    <a:pt x="90" y="273"/>
                  </a:cubicBezTo>
                  <a:cubicBezTo>
                    <a:pt x="92" y="274"/>
                    <a:pt x="92" y="270"/>
                    <a:pt x="93" y="269"/>
                  </a:cubicBezTo>
                  <a:cubicBezTo>
                    <a:pt x="94" y="266"/>
                    <a:pt x="93" y="264"/>
                    <a:pt x="93" y="262"/>
                  </a:cubicBezTo>
                  <a:cubicBezTo>
                    <a:pt x="94" y="259"/>
                    <a:pt x="97" y="257"/>
                    <a:pt x="99" y="255"/>
                  </a:cubicBezTo>
                  <a:cubicBezTo>
                    <a:pt x="101" y="251"/>
                    <a:pt x="103" y="247"/>
                    <a:pt x="103" y="243"/>
                  </a:cubicBezTo>
                  <a:cubicBezTo>
                    <a:pt x="104" y="242"/>
                    <a:pt x="102" y="242"/>
                    <a:pt x="101" y="241"/>
                  </a:cubicBezTo>
                  <a:cubicBezTo>
                    <a:pt x="99" y="237"/>
                    <a:pt x="97" y="232"/>
                    <a:pt x="95" y="227"/>
                  </a:cubicBezTo>
                  <a:cubicBezTo>
                    <a:pt x="95" y="226"/>
                    <a:pt x="97" y="227"/>
                    <a:pt x="97" y="226"/>
                  </a:cubicBezTo>
                  <a:cubicBezTo>
                    <a:pt x="97" y="224"/>
                    <a:pt x="98" y="223"/>
                    <a:pt x="98" y="221"/>
                  </a:cubicBezTo>
                  <a:cubicBezTo>
                    <a:pt x="97" y="219"/>
                    <a:pt x="96" y="217"/>
                    <a:pt x="95" y="215"/>
                  </a:cubicBezTo>
                  <a:cubicBezTo>
                    <a:pt x="92" y="212"/>
                    <a:pt x="88" y="211"/>
                    <a:pt x="85" y="208"/>
                  </a:cubicBezTo>
                  <a:cubicBezTo>
                    <a:pt x="83" y="205"/>
                    <a:pt x="83" y="202"/>
                    <a:pt x="81" y="198"/>
                  </a:cubicBezTo>
                  <a:cubicBezTo>
                    <a:pt x="81" y="197"/>
                    <a:pt x="85" y="198"/>
                    <a:pt x="86" y="196"/>
                  </a:cubicBezTo>
                  <a:cubicBezTo>
                    <a:pt x="86" y="193"/>
                    <a:pt x="85" y="189"/>
                    <a:pt x="86" y="186"/>
                  </a:cubicBezTo>
                  <a:cubicBezTo>
                    <a:pt x="86" y="185"/>
                    <a:pt x="89" y="186"/>
                    <a:pt x="89" y="184"/>
                  </a:cubicBezTo>
                  <a:cubicBezTo>
                    <a:pt x="90" y="183"/>
                    <a:pt x="89" y="181"/>
                    <a:pt x="88" y="181"/>
                  </a:cubicBezTo>
                  <a:cubicBezTo>
                    <a:pt x="88" y="180"/>
                    <a:pt x="86" y="182"/>
                    <a:pt x="85" y="181"/>
                  </a:cubicBezTo>
                  <a:cubicBezTo>
                    <a:pt x="84" y="179"/>
                    <a:pt x="86" y="176"/>
                    <a:pt x="85" y="174"/>
                  </a:cubicBezTo>
                  <a:cubicBezTo>
                    <a:pt x="85" y="173"/>
                    <a:pt x="83" y="173"/>
                    <a:pt x="82" y="172"/>
                  </a:cubicBezTo>
                  <a:cubicBezTo>
                    <a:pt x="80" y="167"/>
                    <a:pt x="78" y="162"/>
                    <a:pt x="75" y="158"/>
                  </a:cubicBezTo>
                  <a:cubicBezTo>
                    <a:pt x="75" y="158"/>
                    <a:pt x="77" y="159"/>
                    <a:pt x="77" y="158"/>
                  </a:cubicBezTo>
                  <a:cubicBezTo>
                    <a:pt x="77" y="155"/>
                    <a:pt x="76" y="153"/>
                    <a:pt x="74" y="151"/>
                  </a:cubicBezTo>
                  <a:cubicBezTo>
                    <a:pt x="73" y="150"/>
                    <a:pt x="72" y="152"/>
                    <a:pt x="71" y="151"/>
                  </a:cubicBezTo>
                  <a:cubicBezTo>
                    <a:pt x="70" y="150"/>
                    <a:pt x="70" y="148"/>
                    <a:pt x="71" y="147"/>
                  </a:cubicBezTo>
                  <a:cubicBezTo>
                    <a:pt x="71" y="146"/>
                    <a:pt x="74" y="148"/>
                    <a:pt x="74" y="147"/>
                  </a:cubicBezTo>
                  <a:cubicBezTo>
                    <a:pt x="76" y="142"/>
                    <a:pt x="74" y="136"/>
                    <a:pt x="76" y="132"/>
                  </a:cubicBezTo>
                  <a:cubicBezTo>
                    <a:pt x="77" y="130"/>
                    <a:pt x="80" y="134"/>
                    <a:pt x="82" y="134"/>
                  </a:cubicBezTo>
                  <a:cubicBezTo>
                    <a:pt x="84" y="134"/>
                    <a:pt x="87" y="133"/>
                    <a:pt x="88" y="131"/>
                  </a:cubicBezTo>
                  <a:cubicBezTo>
                    <a:pt x="89" y="130"/>
                    <a:pt x="87" y="128"/>
                    <a:pt x="88" y="127"/>
                  </a:cubicBezTo>
                  <a:cubicBezTo>
                    <a:pt x="90" y="126"/>
                    <a:pt x="92" y="128"/>
                    <a:pt x="94" y="127"/>
                  </a:cubicBezTo>
                  <a:cubicBezTo>
                    <a:pt x="95" y="127"/>
                    <a:pt x="93" y="124"/>
                    <a:pt x="94" y="123"/>
                  </a:cubicBezTo>
                  <a:cubicBezTo>
                    <a:pt x="95" y="122"/>
                    <a:pt x="96" y="122"/>
                    <a:pt x="98" y="122"/>
                  </a:cubicBezTo>
                  <a:cubicBezTo>
                    <a:pt x="99" y="122"/>
                    <a:pt x="100" y="122"/>
                    <a:pt x="101" y="122"/>
                  </a:cubicBezTo>
                  <a:cubicBezTo>
                    <a:pt x="101" y="120"/>
                    <a:pt x="101" y="118"/>
                    <a:pt x="102" y="116"/>
                  </a:cubicBezTo>
                  <a:cubicBezTo>
                    <a:pt x="103" y="115"/>
                    <a:pt x="107" y="116"/>
                    <a:pt x="108" y="115"/>
                  </a:cubicBezTo>
                  <a:cubicBezTo>
                    <a:pt x="108" y="113"/>
                    <a:pt x="105" y="113"/>
                    <a:pt x="105" y="111"/>
                  </a:cubicBezTo>
                  <a:cubicBezTo>
                    <a:pt x="105" y="109"/>
                    <a:pt x="106" y="107"/>
                    <a:pt x="108" y="105"/>
                  </a:cubicBezTo>
                  <a:cubicBezTo>
                    <a:pt x="109" y="104"/>
                    <a:pt x="111" y="104"/>
                    <a:pt x="112" y="103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0" name="Freeform 130"/>
            <p:cNvSpPr>
              <a:spLocks noChangeAspect="1"/>
            </p:cNvSpPr>
            <p:nvPr/>
          </p:nvSpPr>
          <p:spPr bwMode="auto">
            <a:xfrm>
              <a:off x="7189788" y="4005263"/>
              <a:ext cx="231775" cy="166687"/>
            </a:xfrm>
            <a:custGeom>
              <a:avLst/>
              <a:gdLst>
                <a:gd name="T0" fmla="*/ 195679 w 122"/>
                <a:gd name="T1" fmla="*/ 82386 h 87"/>
                <a:gd name="T2" fmla="*/ 212777 w 122"/>
                <a:gd name="T3" fmla="*/ 76638 h 87"/>
                <a:gd name="T4" fmla="*/ 205178 w 122"/>
                <a:gd name="T5" fmla="*/ 70890 h 87"/>
                <a:gd name="T6" fmla="*/ 197579 w 122"/>
                <a:gd name="T7" fmla="*/ 63226 h 87"/>
                <a:gd name="T8" fmla="*/ 197579 w 122"/>
                <a:gd name="T9" fmla="*/ 57478 h 87"/>
                <a:gd name="T10" fmla="*/ 210877 w 122"/>
                <a:gd name="T11" fmla="*/ 59394 h 87"/>
                <a:gd name="T12" fmla="*/ 227975 w 122"/>
                <a:gd name="T13" fmla="*/ 53646 h 87"/>
                <a:gd name="T14" fmla="*/ 229875 w 122"/>
                <a:gd name="T15" fmla="*/ 44067 h 87"/>
                <a:gd name="T16" fmla="*/ 222276 w 122"/>
                <a:gd name="T17" fmla="*/ 42151 h 87"/>
                <a:gd name="T18" fmla="*/ 208977 w 122"/>
                <a:gd name="T19" fmla="*/ 38319 h 87"/>
                <a:gd name="T20" fmla="*/ 199478 w 122"/>
                <a:gd name="T21" fmla="*/ 44067 h 87"/>
                <a:gd name="T22" fmla="*/ 188080 w 122"/>
                <a:gd name="T23" fmla="*/ 40235 h 87"/>
                <a:gd name="T24" fmla="*/ 186180 w 122"/>
                <a:gd name="T25" fmla="*/ 24907 h 87"/>
                <a:gd name="T26" fmla="*/ 189980 w 122"/>
                <a:gd name="T27" fmla="*/ 19159 h 87"/>
                <a:gd name="T28" fmla="*/ 182380 w 122"/>
                <a:gd name="T29" fmla="*/ 17243 h 87"/>
                <a:gd name="T30" fmla="*/ 172881 w 122"/>
                <a:gd name="T31" fmla="*/ 5748 h 87"/>
                <a:gd name="T32" fmla="*/ 167182 w 122"/>
                <a:gd name="T33" fmla="*/ 11496 h 87"/>
                <a:gd name="T34" fmla="*/ 159583 w 122"/>
                <a:gd name="T35" fmla="*/ 1916 h 87"/>
                <a:gd name="T36" fmla="*/ 151984 w 122"/>
                <a:gd name="T37" fmla="*/ 22991 h 87"/>
                <a:gd name="T38" fmla="*/ 144384 w 122"/>
                <a:gd name="T39" fmla="*/ 44067 h 87"/>
                <a:gd name="T40" fmla="*/ 134885 w 122"/>
                <a:gd name="T41" fmla="*/ 44067 h 87"/>
                <a:gd name="T42" fmla="*/ 132986 w 122"/>
                <a:gd name="T43" fmla="*/ 49815 h 87"/>
                <a:gd name="T44" fmla="*/ 138685 w 122"/>
                <a:gd name="T45" fmla="*/ 51730 h 87"/>
                <a:gd name="T46" fmla="*/ 138685 w 122"/>
                <a:gd name="T47" fmla="*/ 57478 h 87"/>
                <a:gd name="T48" fmla="*/ 123487 w 122"/>
                <a:gd name="T49" fmla="*/ 59394 h 87"/>
                <a:gd name="T50" fmla="*/ 102589 w 122"/>
                <a:gd name="T51" fmla="*/ 67058 h 87"/>
                <a:gd name="T52" fmla="*/ 102589 w 122"/>
                <a:gd name="T53" fmla="*/ 80470 h 87"/>
                <a:gd name="T54" fmla="*/ 70292 w 122"/>
                <a:gd name="T55" fmla="*/ 107293 h 87"/>
                <a:gd name="T56" fmla="*/ 47495 w 122"/>
                <a:gd name="T57" fmla="*/ 113041 h 87"/>
                <a:gd name="T58" fmla="*/ 43695 w 122"/>
                <a:gd name="T59" fmla="*/ 126452 h 87"/>
                <a:gd name="T60" fmla="*/ 36096 w 122"/>
                <a:gd name="T61" fmla="*/ 124536 h 87"/>
                <a:gd name="T62" fmla="*/ 39896 w 122"/>
                <a:gd name="T63" fmla="*/ 134116 h 87"/>
                <a:gd name="T64" fmla="*/ 30397 w 122"/>
                <a:gd name="T65" fmla="*/ 149444 h 87"/>
                <a:gd name="T66" fmla="*/ 17098 w 122"/>
                <a:gd name="T67" fmla="*/ 141780 h 87"/>
                <a:gd name="T68" fmla="*/ 15198 w 122"/>
                <a:gd name="T69" fmla="*/ 143696 h 87"/>
                <a:gd name="T70" fmla="*/ 7599 w 122"/>
                <a:gd name="T71" fmla="*/ 143696 h 87"/>
                <a:gd name="T72" fmla="*/ 0 w 122"/>
                <a:gd name="T73" fmla="*/ 134116 h 87"/>
                <a:gd name="T74" fmla="*/ 3800 w 122"/>
                <a:gd name="T75" fmla="*/ 149444 h 87"/>
                <a:gd name="T76" fmla="*/ 20898 w 122"/>
                <a:gd name="T77" fmla="*/ 160939 h 87"/>
                <a:gd name="T78" fmla="*/ 24697 w 122"/>
                <a:gd name="T79" fmla="*/ 166687 h 87"/>
                <a:gd name="T80" fmla="*/ 36096 w 122"/>
                <a:gd name="T81" fmla="*/ 160939 h 87"/>
                <a:gd name="T82" fmla="*/ 53194 w 122"/>
                <a:gd name="T83" fmla="*/ 164771 h 87"/>
                <a:gd name="T84" fmla="*/ 62693 w 122"/>
                <a:gd name="T85" fmla="*/ 159023 h 87"/>
                <a:gd name="T86" fmla="*/ 62693 w 122"/>
                <a:gd name="T87" fmla="*/ 151359 h 87"/>
                <a:gd name="T88" fmla="*/ 79791 w 122"/>
                <a:gd name="T89" fmla="*/ 149444 h 87"/>
                <a:gd name="T90" fmla="*/ 77892 w 122"/>
                <a:gd name="T91" fmla="*/ 153275 h 87"/>
                <a:gd name="T92" fmla="*/ 85491 w 122"/>
                <a:gd name="T93" fmla="*/ 151359 h 87"/>
                <a:gd name="T94" fmla="*/ 94990 w 122"/>
                <a:gd name="T95" fmla="*/ 159023 h 87"/>
                <a:gd name="T96" fmla="*/ 102589 w 122"/>
                <a:gd name="T97" fmla="*/ 151359 h 87"/>
                <a:gd name="T98" fmla="*/ 117787 w 122"/>
                <a:gd name="T99" fmla="*/ 151359 h 87"/>
                <a:gd name="T100" fmla="*/ 117787 w 122"/>
                <a:gd name="T101" fmla="*/ 141780 h 87"/>
                <a:gd name="T102" fmla="*/ 131086 w 122"/>
                <a:gd name="T103" fmla="*/ 118788 h 87"/>
                <a:gd name="T104" fmla="*/ 142485 w 122"/>
                <a:gd name="T105" fmla="*/ 101545 h 87"/>
                <a:gd name="T106" fmla="*/ 142485 w 122"/>
                <a:gd name="T107" fmla="*/ 80470 h 87"/>
                <a:gd name="T108" fmla="*/ 159583 w 122"/>
                <a:gd name="T109" fmla="*/ 74722 h 87"/>
                <a:gd name="T110" fmla="*/ 169082 w 122"/>
                <a:gd name="T111" fmla="*/ 80470 h 87"/>
                <a:gd name="T112" fmla="*/ 182380 w 122"/>
                <a:gd name="T113" fmla="*/ 76638 h 87"/>
                <a:gd name="T114" fmla="*/ 195679 w 122"/>
                <a:gd name="T115" fmla="*/ 82386 h 8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2"/>
                <a:gd name="T175" fmla="*/ 0 h 87"/>
                <a:gd name="T176" fmla="*/ 122 w 122"/>
                <a:gd name="T177" fmla="*/ 87 h 8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2" h="87">
                  <a:moveTo>
                    <a:pt x="103" y="43"/>
                  </a:moveTo>
                  <a:cubicBezTo>
                    <a:pt x="106" y="42"/>
                    <a:pt x="110" y="43"/>
                    <a:pt x="112" y="40"/>
                  </a:cubicBezTo>
                  <a:cubicBezTo>
                    <a:pt x="113" y="39"/>
                    <a:pt x="109" y="38"/>
                    <a:pt x="108" y="37"/>
                  </a:cubicBezTo>
                  <a:cubicBezTo>
                    <a:pt x="106" y="36"/>
                    <a:pt x="105" y="35"/>
                    <a:pt x="104" y="33"/>
                  </a:cubicBezTo>
                  <a:cubicBezTo>
                    <a:pt x="104" y="32"/>
                    <a:pt x="103" y="31"/>
                    <a:pt x="104" y="30"/>
                  </a:cubicBezTo>
                  <a:cubicBezTo>
                    <a:pt x="106" y="29"/>
                    <a:pt x="109" y="31"/>
                    <a:pt x="111" y="31"/>
                  </a:cubicBezTo>
                  <a:cubicBezTo>
                    <a:pt x="114" y="30"/>
                    <a:pt x="118" y="30"/>
                    <a:pt x="120" y="28"/>
                  </a:cubicBezTo>
                  <a:cubicBezTo>
                    <a:pt x="122" y="27"/>
                    <a:pt x="122" y="24"/>
                    <a:pt x="121" y="23"/>
                  </a:cubicBezTo>
                  <a:cubicBezTo>
                    <a:pt x="120" y="21"/>
                    <a:pt x="118" y="22"/>
                    <a:pt x="117" y="22"/>
                  </a:cubicBezTo>
                  <a:cubicBezTo>
                    <a:pt x="115" y="21"/>
                    <a:pt x="113" y="20"/>
                    <a:pt x="110" y="20"/>
                  </a:cubicBezTo>
                  <a:cubicBezTo>
                    <a:pt x="108" y="20"/>
                    <a:pt x="107" y="23"/>
                    <a:pt x="105" y="23"/>
                  </a:cubicBezTo>
                  <a:cubicBezTo>
                    <a:pt x="103" y="24"/>
                    <a:pt x="100" y="23"/>
                    <a:pt x="99" y="21"/>
                  </a:cubicBezTo>
                  <a:cubicBezTo>
                    <a:pt x="97" y="19"/>
                    <a:pt x="98" y="16"/>
                    <a:pt x="98" y="13"/>
                  </a:cubicBezTo>
                  <a:cubicBezTo>
                    <a:pt x="98" y="12"/>
                    <a:pt x="101" y="11"/>
                    <a:pt x="100" y="10"/>
                  </a:cubicBezTo>
                  <a:cubicBezTo>
                    <a:pt x="100" y="8"/>
                    <a:pt x="97" y="10"/>
                    <a:pt x="96" y="9"/>
                  </a:cubicBezTo>
                  <a:cubicBezTo>
                    <a:pt x="94" y="7"/>
                    <a:pt x="94" y="3"/>
                    <a:pt x="91" y="3"/>
                  </a:cubicBezTo>
                  <a:cubicBezTo>
                    <a:pt x="90" y="2"/>
                    <a:pt x="89" y="6"/>
                    <a:pt x="88" y="6"/>
                  </a:cubicBezTo>
                  <a:cubicBezTo>
                    <a:pt x="86" y="5"/>
                    <a:pt x="85" y="0"/>
                    <a:pt x="84" y="1"/>
                  </a:cubicBezTo>
                  <a:cubicBezTo>
                    <a:pt x="81" y="4"/>
                    <a:pt x="81" y="9"/>
                    <a:pt x="80" y="12"/>
                  </a:cubicBezTo>
                  <a:cubicBezTo>
                    <a:pt x="79" y="16"/>
                    <a:pt x="78" y="20"/>
                    <a:pt x="76" y="23"/>
                  </a:cubicBezTo>
                  <a:cubicBezTo>
                    <a:pt x="75" y="25"/>
                    <a:pt x="72" y="22"/>
                    <a:pt x="71" y="23"/>
                  </a:cubicBezTo>
                  <a:cubicBezTo>
                    <a:pt x="70" y="23"/>
                    <a:pt x="70" y="25"/>
                    <a:pt x="70" y="26"/>
                  </a:cubicBezTo>
                  <a:cubicBezTo>
                    <a:pt x="71" y="27"/>
                    <a:pt x="72" y="26"/>
                    <a:pt x="73" y="27"/>
                  </a:cubicBezTo>
                  <a:cubicBezTo>
                    <a:pt x="74" y="28"/>
                    <a:pt x="74" y="30"/>
                    <a:pt x="73" y="30"/>
                  </a:cubicBezTo>
                  <a:cubicBezTo>
                    <a:pt x="70" y="31"/>
                    <a:pt x="68" y="31"/>
                    <a:pt x="65" y="31"/>
                  </a:cubicBezTo>
                  <a:cubicBezTo>
                    <a:pt x="61" y="32"/>
                    <a:pt x="57" y="32"/>
                    <a:pt x="54" y="35"/>
                  </a:cubicBezTo>
                  <a:cubicBezTo>
                    <a:pt x="52" y="37"/>
                    <a:pt x="55" y="40"/>
                    <a:pt x="54" y="42"/>
                  </a:cubicBezTo>
                  <a:cubicBezTo>
                    <a:pt x="49" y="47"/>
                    <a:pt x="43" y="52"/>
                    <a:pt x="37" y="56"/>
                  </a:cubicBezTo>
                  <a:cubicBezTo>
                    <a:pt x="34" y="58"/>
                    <a:pt x="29" y="57"/>
                    <a:pt x="25" y="59"/>
                  </a:cubicBezTo>
                  <a:cubicBezTo>
                    <a:pt x="23" y="61"/>
                    <a:pt x="25" y="65"/>
                    <a:pt x="23" y="66"/>
                  </a:cubicBezTo>
                  <a:cubicBezTo>
                    <a:pt x="22" y="67"/>
                    <a:pt x="20" y="64"/>
                    <a:pt x="19" y="65"/>
                  </a:cubicBezTo>
                  <a:cubicBezTo>
                    <a:pt x="18" y="66"/>
                    <a:pt x="21" y="68"/>
                    <a:pt x="21" y="70"/>
                  </a:cubicBezTo>
                  <a:cubicBezTo>
                    <a:pt x="20" y="73"/>
                    <a:pt x="19" y="76"/>
                    <a:pt x="16" y="78"/>
                  </a:cubicBezTo>
                  <a:cubicBezTo>
                    <a:pt x="13" y="78"/>
                    <a:pt x="12" y="75"/>
                    <a:pt x="9" y="74"/>
                  </a:cubicBezTo>
                  <a:cubicBezTo>
                    <a:pt x="9" y="74"/>
                    <a:pt x="9" y="75"/>
                    <a:pt x="8" y="75"/>
                  </a:cubicBezTo>
                  <a:cubicBezTo>
                    <a:pt x="7" y="75"/>
                    <a:pt x="5" y="75"/>
                    <a:pt x="4" y="75"/>
                  </a:cubicBezTo>
                  <a:cubicBezTo>
                    <a:pt x="2" y="74"/>
                    <a:pt x="1" y="72"/>
                    <a:pt x="0" y="70"/>
                  </a:cubicBezTo>
                  <a:cubicBezTo>
                    <a:pt x="1" y="73"/>
                    <a:pt x="0" y="76"/>
                    <a:pt x="2" y="78"/>
                  </a:cubicBezTo>
                  <a:cubicBezTo>
                    <a:pt x="4" y="81"/>
                    <a:pt x="8" y="82"/>
                    <a:pt x="11" y="84"/>
                  </a:cubicBezTo>
                  <a:cubicBezTo>
                    <a:pt x="12" y="85"/>
                    <a:pt x="12" y="87"/>
                    <a:pt x="13" y="87"/>
                  </a:cubicBezTo>
                  <a:cubicBezTo>
                    <a:pt x="15" y="87"/>
                    <a:pt x="17" y="85"/>
                    <a:pt x="19" y="84"/>
                  </a:cubicBezTo>
                  <a:cubicBezTo>
                    <a:pt x="22" y="84"/>
                    <a:pt x="25" y="86"/>
                    <a:pt x="28" y="86"/>
                  </a:cubicBezTo>
                  <a:cubicBezTo>
                    <a:pt x="30" y="85"/>
                    <a:pt x="32" y="84"/>
                    <a:pt x="33" y="83"/>
                  </a:cubicBezTo>
                  <a:cubicBezTo>
                    <a:pt x="34" y="82"/>
                    <a:pt x="32" y="79"/>
                    <a:pt x="33" y="79"/>
                  </a:cubicBezTo>
                  <a:cubicBezTo>
                    <a:pt x="36" y="77"/>
                    <a:pt x="39" y="78"/>
                    <a:pt x="42" y="78"/>
                  </a:cubicBezTo>
                  <a:cubicBezTo>
                    <a:pt x="42" y="78"/>
                    <a:pt x="41" y="80"/>
                    <a:pt x="41" y="80"/>
                  </a:cubicBezTo>
                  <a:cubicBezTo>
                    <a:pt x="42" y="81"/>
                    <a:pt x="43" y="79"/>
                    <a:pt x="45" y="79"/>
                  </a:cubicBezTo>
                  <a:cubicBezTo>
                    <a:pt x="47" y="80"/>
                    <a:pt x="48" y="83"/>
                    <a:pt x="50" y="83"/>
                  </a:cubicBezTo>
                  <a:cubicBezTo>
                    <a:pt x="52" y="82"/>
                    <a:pt x="52" y="79"/>
                    <a:pt x="54" y="79"/>
                  </a:cubicBezTo>
                  <a:cubicBezTo>
                    <a:pt x="57" y="78"/>
                    <a:pt x="60" y="80"/>
                    <a:pt x="62" y="79"/>
                  </a:cubicBezTo>
                  <a:cubicBezTo>
                    <a:pt x="63" y="78"/>
                    <a:pt x="61" y="76"/>
                    <a:pt x="62" y="74"/>
                  </a:cubicBezTo>
                  <a:cubicBezTo>
                    <a:pt x="64" y="70"/>
                    <a:pt x="67" y="66"/>
                    <a:pt x="69" y="62"/>
                  </a:cubicBezTo>
                  <a:cubicBezTo>
                    <a:pt x="71" y="59"/>
                    <a:pt x="74" y="56"/>
                    <a:pt x="75" y="53"/>
                  </a:cubicBezTo>
                  <a:cubicBezTo>
                    <a:pt x="76" y="49"/>
                    <a:pt x="73" y="45"/>
                    <a:pt x="75" y="42"/>
                  </a:cubicBezTo>
                  <a:cubicBezTo>
                    <a:pt x="77" y="39"/>
                    <a:pt x="81" y="39"/>
                    <a:pt x="84" y="39"/>
                  </a:cubicBezTo>
                  <a:cubicBezTo>
                    <a:pt x="86" y="38"/>
                    <a:pt x="87" y="41"/>
                    <a:pt x="89" y="42"/>
                  </a:cubicBezTo>
                  <a:cubicBezTo>
                    <a:pt x="91" y="42"/>
                    <a:pt x="94" y="40"/>
                    <a:pt x="96" y="40"/>
                  </a:cubicBezTo>
                  <a:cubicBezTo>
                    <a:pt x="99" y="41"/>
                    <a:pt x="101" y="42"/>
                    <a:pt x="103" y="4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1" name="Freeform 131"/>
            <p:cNvSpPr>
              <a:spLocks noChangeAspect="1"/>
            </p:cNvSpPr>
            <p:nvPr/>
          </p:nvSpPr>
          <p:spPr bwMode="auto">
            <a:xfrm>
              <a:off x="6954838" y="4014788"/>
              <a:ext cx="104775" cy="139700"/>
            </a:xfrm>
            <a:custGeom>
              <a:avLst/>
              <a:gdLst>
                <a:gd name="T0" fmla="*/ 41910 w 55"/>
                <a:gd name="T1" fmla="*/ 13396 h 73"/>
                <a:gd name="T2" fmla="*/ 51435 w 55"/>
                <a:gd name="T3" fmla="*/ 22964 h 73"/>
                <a:gd name="T4" fmla="*/ 59055 w 55"/>
                <a:gd name="T5" fmla="*/ 32533 h 73"/>
                <a:gd name="T6" fmla="*/ 64770 w 55"/>
                <a:gd name="T7" fmla="*/ 32533 h 73"/>
                <a:gd name="T8" fmla="*/ 80010 w 55"/>
                <a:gd name="T9" fmla="*/ 55497 h 73"/>
                <a:gd name="T10" fmla="*/ 78105 w 55"/>
                <a:gd name="T11" fmla="*/ 76548 h 73"/>
                <a:gd name="T12" fmla="*/ 80010 w 55"/>
                <a:gd name="T13" fmla="*/ 89944 h 73"/>
                <a:gd name="T14" fmla="*/ 80010 w 55"/>
                <a:gd name="T15" fmla="*/ 105253 h 73"/>
                <a:gd name="T16" fmla="*/ 91440 w 55"/>
                <a:gd name="T17" fmla="*/ 112908 h 73"/>
                <a:gd name="T18" fmla="*/ 93345 w 55"/>
                <a:gd name="T19" fmla="*/ 120563 h 73"/>
                <a:gd name="T20" fmla="*/ 104775 w 55"/>
                <a:gd name="T21" fmla="*/ 137786 h 73"/>
                <a:gd name="T22" fmla="*/ 99060 w 55"/>
                <a:gd name="T23" fmla="*/ 137786 h 73"/>
                <a:gd name="T24" fmla="*/ 95250 w 55"/>
                <a:gd name="T25" fmla="*/ 132045 h 73"/>
                <a:gd name="T26" fmla="*/ 81915 w 55"/>
                <a:gd name="T27" fmla="*/ 135873 h 73"/>
                <a:gd name="T28" fmla="*/ 62865 w 55"/>
                <a:gd name="T29" fmla="*/ 128218 h 73"/>
                <a:gd name="T30" fmla="*/ 36195 w 55"/>
                <a:gd name="T31" fmla="*/ 114822 h 73"/>
                <a:gd name="T32" fmla="*/ 26670 w 55"/>
                <a:gd name="T33" fmla="*/ 107167 h 73"/>
                <a:gd name="T34" fmla="*/ 30480 w 55"/>
                <a:gd name="T35" fmla="*/ 93771 h 73"/>
                <a:gd name="T36" fmla="*/ 15240 w 55"/>
                <a:gd name="T37" fmla="*/ 78462 h 73"/>
                <a:gd name="T38" fmla="*/ 17145 w 55"/>
                <a:gd name="T39" fmla="*/ 72721 h 73"/>
                <a:gd name="T40" fmla="*/ 11430 w 55"/>
                <a:gd name="T41" fmla="*/ 66979 h 73"/>
                <a:gd name="T42" fmla="*/ 13335 w 55"/>
                <a:gd name="T43" fmla="*/ 49756 h 73"/>
                <a:gd name="T44" fmla="*/ 5715 w 55"/>
                <a:gd name="T45" fmla="*/ 44015 h 73"/>
                <a:gd name="T46" fmla="*/ 5715 w 55"/>
                <a:gd name="T47" fmla="*/ 21051 h 73"/>
                <a:gd name="T48" fmla="*/ 0 w 55"/>
                <a:gd name="T49" fmla="*/ 7655 h 73"/>
                <a:gd name="T50" fmla="*/ 3810 w 55"/>
                <a:gd name="T51" fmla="*/ 0 h 73"/>
                <a:gd name="T52" fmla="*/ 7620 w 55"/>
                <a:gd name="T53" fmla="*/ 7655 h 73"/>
                <a:gd name="T54" fmla="*/ 15240 w 55"/>
                <a:gd name="T55" fmla="*/ 7655 h 73"/>
                <a:gd name="T56" fmla="*/ 22860 w 55"/>
                <a:gd name="T57" fmla="*/ 13396 h 73"/>
                <a:gd name="T58" fmla="*/ 19050 w 55"/>
                <a:gd name="T59" fmla="*/ 26792 h 73"/>
                <a:gd name="T60" fmla="*/ 22860 w 55"/>
                <a:gd name="T61" fmla="*/ 32533 h 73"/>
                <a:gd name="T62" fmla="*/ 34290 w 55"/>
                <a:gd name="T63" fmla="*/ 24878 h 73"/>
                <a:gd name="T64" fmla="*/ 40005 w 55"/>
                <a:gd name="T65" fmla="*/ 22964 h 73"/>
                <a:gd name="T66" fmla="*/ 41910 w 55"/>
                <a:gd name="T67" fmla="*/ 13396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5"/>
                <a:gd name="T103" fmla="*/ 0 h 73"/>
                <a:gd name="T104" fmla="*/ 55 w 55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5" h="73">
                  <a:moveTo>
                    <a:pt x="22" y="7"/>
                  </a:moveTo>
                  <a:cubicBezTo>
                    <a:pt x="24" y="9"/>
                    <a:pt x="25" y="11"/>
                    <a:pt x="27" y="12"/>
                  </a:cubicBezTo>
                  <a:cubicBezTo>
                    <a:pt x="28" y="14"/>
                    <a:pt x="29" y="16"/>
                    <a:pt x="31" y="17"/>
                  </a:cubicBezTo>
                  <a:cubicBezTo>
                    <a:pt x="32" y="18"/>
                    <a:pt x="34" y="16"/>
                    <a:pt x="34" y="17"/>
                  </a:cubicBezTo>
                  <a:cubicBezTo>
                    <a:pt x="37" y="20"/>
                    <a:pt x="41" y="24"/>
                    <a:pt x="42" y="29"/>
                  </a:cubicBezTo>
                  <a:cubicBezTo>
                    <a:pt x="43" y="32"/>
                    <a:pt x="41" y="36"/>
                    <a:pt x="41" y="40"/>
                  </a:cubicBezTo>
                  <a:cubicBezTo>
                    <a:pt x="41" y="43"/>
                    <a:pt x="42" y="45"/>
                    <a:pt x="42" y="47"/>
                  </a:cubicBezTo>
                  <a:cubicBezTo>
                    <a:pt x="42" y="50"/>
                    <a:pt x="41" y="53"/>
                    <a:pt x="42" y="55"/>
                  </a:cubicBezTo>
                  <a:cubicBezTo>
                    <a:pt x="43" y="57"/>
                    <a:pt x="47" y="57"/>
                    <a:pt x="48" y="59"/>
                  </a:cubicBezTo>
                  <a:cubicBezTo>
                    <a:pt x="49" y="60"/>
                    <a:pt x="49" y="62"/>
                    <a:pt x="49" y="63"/>
                  </a:cubicBezTo>
                  <a:cubicBezTo>
                    <a:pt x="51" y="67"/>
                    <a:pt x="54" y="68"/>
                    <a:pt x="55" y="72"/>
                  </a:cubicBezTo>
                  <a:cubicBezTo>
                    <a:pt x="53" y="72"/>
                    <a:pt x="53" y="73"/>
                    <a:pt x="52" y="72"/>
                  </a:cubicBezTo>
                  <a:cubicBezTo>
                    <a:pt x="51" y="71"/>
                    <a:pt x="51" y="68"/>
                    <a:pt x="50" y="69"/>
                  </a:cubicBezTo>
                  <a:cubicBezTo>
                    <a:pt x="48" y="70"/>
                    <a:pt x="46" y="72"/>
                    <a:pt x="43" y="71"/>
                  </a:cubicBezTo>
                  <a:cubicBezTo>
                    <a:pt x="38" y="71"/>
                    <a:pt x="38" y="70"/>
                    <a:pt x="33" y="67"/>
                  </a:cubicBezTo>
                  <a:cubicBezTo>
                    <a:pt x="28" y="65"/>
                    <a:pt x="23" y="62"/>
                    <a:pt x="19" y="60"/>
                  </a:cubicBezTo>
                  <a:cubicBezTo>
                    <a:pt x="17" y="59"/>
                    <a:pt x="14" y="58"/>
                    <a:pt x="14" y="56"/>
                  </a:cubicBezTo>
                  <a:cubicBezTo>
                    <a:pt x="13" y="53"/>
                    <a:pt x="17" y="51"/>
                    <a:pt x="16" y="49"/>
                  </a:cubicBezTo>
                  <a:cubicBezTo>
                    <a:pt x="14" y="45"/>
                    <a:pt x="10" y="44"/>
                    <a:pt x="8" y="41"/>
                  </a:cubicBezTo>
                  <a:cubicBezTo>
                    <a:pt x="7" y="40"/>
                    <a:pt x="9" y="39"/>
                    <a:pt x="9" y="38"/>
                  </a:cubicBezTo>
                  <a:cubicBezTo>
                    <a:pt x="9" y="37"/>
                    <a:pt x="6" y="36"/>
                    <a:pt x="6" y="35"/>
                  </a:cubicBezTo>
                  <a:cubicBezTo>
                    <a:pt x="5" y="32"/>
                    <a:pt x="7" y="29"/>
                    <a:pt x="7" y="26"/>
                  </a:cubicBezTo>
                  <a:cubicBezTo>
                    <a:pt x="6" y="25"/>
                    <a:pt x="4" y="25"/>
                    <a:pt x="3" y="23"/>
                  </a:cubicBezTo>
                  <a:cubicBezTo>
                    <a:pt x="2" y="19"/>
                    <a:pt x="3" y="15"/>
                    <a:pt x="3" y="11"/>
                  </a:cubicBezTo>
                  <a:cubicBezTo>
                    <a:pt x="2" y="9"/>
                    <a:pt x="1" y="7"/>
                    <a:pt x="0" y="4"/>
                  </a:cubicBezTo>
                  <a:cubicBezTo>
                    <a:pt x="1" y="3"/>
                    <a:pt x="1" y="0"/>
                    <a:pt x="2" y="0"/>
                  </a:cubicBezTo>
                  <a:cubicBezTo>
                    <a:pt x="4" y="0"/>
                    <a:pt x="3" y="3"/>
                    <a:pt x="4" y="4"/>
                  </a:cubicBezTo>
                  <a:cubicBezTo>
                    <a:pt x="5" y="5"/>
                    <a:pt x="7" y="4"/>
                    <a:pt x="8" y="4"/>
                  </a:cubicBezTo>
                  <a:cubicBezTo>
                    <a:pt x="9" y="5"/>
                    <a:pt x="11" y="6"/>
                    <a:pt x="12" y="7"/>
                  </a:cubicBezTo>
                  <a:cubicBezTo>
                    <a:pt x="12" y="9"/>
                    <a:pt x="10" y="11"/>
                    <a:pt x="10" y="14"/>
                  </a:cubicBezTo>
                  <a:cubicBezTo>
                    <a:pt x="10" y="15"/>
                    <a:pt x="10" y="17"/>
                    <a:pt x="12" y="17"/>
                  </a:cubicBezTo>
                  <a:cubicBezTo>
                    <a:pt x="14" y="16"/>
                    <a:pt x="15" y="14"/>
                    <a:pt x="18" y="13"/>
                  </a:cubicBezTo>
                  <a:cubicBezTo>
                    <a:pt x="19" y="12"/>
                    <a:pt x="21" y="13"/>
                    <a:pt x="21" y="12"/>
                  </a:cubicBezTo>
                  <a:cubicBezTo>
                    <a:pt x="22" y="10"/>
                    <a:pt x="22" y="9"/>
                    <a:pt x="22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2" name="Freeform 132"/>
            <p:cNvSpPr>
              <a:spLocks noChangeAspect="1"/>
            </p:cNvSpPr>
            <p:nvPr/>
          </p:nvSpPr>
          <p:spPr bwMode="auto">
            <a:xfrm>
              <a:off x="6870700" y="3636963"/>
              <a:ext cx="204788" cy="411162"/>
            </a:xfrm>
            <a:custGeom>
              <a:avLst/>
              <a:gdLst>
                <a:gd name="T0" fmla="*/ 107179 w 107"/>
                <a:gd name="T1" fmla="*/ 374995 h 216"/>
                <a:gd name="T2" fmla="*/ 80384 w 107"/>
                <a:gd name="T3" fmla="*/ 348346 h 216"/>
                <a:gd name="T4" fmla="*/ 68901 w 107"/>
                <a:gd name="T5" fmla="*/ 308372 h 216"/>
                <a:gd name="T6" fmla="*/ 55503 w 107"/>
                <a:gd name="T7" fmla="*/ 285529 h 216"/>
                <a:gd name="T8" fmla="*/ 72728 w 107"/>
                <a:gd name="T9" fmla="*/ 228423 h 216"/>
                <a:gd name="T10" fmla="*/ 74642 w 107"/>
                <a:gd name="T11" fmla="*/ 186546 h 216"/>
                <a:gd name="T12" fmla="*/ 95695 w 107"/>
                <a:gd name="T13" fmla="*/ 186546 h 216"/>
                <a:gd name="T14" fmla="*/ 91868 w 107"/>
                <a:gd name="T15" fmla="*/ 215099 h 216"/>
                <a:gd name="T16" fmla="*/ 107179 w 107"/>
                <a:gd name="T17" fmla="*/ 217002 h 216"/>
                <a:gd name="T18" fmla="*/ 124404 w 107"/>
                <a:gd name="T19" fmla="*/ 228423 h 216"/>
                <a:gd name="T20" fmla="*/ 139715 w 107"/>
                <a:gd name="T21" fmla="*/ 230327 h 216"/>
                <a:gd name="T22" fmla="*/ 132060 w 107"/>
                <a:gd name="T23" fmla="*/ 205581 h 216"/>
                <a:gd name="T24" fmla="*/ 133973 w 107"/>
                <a:gd name="T25" fmla="*/ 186546 h 216"/>
                <a:gd name="T26" fmla="*/ 160768 w 107"/>
                <a:gd name="T27" fmla="*/ 167510 h 216"/>
                <a:gd name="T28" fmla="*/ 193305 w 107"/>
                <a:gd name="T29" fmla="*/ 171318 h 216"/>
                <a:gd name="T30" fmla="*/ 199046 w 107"/>
                <a:gd name="T31" fmla="*/ 140861 h 216"/>
                <a:gd name="T32" fmla="*/ 199046 w 107"/>
                <a:gd name="T33" fmla="*/ 121826 h 216"/>
                <a:gd name="T34" fmla="*/ 177993 w 107"/>
                <a:gd name="T35" fmla="*/ 93273 h 216"/>
                <a:gd name="T36" fmla="*/ 162682 w 107"/>
                <a:gd name="T37" fmla="*/ 68527 h 216"/>
                <a:gd name="T38" fmla="*/ 149285 w 107"/>
                <a:gd name="T39" fmla="*/ 55202 h 216"/>
                <a:gd name="T40" fmla="*/ 128232 w 107"/>
                <a:gd name="T41" fmla="*/ 68527 h 216"/>
                <a:gd name="T42" fmla="*/ 120576 w 107"/>
                <a:gd name="T43" fmla="*/ 68527 h 216"/>
                <a:gd name="T44" fmla="*/ 99523 w 107"/>
                <a:gd name="T45" fmla="*/ 70431 h 216"/>
                <a:gd name="T46" fmla="*/ 86126 w 107"/>
                <a:gd name="T47" fmla="*/ 57106 h 216"/>
                <a:gd name="T48" fmla="*/ 88040 w 107"/>
                <a:gd name="T49" fmla="*/ 34264 h 216"/>
                <a:gd name="T50" fmla="*/ 66987 w 107"/>
                <a:gd name="T51" fmla="*/ 19035 h 216"/>
                <a:gd name="T52" fmla="*/ 65073 w 107"/>
                <a:gd name="T53" fmla="*/ 0 h 216"/>
                <a:gd name="T54" fmla="*/ 45934 w 107"/>
                <a:gd name="T55" fmla="*/ 1904 h 216"/>
                <a:gd name="T56" fmla="*/ 34450 w 107"/>
                <a:gd name="T57" fmla="*/ 17132 h 216"/>
                <a:gd name="T58" fmla="*/ 7656 w 107"/>
                <a:gd name="T59" fmla="*/ 47588 h 216"/>
                <a:gd name="T60" fmla="*/ 7656 w 107"/>
                <a:gd name="T61" fmla="*/ 55202 h 216"/>
                <a:gd name="T62" fmla="*/ 22967 w 107"/>
                <a:gd name="T63" fmla="*/ 95176 h 216"/>
                <a:gd name="T64" fmla="*/ 34450 w 107"/>
                <a:gd name="T65" fmla="*/ 112308 h 216"/>
                <a:gd name="T66" fmla="*/ 30623 w 107"/>
                <a:gd name="T67" fmla="*/ 140861 h 216"/>
                <a:gd name="T68" fmla="*/ 47848 w 107"/>
                <a:gd name="T69" fmla="*/ 177028 h 216"/>
                <a:gd name="T70" fmla="*/ 47848 w 107"/>
                <a:gd name="T71" fmla="*/ 199870 h 216"/>
                <a:gd name="T72" fmla="*/ 55503 w 107"/>
                <a:gd name="T73" fmla="*/ 253169 h 216"/>
                <a:gd name="T74" fmla="*/ 38278 w 107"/>
                <a:gd name="T75" fmla="*/ 287433 h 216"/>
                <a:gd name="T76" fmla="*/ 30623 w 107"/>
                <a:gd name="T77" fmla="*/ 329310 h 216"/>
                <a:gd name="T78" fmla="*/ 40192 w 107"/>
                <a:gd name="T79" fmla="*/ 331214 h 216"/>
                <a:gd name="T80" fmla="*/ 55503 w 107"/>
                <a:gd name="T81" fmla="*/ 357863 h 216"/>
                <a:gd name="T82" fmla="*/ 72728 w 107"/>
                <a:gd name="T83" fmla="*/ 365477 h 216"/>
                <a:gd name="T84" fmla="*/ 78470 w 107"/>
                <a:gd name="T85" fmla="*/ 382609 h 216"/>
                <a:gd name="T86" fmla="*/ 91868 w 107"/>
                <a:gd name="T87" fmla="*/ 386416 h 216"/>
                <a:gd name="T88" fmla="*/ 103351 w 107"/>
                <a:gd name="T89" fmla="*/ 405451 h 216"/>
                <a:gd name="T90" fmla="*/ 124404 w 107"/>
                <a:gd name="T91" fmla="*/ 401644 h 2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7"/>
                <a:gd name="T139" fmla="*/ 0 h 216"/>
                <a:gd name="T140" fmla="*/ 107 w 107"/>
                <a:gd name="T141" fmla="*/ 216 h 2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7" h="216">
                  <a:moveTo>
                    <a:pt x="66" y="206"/>
                  </a:moveTo>
                  <a:cubicBezTo>
                    <a:pt x="65" y="205"/>
                    <a:pt x="63" y="202"/>
                    <a:pt x="62" y="200"/>
                  </a:cubicBezTo>
                  <a:cubicBezTo>
                    <a:pt x="60" y="199"/>
                    <a:pt x="58" y="198"/>
                    <a:pt x="56" y="197"/>
                  </a:cubicBezTo>
                  <a:cubicBezTo>
                    <a:pt x="54" y="196"/>
                    <a:pt x="51" y="197"/>
                    <a:pt x="49" y="196"/>
                  </a:cubicBezTo>
                  <a:cubicBezTo>
                    <a:pt x="46" y="194"/>
                    <a:pt x="45" y="191"/>
                    <a:pt x="43" y="188"/>
                  </a:cubicBezTo>
                  <a:cubicBezTo>
                    <a:pt x="42" y="187"/>
                    <a:pt x="42" y="185"/>
                    <a:pt x="42" y="183"/>
                  </a:cubicBezTo>
                  <a:cubicBezTo>
                    <a:pt x="41" y="182"/>
                    <a:pt x="41" y="180"/>
                    <a:pt x="41" y="178"/>
                  </a:cubicBezTo>
                  <a:cubicBezTo>
                    <a:pt x="40" y="175"/>
                    <a:pt x="41" y="172"/>
                    <a:pt x="41" y="169"/>
                  </a:cubicBezTo>
                  <a:cubicBezTo>
                    <a:pt x="40" y="166"/>
                    <a:pt x="38" y="164"/>
                    <a:pt x="36" y="162"/>
                  </a:cubicBezTo>
                  <a:cubicBezTo>
                    <a:pt x="34" y="162"/>
                    <a:pt x="32" y="165"/>
                    <a:pt x="30" y="164"/>
                  </a:cubicBezTo>
                  <a:cubicBezTo>
                    <a:pt x="28" y="162"/>
                    <a:pt x="28" y="159"/>
                    <a:pt x="28" y="157"/>
                  </a:cubicBezTo>
                  <a:cubicBezTo>
                    <a:pt x="28" y="155"/>
                    <a:pt x="28" y="152"/>
                    <a:pt x="29" y="150"/>
                  </a:cubicBezTo>
                  <a:cubicBezTo>
                    <a:pt x="29" y="147"/>
                    <a:pt x="29" y="145"/>
                    <a:pt x="30" y="142"/>
                  </a:cubicBezTo>
                  <a:cubicBezTo>
                    <a:pt x="31" y="138"/>
                    <a:pt x="33" y="134"/>
                    <a:pt x="34" y="130"/>
                  </a:cubicBezTo>
                  <a:cubicBezTo>
                    <a:pt x="36" y="126"/>
                    <a:pt x="38" y="124"/>
                    <a:pt x="38" y="120"/>
                  </a:cubicBezTo>
                  <a:cubicBezTo>
                    <a:pt x="39" y="117"/>
                    <a:pt x="37" y="114"/>
                    <a:pt x="37" y="111"/>
                  </a:cubicBezTo>
                  <a:cubicBezTo>
                    <a:pt x="37" y="110"/>
                    <a:pt x="39" y="109"/>
                    <a:pt x="39" y="108"/>
                  </a:cubicBezTo>
                  <a:cubicBezTo>
                    <a:pt x="40" y="104"/>
                    <a:pt x="38" y="101"/>
                    <a:pt x="39" y="98"/>
                  </a:cubicBezTo>
                  <a:cubicBezTo>
                    <a:pt x="39" y="97"/>
                    <a:pt x="41" y="97"/>
                    <a:pt x="42" y="97"/>
                  </a:cubicBezTo>
                  <a:cubicBezTo>
                    <a:pt x="43" y="97"/>
                    <a:pt x="44" y="98"/>
                    <a:pt x="45" y="98"/>
                  </a:cubicBezTo>
                  <a:cubicBezTo>
                    <a:pt x="47" y="99"/>
                    <a:pt x="49" y="97"/>
                    <a:pt x="50" y="98"/>
                  </a:cubicBezTo>
                  <a:cubicBezTo>
                    <a:pt x="50" y="100"/>
                    <a:pt x="48" y="101"/>
                    <a:pt x="47" y="103"/>
                  </a:cubicBezTo>
                  <a:cubicBezTo>
                    <a:pt x="47" y="105"/>
                    <a:pt x="48" y="106"/>
                    <a:pt x="49" y="107"/>
                  </a:cubicBezTo>
                  <a:cubicBezTo>
                    <a:pt x="49" y="109"/>
                    <a:pt x="48" y="111"/>
                    <a:pt x="48" y="113"/>
                  </a:cubicBezTo>
                  <a:cubicBezTo>
                    <a:pt x="48" y="114"/>
                    <a:pt x="49" y="114"/>
                    <a:pt x="50" y="114"/>
                  </a:cubicBezTo>
                  <a:cubicBezTo>
                    <a:pt x="50" y="114"/>
                    <a:pt x="51" y="113"/>
                    <a:pt x="51" y="113"/>
                  </a:cubicBezTo>
                  <a:cubicBezTo>
                    <a:pt x="53" y="113"/>
                    <a:pt x="54" y="114"/>
                    <a:pt x="56" y="114"/>
                  </a:cubicBezTo>
                  <a:cubicBezTo>
                    <a:pt x="58" y="114"/>
                    <a:pt x="59" y="112"/>
                    <a:pt x="61" y="113"/>
                  </a:cubicBezTo>
                  <a:cubicBezTo>
                    <a:pt x="63" y="114"/>
                    <a:pt x="65" y="116"/>
                    <a:pt x="66" y="118"/>
                  </a:cubicBezTo>
                  <a:cubicBezTo>
                    <a:pt x="66" y="118"/>
                    <a:pt x="65" y="119"/>
                    <a:pt x="65" y="120"/>
                  </a:cubicBezTo>
                  <a:cubicBezTo>
                    <a:pt x="65" y="121"/>
                    <a:pt x="65" y="123"/>
                    <a:pt x="67" y="123"/>
                  </a:cubicBezTo>
                  <a:cubicBezTo>
                    <a:pt x="67" y="124"/>
                    <a:pt x="68" y="122"/>
                    <a:pt x="69" y="122"/>
                  </a:cubicBezTo>
                  <a:cubicBezTo>
                    <a:pt x="70" y="121"/>
                    <a:pt x="72" y="121"/>
                    <a:pt x="73" y="121"/>
                  </a:cubicBezTo>
                  <a:cubicBezTo>
                    <a:pt x="73" y="119"/>
                    <a:pt x="73" y="117"/>
                    <a:pt x="72" y="115"/>
                  </a:cubicBezTo>
                  <a:cubicBezTo>
                    <a:pt x="71" y="114"/>
                    <a:pt x="69" y="114"/>
                    <a:pt x="69" y="112"/>
                  </a:cubicBezTo>
                  <a:cubicBezTo>
                    <a:pt x="68" y="111"/>
                    <a:pt x="69" y="110"/>
                    <a:pt x="69" y="108"/>
                  </a:cubicBezTo>
                  <a:cubicBezTo>
                    <a:pt x="69" y="107"/>
                    <a:pt x="68" y="106"/>
                    <a:pt x="67" y="104"/>
                  </a:cubicBezTo>
                  <a:cubicBezTo>
                    <a:pt x="67" y="102"/>
                    <a:pt x="67" y="100"/>
                    <a:pt x="68" y="98"/>
                  </a:cubicBezTo>
                  <a:cubicBezTo>
                    <a:pt x="68" y="97"/>
                    <a:pt x="70" y="98"/>
                    <a:pt x="70" y="98"/>
                  </a:cubicBezTo>
                  <a:cubicBezTo>
                    <a:pt x="72" y="96"/>
                    <a:pt x="72" y="93"/>
                    <a:pt x="74" y="92"/>
                  </a:cubicBezTo>
                  <a:cubicBezTo>
                    <a:pt x="76" y="90"/>
                    <a:pt x="78" y="88"/>
                    <a:pt x="80" y="87"/>
                  </a:cubicBezTo>
                  <a:cubicBezTo>
                    <a:pt x="81" y="87"/>
                    <a:pt x="83" y="87"/>
                    <a:pt x="84" y="88"/>
                  </a:cubicBezTo>
                  <a:cubicBezTo>
                    <a:pt x="85" y="88"/>
                    <a:pt x="86" y="88"/>
                    <a:pt x="87" y="88"/>
                  </a:cubicBezTo>
                  <a:cubicBezTo>
                    <a:pt x="90" y="88"/>
                    <a:pt x="93" y="87"/>
                    <a:pt x="96" y="88"/>
                  </a:cubicBezTo>
                  <a:cubicBezTo>
                    <a:pt x="98" y="88"/>
                    <a:pt x="100" y="89"/>
                    <a:pt x="101" y="90"/>
                  </a:cubicBezTo>
                  <a:cubicBezTo>
                    <a:pt x="102" y="90"/>
                    <a:pt x="102" y="89"/>
                    <a:pt x="103" y="88"/>
                  </a:cubicBezTo>
                  <a:cubicBezTo>
                    <a:pt x="104" y="88"/>
                    <a:pt x="105" y="87"/>
                    <a:pt x="105" y="86"/>
                  </a:cubicBezTo>
                  <a:cubicBezTo>
                    <a:pt x="106" y="82"/>
                    <a:pt x="104" y="78"/>
                    <a:pt x="104" y="74"/>
                  </a:cubicBezTo>
                  <a:cubicBezTo>
                    <a:pt x="105" y="72"/>
                    <a:pt x="107" y="71"/>
                    <a:pt x="107" y="70"/>
                  </a:cubicBezTo>
                  <a:cubicBezTo>
                    <a:pt x="107" y="68"/>
                    <a:pt x="104" y="68"/>
                    <a:pt x="104" y="66"/>
                  </a:cubicBezTo>
                  <a:cubicBezTo>
                    <a:pt x="103" y="66"/>
                    <a:pt x="105" y="64"/>
                    <a:pt x="104" y="64"/>
                  </a:cubicBezTo>
                  <a:cubicBezTo>
                    <a:pt x="103" y="63"/>
                    <a:pt x="101" y="64"/>
                    <a:pt x="100" y="63"/>
                  </a:cubicBezTo>
                  <a:cubicBezTo>
                    <a:pt x="98" y="61"/>
                    <a:pt x="96" y="60"/>
                    <a:pt x="95" y="58"/>
                  </a:cubicBezTo>
                  <a:cubicBezTo>
                    <a:pt x="94" y="55"/>
                    <a:pt x="93" y="52"/>
                    <a:pt x="93" y="49"/>
                  </a:cubicBezTo>
                  <a:cubicBezTo>
                    <a:pt x="92" y="47"/>
                    <a:pt x="95" y="45"/>
                    <a:pt x="94" y="44"/>
                  </a:cubicBezTo>
                  <a:cubicBezTo>
                    <a:pt x="93" y="42"/>
                    <a:pt x="91" y="41"/>
                    <a:pt x="89" y="40"/>
                  </a:cubicBezTo>
                  <a:cubicBezTo>
                    <a:pt x="88" y="38"/>
                    <a:pt x="86" y="38"/>
                    <a:pt x="85" y="36"/>
                  </a:cubicBezTo>
                  <a:cubicBezTo>
                    <a:pt x="84" y="34"/>
                    <a:pt x="85" y="32"/>
                    <a:pt x="83" y="30"/>
                  </a:cubicBezTo>
                  <a:cubicBezTo>
                    <a:pt x="83" y="29"/>
                    <a:pt x="82" y="31"/>
                    <a:pt x="81" y="31"/>
                  </a:cubicBezTo>
                  <a:cubicBezTo>
                    <a:pt x="80" y="31"/>
                    <a:pt x="79" y="29"/>
                    <a:pt x="78" y="29"/>
                  </a:cubicBezTo>
                  <a:cubicBezTo>
                    <a:pt x="77" y="28"/>
                    <a:pt x="75" y="28"/>
                    <a:pt x="73" y="29"/>
                  </a:cubicBezTo>
                  <a:cubicBezTo>
                    <a:pt x="72" y="30"/>
                    <a:pt x="72" y="33"/>
                    <a:pt x="71" y="35"/>
                  </a:cubicBezTo>
                  <a:cubicBezTo>
                    <a:pt x="70" y="36"/>
                    <a:pt x="68" y="35"/>
                    <a:pt x="67" y="36"/>
                  </a:cubicBezTo>
                  <a:cubicBezTo>
                    <a:pt x="66" y="37"/>
                    <a:pt x="67" y="39"/>
                    <a:pt x="65" y="40"/>
                  </a:cubicBezTo>
                  <a:cubicBezTo>
                    <a:pt x="64" y="41"/>
                    <a:pt x="62" y="41"/>
                    <a:pt x="62" y="40"/>
                  </a:cubicBezTo>
                  <a:cubicBezTo>
                    <a:pt x="61" y="39"/>
                    <a:pt x="63" y="37"/>
                    <a:pt x="63" y="36"/>
                  </a:cubicBezTo>
                  <a:cubicBezTo>
                    <a:pt x="62" y="34"/>
                    <a:pt x="59" y="33"/>
                    <a:pt x="57" y="32"/>
                  </a:cubicBezTo>
                  <a:cubicBezTo>
                    <a:pt x="55" y="32"/>
                    <a:pt x="54" y="33"/>
                    <a:pt x="52" y="34"/>
                  </a:cubicBezTo>
                  <a:cubicBezTo>
                    <a:pt x="52" y="35"/>
                    <a:pt x="53" y="36"/>
                    <a:pt x="52" y="37"/>
                  </a:cubicBezTo>
                  <a:cubicBezTo>
                    <a:pt x="51" y="39"/>
                    <a:pt x="49" y="42"/>
                    <a:pt x="46" y="43"/>
                  </a:cubicBezTo>
                  <a:cubicBezTo>
                    <a:pt x="45" y="43"/>
                    <a:pt x="44" y="42"/>
                    <a:pt x="44" y="41"/>
                  </a:cubicBezTo>
                  <a:cubicBezTo>
                    <a:pt x="43" y="37"/>
                    <a:pt x="45" y="33"/>
                    <a:pt x="45" y="30"/>
                  </a:cubicBezTo>
                  <a:cubicBezTo>
                    <a:pt x="45" y="28"/>
                    <a:pt x="44" y="27"/>
                    <a:pt x="44" y="25"/>
                  </a:cubicBezTo>
                  <a:cubicBezTo>
                    <a:pt x="44" y="24"/>
                    <a:pt x="46" y="23"/>
                    <a:pt x="46" y="22"/>
                  </a:cubicBezTo>
                  <a:cubicBezTo>
                    <a:pt x="47" y="20"/>
                    <a:pt x="46" y="19"/>
                    <a:pt x="46" y="18"/>
                  </a:cubicBezTo>
                  <a:cubicBezTo>
                    <a:pt x="46" y="16"/>
                    <a:pt x="48" y="14"/>
                    <a:pt x="47" y="13"/>
                  </a:cubicBezTo>
                  <a:cubicBezTo>
                    <a:pt x="46" y="11"/>
                    <a:pt x="43" y="12"/>
                    <a:pt x="42" y="11"/>
                  </a:cubicBezTo>
                  <a:cubicBezTo>
                    <a:pt x="39" y="11"/>
                    <a:pt x="37" y="11"/>
                    <a:pt x="35" y="10"/>
                  </a:cubicBezTo>
                  <a:cubicBezTo>
                    <a:pt x="34" y="9"/>
                    <a:pt x="37" y="8"/>
                    <a:pt x="37" y="7"/>
                  </a:cubicBezTo>
                  <a:cubicBezTo>
                    <a:pt x="37" y="6"/>
                    <a:pt x="38" y="4"/>
                    <a:pt x="37" y="3"/>
                  </a:cubicBezTo>
                  <a:cubicBezTo>
                    <a:pt x="37" y="2"/>
                    <a:pt x="35" y="0"/>
                    <a:pt x="34" y="0"/>
                  </a:cubicBezTo>
                  <a:cubicBezTo>
                    <a:pt x="33" y="0"/>
                    <a:pt x="32" y="0"/>
                    <a:pt x="31" y="0"/>
                  </a:cubicBezTo>
                  <a:cubicBezTo>
                    <a:pt x="30" y="0"/>
                    <a:pt x="29" y="0"/>
                    <a:pt x="28" y="0"/>
                  </a:cubicBezTo>
                  <a:cubicBezTo>
                    <a:pt x="26" y="0"/>
                    <a:pt x="25" y="0"/>
                    <a:pt x="24" y="1"/>
                  </a:cubicBezTo>
                  <a:cubicBezTo>
                    <a:pt x="23" y="2"/>
                    <a:pt x="25" y="5"/>
                    <a:pt x="24" y="5"/>
                  </a:cubicBezTo>
                  <a:cubicBezTo>
                    <a:pt x="22" y="6"/>
                    <a:pt x="20" y="4"/>
                    <a:pt x="18" y="5"/>
                  </a:cubicBezTo>
                  <a:cubicBezTo>
                    <a:pt x="17" y="6"/>
                    <a:pt x="19" y="8"/>
                    <a:pt x="18" y="9"/>
                  </a:cubicBezTo>
                  <a:cubicBezTo>
                    <a:pt x="17" y="11"/>
                    <a:pt x="14" y="12"/>
                    <a:pt x="12" y="12"/>
                  </a:cubicBezTo>
                  <a:cubicBezTo>
                    <a:pt x="10" y="12"/>
                    <a:pt x="7" y="8"/>
                    <a:pt x="6" y="10"/>
                  </a:cubicBezTo>
                  <a:cubicBezTo>
                    <a:pt x="4" y="14"/>
                    <a:pt x="6" y="20"/>
                    <a:pt x="4" y="25"/>
                  </a:cubicBezTo>
                  <a:cubicBezTo>
                    <a:pt x="4" y="26"/>
                    <a:pt x="1" y="24"/>
                    <a:pt x="1" y="25"/>
                  </a:cubicBezTo>
                  <a:cubicBezTo>
                    <a:pt x="0" y="26"/>
                    <a:pt x="0" y="28"/>
                    <a:pt x="1" y="29"/>
                  </a:cubicBezTo>
                  <a:cubicBezTo>
                    <a:pt x="2" y="30"/>
                    <a:pt x="3" y="28"/>
                    <a:pt x="4" y="29"/>
                  </a:cubicBezTo>
                  <a:cubicBezTo>
                    <a:pt x="6" y="31"/>
                    <a:pt x="7" y="33"/>
                    <a:pt x="7" y="36"/>
                  </a:cubicBezTo>
                  <a:cubicBezTo>
                    <a:pt x="7" y="37"/>
                    <a:pt x="5" y="36"/>
                    <a:pt x="5" y="36"/>
                  </a:cubicBezTo>
                  <a:cubicBezTo>
                    <a:pt x="8" y="40"/>
                    <a:pt x="10" y="45"/>
                    <a:pt x="12" y="50"/>
                  </a:cubicBezTo>
                  <a:cubicBezTo>
                    <a:pt x="13" y="51"/>
                    <a:pt x="15" y="51"/>
                    <a:pt x="15" y="52"/>
                  </a:cubicBezTo>
                  <a:cubicBezTo>
                    <a:pt x="16" y="54"/>
                    <a:pt x="14" y="57"/>
                    <a:pt x="15" y="59"/>
                  </a:cubicBezTo>
                  <a:cubicBezTo>
                    <a:pt x="16" y="60"/>
                    <a:pt x="18" y="58"/>
                    <a:pt x="18" y="59"/>
                  </a:cubicBezTo>
                  <a:cubicBezTo>
                    <a:pt x="19" y="59"/>
                    <a:pt x="20" y="61"/>
                    <a:pt x="19" y="62"/>
                  </a:cubicBezTo>
                  <a:cubicBezTo>
                    <a:pt x="19" y="64"/>
                    <a:pt x="16" y="63"/>
                    <a:pt x="16" y="64"/>
                  </a:cubicBezTo>
                  <a:cubicBezTo>
                    <a:pt x="15" y="67"/>
                    <a:pt x="16" y="71"/>
                    <a:pt x="16" y="74"/>
                  </a:cubicBezTo>
                  <a:cubicBezTo>
                    <a:pt x="15" y="76"/>
                    <a:pt x="11" y="75"/>
                    <a:pt x="11" y="76"/>
                  </a:cubicBezTo>
                  <a:cubicBezTo>
                    <a:pt x="13" y="80"/>
                    <a:pt x="13" y="83"/>
                    <a:pt x="15" y="86"/>
                  </a:cubicBezTo>
                  <a:cubicBezTo>
                    <a:pt x="18" y="89"/>
                    <a:pt x="22" y="90"/>
                    <a:pt x="25" y="93"/>
                  </a:cubicBezTo>
                  <a:cubicBezTo>
                    <a:pt x="26" y="95"/>
                    <a:pt x="27" y="97"/>
                    <a:pt x="28" y="99"/>
                  </a:cubicBezTo>
                  <a:cubicBezTo>
                    <a:pt x="28" y="101"/>
                    <a:pt x="27" y="102"/>
                    <a:pt x="27" y="104"/>
                  </a:cubicBezTo>
                  <a:cubicBezTo>
                    <a:pt x="27" y="105"/>
                    <a:pt x="25" y="104"/>
                    <a:pt x="25" y="105"/>
                  </a:cubicBezTo>
                  <a:cubicBezTo>
                    <a:pt x="27" y="110"/>
                    <a:pt x="29" y="115"/>
                    <a:pt x="31" y="119"/>
                  </a:cubicBezTo>
                  <a:cubicBezTo>
                    <a:pt x="32" y="120"/>
                    <a:pt x="34" y="120"/>
                    <a:pt x="33" y="121"/>
                  </a:cubicBezTo>
                  <a:cubicBezTo>
                    <a:pt x="33" y="125"/>
                    <a:pt x="31" y="129"/>
                    <a:pt x="29" y="133"/>
                  </a:cubicBezTo>
                  <a:cubicBezTo>
                    <a:pt x="27" y="135"/>
                    <a:pt x="24" y="137"/>
                    <a:pt x="23" y="140"/>
                  </a:cubicBezTo>
                  <a:cubicBezTo>
                    <a:pt x="23" y="142"/>
                    <a:pt x="24" y="144"/>
                    <a:pt x="23" y="147"/>
                  </a:cubicBezTo>
                  <a:cubicBezTo>
                    <a:pt x="22" y="148"/>
                    <a:pt x="22" y="152"/>
                    <a:pt x="20" y="151"/>
                  </a:cubicBezTo>
                  <a:cubicBezTo>
                    <a:pt x="21" y="153"/>
                    <a:pt x="22" y="156"/>
                    <a:pt x="22" y="158"/>
                  </a:cubicBezTo>
                  <a:cubicBezTo>
                    <a:pt x="21" y="162"/>
                    <a:pt x="19" y="165"/>
                    <a:pt x="18" y="168"/>
                  </a:cubicBezTo>
                  <a:cubicBezTo>
                    <a:pt x="17" y="170"/>
                    <a:pt x="16" y="171"/>
                    <a:pt x="16" y="173"/>
                  </a:cubicBezTo>
                  <a:cubicBezTo>
                    <a:pt x="16" y="175"/>
                    <a:pt x="17" y="176"/>
                    <a:pt x="18" y="178"/>
                  </a:cubicBezTo>
                  <a:cubicBezTo>
                    <a:pt x="18" y="178"/>
                    <a:pt x="19" y="178"/>
                    <a:pt x="19" y="178"/>
                  </a:cubicBezTo>
                  <a:cubicBezTo>
                    <a:pt x="21" y="177"/>
                    <a:pt x="19" y="174"/>
                    <a:pt x="21" y="174"/>
                  </a:cubicBezTo>
                  <a:cubicBezTo>
                    <a:pt x="23" y="175"/>
                    <a:pt x="26" y="178"/>
                    <a:pt x="27" y="180"/>
                  </a:cubicBezTo>
                  <a:cubicBezTo>
                    <a:pt x="28" y="182"/>
                    <a:pt x="26" y="184"/>
                    <a:pt x="27" y="186"/>
                  </a:cubicBezTo>
                  <a:cubicBezTo>
                    <a:pt x="28" y="186"/>
                    <a:pt x="29" y="189"/>
                    <a:pt x="29" y="188"/>
                  </a:cubicBezTo>
                  <a:cubicBezTo>
                    <a:pt x="29" y="184"/>
                    <a:pt x="29" y="182"/>
                    <a:pt x="30" y="184"/>
                  </a:cubicBezTo>
                  <a:cubicBezTo>
                    <a:pt x="31" y="186"/>
                    <a:pt x="32" y="188"/>
                    <a:pt x="34" y="189"/>
                  </a:cubicBezTo>
                  <a:cubicBezTo>
                    <a:pt x="35" y="190"/>
                    <a:pt x="37" y="191"/>
                    <a:pt x="38" y="192"/>
                  </a:cubicBezTo>
                  <a:cubicBezTo>
                    <a:pt x="39" y="193"/>
                    <a:pt x="39" y="194"/>
                    <a:pt x="39" y="195"/>
                  </a:cubicBezTo>
                  <a:cubicBezTo>
                    <a:pt x="39" y="196"/>
                    <a:pt x="38" y="197"/>
                    <a:pt x="38" y="198"/>
                  </a:cubicBezTo>
                  <a:cubicBezTo>
                    <a:pt x="38" y="199"/>
                    <a:pt x="40" y="200"/>
                    <a:pt x="41" y="201"/>
                  </a:cubicBezTo>
                  <a:cubicBezTo>
                    <a:pt x="42" y="202"/>
                    <a:pt x="43" y="202"/>
                    <a:pt x="44" y="203"/>
                  </a:cubicBezTo>
                  <a:cubicBezTo>
                    <a:pt x="45" y="202"/>
                    <a:pt x="45" y="199"/>
                    <a:pt x="46" y="199"/>
                  </a:cubicBezTo>
                  <a:cubicBezTo>
                    <a:pt x="48" y="199"/>
                    <a:pt x="47" y="202"/>
                    <a:pt x="48" y="203"/>
                  </a:cubicBezTo>
                  <a:cubicBezTo>
                    <a:pt x="49" y="204"/>
                    <a:pt x="51" y="203"/>
                    <a:pt x="52" y="203"/>
                  </a:cubicBezTo>
                  <a:cubicBezTo>
                    <a:pt x="53" y="204"/>
                    <a:pt x="55" y="205"/>
                    <a:pt x="56" y="206"/>
                  </a:cubicBezTo>
                  <a:cubicBezTo>
                    <a:pt x="56" y="208"/>
                    <a:pt x="54" y="210"/>
                    <a:pt x="54" y="213"/>
                  </a:cubicBezTo>
                  <a:cubicBezTo>
                    <a:pt x="54" y="214"/>
                    <a:pt x="54" y="216"/>
                    <a:pt x="56" y="216"/>
                  </a:cubicBezTo>
                  <a:cubicBezTo>
                    <a:pt x="58" y="215"/>
                    <a:pt x="59" y="213"/>
                    <a:pt x="62" y="212"/>
                  </a:cubicBezTo>
                  <a:cubicBezTo>
                    <a:pt x="63" y="211"/>
                    <a:pt x="65" y="212"/>
                    <a:pt x="65" y="211"/>
                  </a:cubicBezTo>
                  <a:cubicBezTo>
                    <a:pt x="66" y="209"/>
                    <a:pt x="66" y="208"/>
                    <a:pt x="66" y="20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3" name="Freeform 133"/>
            <p:cNvSpPr>
              <a:spLocks noChangeAspect="1"/>
            </p:cNvSpPr>
            <p:nvPr/>
          </p:nvSpPr>
          <p:spPr bwMode="auto">
            <a:xfrm>
              <a:off x="6931025" y="3575050"/>
              <a:ext cx="192088" cy="244475"/>
            </a:xfrm>
            <a:custGeom>
              <a:avLst/>
              <a:gdLst>
                <a:gd name="T0" fmla="*/ 180677 w 101"/>
                <a:gd name="T1" fmla="*/ 229195 h 128"/>
                <a:gd name="T2" fmla="*/ 167364 w 101"/>
                <a:gd name="T3" fmla="*/ 227285 h 128"/>
                <a:gd name="T4" fmla="*/ 157855 w 101"/>
                <a:gd name="T5" fmla="*/ 242565 h 128"/>
                <a:gd name="T6" fmla="*/ 142640 w 101"/>
                <a:gd name="T7" fmla="*/ 236835 h 128"/>
                <a:gd name="T8" fmla="*/ 133130 w 101"/>
                <a:gd name="T9" fmla="*/ 233015 h 128"/>
                <a:gd name="T10" fmla="*/ 140738 w 101"/>
                <a:gd name="T11" fmla="*/ 225375 h 128"/>
                <a:gd name="T12" fmla="*/ 144541 w 101"/>
                <a:gd name="T13" fmla="*/ 194816 h 128"/>
                <a:gd name="T14" fmla="*/ 138836 w 101"/>
                <a:gd name="T15" fmla="*/ 183356 h 128"/>
                <a:gd name="T16" fmla="*/ 121719 w 101"/>
                <a:gd name="T17" fmla="*/ 171896 h 128"/>
                <a:gd name="T18" fmla="*/ 119817 w 101"/>
                <a:gd name="T19" fmla="*/ 145157 h 128"/>
                <a:gd name="T20" fmla="*/ 102701 w 101"/>
                <a:gd name="T21" fmla="*/ 129877 h 128"/>
                <a:gd name="T22" fmla="*/ 95093 w 101"/>
                <a:gd name="T23" fmla="*/ 120328 h 128"/>
                <a:gd name="T24" fmla="*/ 79878 w 101"/>
                <a:gd name="T25" fmla="*/ 116508 h 128"/>
                <a:gd name="T26" fmla="*/ 68467 w 101"/>
                <a:gd name="T27" fmla="*/ 129877 h 128"/>
                <a:gd name="T28" fmla="*/ 58958 w 101"/>
                <a:gd name="T29" fmla="*/ 137517 h 128"/>
                <a:gd name="T30" fmla="*/ 49448 w 101"/>
                <a:gd name="T31" fmla="*/ 122238 h 128"/>
                <a:gd name="T32" fmla="*/ 39939 w 101"/>
                <a:gd name="T33" fmla="*/ 131787 h 128"/>
                <a:gd name="T34" fmla="*/ 24724 w 101"/>
                <a:gd name="T35" fmla="*/ 139427 h 128"/>
                <a:gd name="T36" fmla="*/ 24724 w 101"/>
                <a:gd name="T37" fmla="*/ 108868 h 128"/>
                <a:gd name="T38" fmla="*/ 28528 w 101"/>
                <a:gd name="T39" fmla="*/ 95498 h 128"/>
                <a:gd name="T40" fmla="*/ 20920 w 101"/>
                <a:gd name="T41" fmla="*/ 82128 h 128"/>
                <a:gd name="T42" fmla="*/ 11411 w 101"/>
                <a:gd name="T43" fmla="*/ 74488 h 128"/>
                <a:gd name="T44" fmla="*/ 5706 w 101"/>
                <a:gd name="T45" fmla="*/ 61119 h 128"/>
                <a:gd name="T46" fmla="*/ 1902 w 101"/>
                <a:gd name="T47" fmla="*/ 49659 h 128"/>
                <a:gd name="T48" fmla="*/ 7607 w 101"/>
                <a:gd name="T49" fmla="*/ 40109 h 128"/>
                <a:gd name="T50" fmla="*/ 20920 w 101"/>
                <a:gd name="T51" fmla="*/ 24829 h 128"/>
                <a:gd name="T52" fmla="*/ 28528 w 101"/>
                <a:gd name="T53" fmla="*/ 34379 h 128"/>
                <a:gd name="T54" fmla="*/ 39939 w 101"/>
                <a:gd name="T55" fmla="*/ 32469 h 128"/>
                <a:gd name="T56" fmla="*/ 32332 w 101"/>
                <a:gd name="T57" fmla="*/ 13370 h 128"/>
                <a:gd name="T58" fmla="*/ 34234 w 101"/>
                <a:gd name="T59" fmla="*/ 0 h 128"/>
                <a:gd name="T60" fmla="*/ 45645 w 101"/>
                <a:gd name="T61" fmla="*/ 3820 h 128"/>
                <a:gd name="T62" fmla="*/ 57056 w 101"/>
                <a:gd name="T63" fmla="*/ 21010 h 128"/>
                <a:gd name="T64" fmla="*/ 66565 w 101"/>
                <a:gd name="T65" fmla="*/ 22920 h 128"/>
                <a:gd name="T66" fmla="*/ 72271 w 101"/>
                <a:gd name="T67" fmla="*/ 47749 h 128"/>
                <a:gd name="T68" fmla="*/ 83682 w 101"/>
                <a:gd name="T69" fmla="*/ 53479 h 128"/>
                <a:gd name="T70" fmla="*/ 98897 w 101"/>
                <a:gd name="T71" fmla="*/ 45839 h 128"/>
                <a:gd name="T72" fmla="*/ 100799 w 101"/>
                <a:gd name="T73" fmla="*/ 59209 h 128"/>
                <a:gd name="T74" fmla="*/ 116014 w 101"/>
                <a:gd name="T75" fmla="*/ 68759 h 128"/>
                <a:gd name="T76" fmla="*/ 112210 w 101"/>
                <a:gd name="T77" fmla="*/ 74488 h 128"/>
                <a:gd name="T78" fmla="*/ 98897 w 101"/>
                <a:gd name="T79" fmla="*/ 80218 h 128"/>
                <a:gd name="T80" fmla="*/ 91289 w 101"/>
                <a:gd name="T81" fmla="*/ 89768 h 128"/>
                <a:gd name="T82" fmla="*/ 125523 w 101"/>
                <a:gd name="T83" fmla="*/ 118418 h 128"/>
                <a:gd name="T84" fmla="*/ 144541 w 101"/>
                <a:gd name="T85" fmla="*/ 141337 h 128"/>
                <a:gd name="T86" fmla="*/ 159756 w 101"/>
                <a:gd name="T87" fmla="*/ 158527 h 128"/>
                <a:gd name="T88" fmla="*/ 176873 w 101"/>
                <a:gd name="T89" fmla="*/ 177626 h 128"/>
                <a:gd name="T90" fmla="*/ 180677 w 101"/>
                <a:gd name="T91" fmla="*/ 189086 h 128"/>
                <a:gd name="T92" fmla="*/ 186382 w 101"/>
                <a:gd name="T93" fmla="*/ 212006 h 1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1"/>
                <a:gd name="T142" fmla="*/ 0 h 128"/>
                <a:gd name="T143" fmla="*/ 101 w 101"/>
                <a:gd name="T144" fmla="*/ 128 h 1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1" h="128">
                  <a:moveTo>
                    <a:pt x="99" y="117"/>
                  </a:moveTo>
                  <a:cubicBezTo>
                    <a:pt x="98" y="118"/>
                    <a:pt x="97" y="120"/>
                    <a:pt x="95" y="120"/>
                  </a:cubicBezTo>
                  <a:cubicBezTo>
                    <a:pt x="94" y="121"/>
                    <a:pt x="92" y="121"/>
                    <a:pt x="91" y="120"/>
                  </a:cubicBezTo>
                  <a:cubicBezTo>
                    <a:pt x="90" y="120"/>
                    <a:pt x="89" y="119"/>
                    <a:pt x="88" y="119"/>
                  </a:cubicBezTo>
                  <a:cubicBezTo>
                    <a:pt x="86" y="120"/>
                    <a:pt x="83" y="120"/>
                    <a:pt x="82" y="121"/>
                  </a:cubicBezTo>
                  <a:cubicBezTo>
                    <a:pt x="81" y="123"/>
                    <a:pt x="84" y="125"/>
                    <a:pt x="83" y="127"/>
                  </a:cubicBezTo>
                  <a:cubicBezTo>
                    <a:pt x="82" y="128"/>
                    <a:pt x="81" y="126"/>
                    <a:pt x="80" y="126"/>
                  </a:cubicBezTo>
                  <a:cubicBezTo>
                    <a:pt x="78" y="125"/>
                    <a:pt x="76" y="124"/>
                    <a:pt x="75" y="124"/>
                  </a:cubicBezTo>
                  <a:cubicBezTo>
                    <a:pt x="74" y="124"/>
                    <a:pt x="73" y="125"/>
                    <a:pt x="72" y="124"/>
                  </a:cubicBezTo>
                  <a:cubicBezTo>
                    <a:pt x="71" y="124"/>
                    <a:pt x="71" y="123"/>
                    <a:pt x="70" y="122"/>
                  </a:cubicBezTo>
                  <a:cubicBezTo>
                    <a:pt x="71" y="122"/>
                    <a:pt x="71" y="121"/>
                    <a:pt x="72" y="120"/>
                  </a:cubicBezTo>
                  <a:cubicBezTo>
                    <a:pt x="73" y="120"/>
                    <a:pt x="74" y="119"/>
                    <a:pt x="74" y="118"/>
                  </a:cubicBezTo>
                  <a:cubicBezTo>
                    <a:pt x="75" y="114"/>
                    <a:pt x="73" y="110"/>
                    <a:pt x="73" y="106"/>
                  </a:cubicBezTo>
                  <a:cubicBezTo>
                    <a:pt x="74" y="104"/>
                    <a:pt x="76" y="103"/>
                    <a:pt x="76" y="102"/>
                  </a:cubicBezTo>
                  <a:cubicBezTo>
                    <a:pt x="76" y="100"/>
                    <a:pt x="73" y="100"/>
                    <a:pt x="73" y="98"/>
                  </a:cubicBezTo>
                  <a:cubicBezTo>
                    <a:pt x="72" y="98"/>
                    <a:pt x="74" y="96"/>
                    <a:pt x="73" y="96"/>
                  </a:cubicBezTo>
                  <a:cubicBezTo>
                    <a:pt x="72" y="95"/>
                    <a:pt x="70" y="96"/>
                    <a:pt x="69" y="95"/>
                  </a:cubicBezTo>
                  <a:cubicBezTo>
                    <a:pt x="67" y="93"/>
                    <a:pt x="65" y="92"/>
                    <a:pt x="64" y="90"/>
                  </a:cubicBezTo>
                  <a:cubicBezTo>
                    <a:pt x="63" y="87"/>
                    <a:pt x="62" y="84"/>
                    <a:pt x="62" y="81"/>
                  </a:cubicBezTo>
                  <a:cubicBezTo>
                    <a:pt x="61" y="79"/>
                    <a:pt x="64" y="77"/>
                    <a:pt x="63" y="76"/>
                  </a:cubicBezTo>
                  <a:cubicBezTo>
                    <a:pt x="62" y="74"/>
                    <a:pt x="60" y="73"/>
                    <a:pt x="58" y="72"/>
                  </a:cubicBezTo>
                  <a:cubicBezTo>
                    <a:pt x="57" y="70"/>
                    <a:pt x="55" y="70"/>
                    <a:pt x="54" y="68"/>
                  </a:cubicBezTo>
                  <a:cubicBezTo>
                    <a:pt x="53" y="66"/>
                    <a:pt x="54" y="64"/>
                    <a:pt x="52" y="62"/>
                  </a:cubicBezTo>
                  <a:cubicBezTo>
                    <a:pt x="52" y="61"/>
                    <a:pt x="51" y="63"/>
                    <a:pt x="50" y="63"/>
                  </a:cubicBezTo>
                  <a:cubicBezTo>
                    <a:pt x="49" y="63"/>
                    <a:pt x="48" y="61"/>
                    <a:pt x="47" y="61"/>
                  </a:cubicBezTo>
                  <a:cubicBezTo>
                    <a:pt x="46" y="60"/>
                    <a:pt x="44" y="60"/>
                    <a:pt x="42" y="61"/>
                  </a:cubicBezTo>
                  <a:cubicBezTo>
                    <a:pt x="41" y="62"/>
                    <a:pt x="41" y="65"/>
                    <a:pt x="40" y="67"/>
                  </a:cubicBezTo>
                  <a:cubicBezTo>
                    <a:pt x="39" y="68"/>
                    <a:pt x="37" y="67"/>
                    <a:pt x="36" y="68"/>
                  </a:cubicBezTo>
                  <a:cubicBezTo>
                    <a:pt x="35" y="69"/>
                    <a:pt x="36" y="71"/>
                    <a:pt x="34" y="72"/>
                  </a:cubicBezTo>
                  <a:cubicBezTo>
                    <a:pt x="33" y="73"/>
                    <a:pt x="31" y="73"/>
                    <a:pt x="31" y="72"/>
                  </a:cubicBezTo>
                  <a:cubicBezTo>
                    <a:pt x="30" y="71"/>
                    <a:pt x="32" y="69"/>
                    <a:pt x="32" y="68"/>
                  </a:cubicBezTo>
                  <a:cubicBezTo>
                    <a:pt x="31" y="66"/>
                    <a:pt x="28" y="65"/>
                    <a:pt x="26" y="64"/>
                  </a:cubicBezTo>
                  <a:cubicBezTo>
                    <a:pt x="24" y="64"/>
                    <a:pt x="23" y="65"/>
                    <a:pt x="21" y="66"/>
                  </a:cubicBezTo>
                  <a:cubicBezTo>
                    <a:pt x="21" y="67"/>
                    <a:pt x="22" y="68"/>
                    <a:pt x="21" y="69"/>
                  </a:cubicBezTo>
                  <a:cubicBezTo>
                    <a:pt x="20" y="71"/>
                    <a:pt x="18" y="74"/>
                    <a:pt x="15" y="75"/>
                  </a:cubicBezTo>
                  <a:cubicBezTo>
                    <a:pt x="14" y="75"/>
                    <a:pt x="13" y="74"/>
                    <a:pt x="13" y="73"/>
                  </a:cubicBezTo>
                  <a:cubicBezTo>
                    <a:pt x="12" y="69"/>
                    <a:pt x="14" y="65"/>
                    <a:pt x="14" y="62"/>
                  </a:cubicBezTo>
                  <a:cubicBezTo>
                    <a:pt x="14" y="60"/>
                    <a:pt x="13" y="59"/>
                    <a:pt x="13" y="57"/>
                  </a:cubicBezTo>
                  <a:cubicBezTo>
                    <a:pt x="13" y="56"/>
                    <a:pt x="15" y="55"/>
                    <a:pt x="15" y="54"/>
                  </a:cubicBezTo>
                  <a:cubicBezTo>
                    <a:pt x="16" y="52"/>
                    <a:pt x="15" y="51"/>
                    <a:pt x="15" y="50"/>
                  </a:cubicBezTo>
                  <a:cubicBezTo>
                    <a:pt x="15" y="48"/>
                    <a:pt x="17" y="46"/>
                    <a:pt x="16" y="45"/>
                  </a:cubicBezTo>
                  <a:cubicBezTo>
                    <a:pt x="15" y="43"/>
                    <a:pt x="12" y="44"/>
                    <a:pt x="11" y="43"/>
                  </a:cubicBezTo>
                  <a:cubicBezTo>
                    <a:pt x="8" y="43"/>
                    <a:pt x="6" y="43"/>
                    <a:pt x="4" y="42"/>
                  </a:cubicBezTo>
                  <a:cubicBezTo>
                    <a:pt x="3" y="41"/>
                    <a:pt x="6" y="40"/>
                    <a:pt x="6" y="39"/>
                  </a:cubicBezTo>
                  <a:cubicBezTo>
                    <a:pt x="6" y="38"/>
                    <a:pt x="7" y="36"/>
                    <a:pt x="6" y="35"/>
                  </a:cubicBezTo>
                  <a:cubicBezTo>
                    <a:pt x="6" y="34"/>
                    <a:pt x="4" y="32"/>
                    <a:pt x="3" y="32"/>
                  </a:cubicBezTo>
                  <a:cubicBezTo>
                    <a:pt x="2" y="32"/>
                    <a:pt x="1" y="32"/>
                    <a:pt x="0" y="32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2" y="25"/>
                    <a:pt x="6" y="26"/>
                    <a:pt x="7" y="25"/>
                  </a:cubicBezTo>
                  <a:cubicBezTo>
                    <a:pt x="7" y="23"/>
                    <a:pt x="4" y="23"/>
                    <a:pt x="4" y="21"/>
                  </a:cubicBezTo>
                  <a:cubicBezTo>
                    <a:pt x="4" y="19"/>
                    <a:pt x="5" y="17"/>
                    <a:pt x="7" y="15"/>
                  </a:cubicBezTo>
                  <a:cubicBezTo>
                    <a:pt x="8" y="14"/>
                    <a:pt x="10" y="14"/>
                    <a:pt x="11" y="13"/>
                  </a:cubicBezTo>
                  <a:cubicBezTo>
                    <a:pt x="12" y="14"/>
                    <a:pt x="11" y="16"/>
                    <a:pt x="12" y="17"/>
                  </a:cubicBezTo>
                  <a:cubicBezTo>
                    <a:pt x="13" y="18"/>
                    <a:pt x="14" y="18"/>
                    <a:pt x="15" y="18"/>
                  </a:cubicBezTo>
                  <a:cubicBezTo>
                    <a:pt x="16" y="18"/>
                    <a:pt x="18" y="18"/>
                    <a:pt x="19" y="18"/>
                  </a:cubicBezTo>
                  <a:cubicBezTo>
                    <a:pt x="19" y="17"/>
                    <a:pt x="21" y="17"/>
                    <a:pt x="21" y="17"/>
                  </a:cubicBezTo>
                  <a:cubicBezTo>
                    <a:pt x="21" y="15"/>
                    <a:pt x="20" y="14"/>
                    <a:pt x="19" y="12"/>
                  </a:cubicBezTo>
                  <a:cubicBezTo>
                    <a:pt x="19" y="11"/>
                    <a:pt x="18" y="9"/>
                    <a:pt x="17" y="7"/>
                  </a:cubicBezTo>
                  <a:cubicBezTo>
                    <a:pt x="16" y="6"/>
                    <a:pt x="16" y="4"/>
                    <a:pt x="16" y="3"/>
                  </a:cubicBezTo>
                  <a:cubicBezTo>
                    <a:pt x="16" y="2"/>
                    <a:pt x="17" y="1"/>
                    <a:pt x="18" y="0"/>
                  </a:cubicBezTo>
                  <a:cubicBezTo>
                    <a:pt x="19" y="0"/>
                    <a:pt x="20" y="1"/>
                    <a:pt x="21" y="2"/>
                  </a:cubicBezTo>
                  <a:cubicBezTo>
                    <a:pt x="22" y="2"/>
                    <a:pt x="23" y="2"/>
                    <a:pt x="24" y="2"/>
                  </a:cubicBezTo>
                  <a:cubicBezTo>
                    <a:pt x="25" y="3"/>
                    <a:pt x="26" y="5"/>
                    <a:pt x="27" y="6"/>
                  </a:cubicBezTo>
                  <a:cubicBezTo>
                    <a:pt x="27" y="8"/>
                    <a:pt x="28" y="11"/>
                    <a:pt x="30" y="11"/>
                  </a:cubicBezTo>
                  <a:cubicBezTo>
                    <a:pt x="31" y="12"/>
                    <a:pt x="31" y="8"/>
                    <a:pt x="32" y="9"/>
                  </a:cubicBezTo>
                  <a:cubicBezTo>
                    <a:pt x="33" y="9"/>
                    <a:pt x="34" y="11"/>
                    <a:pt x="35" y="12"/>
                  </a:cubicBezTo>
                  <a:cubicBezTo>
                    <a:pt x="35" y="14"/>
                    <a:pt x="33" y="16"/>
                    <a:pt x="33" y="17"/>
                  </a:cubicBezTo>
                  <a:cubicBezTo>
                    <a:pt x="34" y="20"/>
                    <a:pt x="36" y="23"/>
                    <a:pt x="38" y="25"/>
                  </a:cubicBezTo>
                  <a:cubicBezTo>
                    <a:pt x="39" y="26"/>
                    <a:pt x="40" y="25"/>
                    <a:pt x="41" y="26"/>
                  </a:cubicBezTo>
                  <a:cubicBezTo>
                    <a:pt x="42" y="26"/>
                    <a:pt x="43" y="29"/>
                    <a:pt x="44" y="28"/>
                  </a:cubicBezTo>
                  <a:cubicBezTo>
                    <a:pt x="46" y="28"/>
                    <a:pt x="47" y="25"/>
                    <a:pt x="49" y="24"/>
                  </a:cubicBezTo>
                  <a:cubicBezTo>
                    <a:pt x="50" y="24"/>
                    <a:pt x="51" y="24"/>
                    <a:pt x="52" y="24"/>
                  </a:cubicBezTo>
                  <a:cubicBezTo>
                    <a:pt x="54" y="26"/>
                    <a:pt x="56" y="29"/>
                    <a:pt x="56" y="31"/>
                  </a:cubicBezTo>
                  <a:cubicBezTo>
                    <a:pt x="56" y="32"/>
                    <a:pt x="54" y="31"/>
                    <a:pt x="53" y="31"/>
                  </a:cubicBezTo>
                  <a:cubicBezTo>
                    <a:pt x="52" y="32"/>
                    <a:pt x="52" y="33"/>
                    <a:pt x="52" y="33"/>
                  </a:cubicBezTo>
                  <a:cubicBezTo>
                    <a:pt x="55" y="34"/>
                    <a:pt x="59" y="34"/>
                    <a:pt x="61" y="36"/>
                  </a:cubicBezTo>
                  <a:cubicBezTo>
                    <a:pt x="62" y="36"/>
                    <a:pt x="62" y="38"/>
                    <a:pt x="62" y="39"/>
                  </a:cubicBezTo>
                  <a:cubicBezTo>
                    <a:pt x="61" y="40"/>
                    <a:pt x="60" y="38"/>
                    <a:pt x="59" y="39"/>
                  </a:cubicBezTo>
                  <a:cubicBezTo>
                    <a:pt x="58" y="40"/>
                    <a:pt x="58" y="42"/>
                    <a:pt x="57" y="43"/>
                  </a:cubicBezTo>
                  <a:cubicBezTo>
                    <a:pt x="55" y="44"/>
                    <a:pt x="54" y="42"/>
                    <a:pt x="52" y="42"/>
                  </a:cubicBezTo>
                  <a:cubicBezTo>
                    <a:pt x="51" y="43"/>
                    <a:pt x="52" y="44"/>
                    <a:pt x="51" y="45"/>
                  </a:cubicBezTo>
                  <a:cubicBezTo>
                    <a:pt x="50" y="46"/>
                    <a:pt x="47" y="46"/>
                    <a:pt x="48" y="47"/>
                  </a:cubicBezTo>
                  <a:cubicBezTo>
                    <a:pt x="53" y="51"/>
                    <a:pt x="60" y="52"/>
                    <a:pt x="65" y="56"/>
                  </a:cubicBezTo>
                  <a:cubicBezTo>
                    <a:pt x="67" y="58"/>
                    <a:pt x="65" y="60"/>
                    <a:pt x="66" y="62"/>
                  </a:cubicBezTo>
                  <a:cubicBezTo>
                    <a:pt x="66" y="63"/>
                    <a:pt x="68" y="64"/>
                    <a:pt x="69" y="65"/>
                  </a:cubicBezTo>
                  <a:cubicBezTo>
                    <a:pt x="71" y="68"/>
                    <a:pt x="73" y="72"/>
                    <a:pt x="76" y="74"/>
                  </a:cubicBezTo>
                  <a:cubicBezTo>
                    <a:pt x="77" y="76"/>
                    <a:pt x="79" y="76"/>
                    <a:pt x="80" y="77"/>
                  </a:cubicBezTo>
                  <a:cubicBezTo>
                    <a:pt x="82" y="79"/>
                    <a:pt x="83" y="81"/>
                    <a:pt x="84" y="83"/>
                  </a:cubicBezTo>
                  <a:cubicBezTo>
                    <a:pt x="85" y="85"/>
                    <a:pt x="85" y="87"/>
                    <a:pt x="86" y="89"/>
                  </a:cubicBezTo>
                  <a:cubicBezTo>
                    <a:pt x="88" y="91"/>
                    <a:pt x="91" y="91"/>
                    <a:pt x="93" y="93"/>
                  </a:cubicBezTo>
                  <a:cubicBezTo>
                    <a:pt x="95" y="94"/>
                    <a:pt x="98" y="95"/>
                    <a:pt x="98" y="97"/>
                  </a:cubicBezTo>
                  <a:cubicBezTo>
                    <a:pt x="98" y="98"/>
                    <a:pt x="94" y="98"/>
                    <a:pt x="95" y="99"/>
                  </a:cubicBezTo>
                  <a:cubicBezTo>
                    <a:pt x="96" y="103"/>
                    <a:pt x="100" y="104"/>
                    <a:pt x="101" y="107"/>
                  </a:cubicBezTo>
                  <a:cubicBezTo>
                    <a:pt x="101" y="109"/>
                    <a:pt x="98" y="109"/>
                    <a:pt x="98" y="111"/>
                  </a:cubicBezTo>
                  <a:cubicBezTo>
                    <a:pt x="97" y="113"/>
                    <a:pt x="99" y="115"/>
                    <a:pt x="99" y="11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4" name="Freeform 134"/>
            <p:cNvSpPr>
              <a:spLocks noChangeAspect="1"/>
            </p:cNvSpPr>
            <p:nvPr/>
          </p:nvSpPr>
          <p:spPr bwMode="auto">
            <a:xfrm>
              <a:off x="6999288" y="3798888"/>
              <a:ext cx="131762" cy="114300"/>
            </a:xfrm>
            <a:custGeom>
              <a:avLst/>
              <a:gdLst>
                <a:gd name="T0" fmla="*/ 51559 w 69"/>
                <a:gd name="T1" fmla="*/ 114300 h 60"/>
                <a:gd name="T2" fmla="*/ 43921 w 69"/>
                <a:gd name="T3" fmla="*/ 110490 h 60"/>
                <a:gd name="T4" fmla="*/ 36282 w 69"/>
                <a:gd name="T5" fmla="*/ 102870 h 60"/>
                <a:gd name="T6" fmla="*/ 36282 w 69"/>
                <a:gd name="T7" fmla="*/ 93345 h 60"/>
                <a:gd name="T8" fmla="*/ 30554 w 69"/>
                <a:gd name="T9" fmla="*/ 97155 h 60"/>
                <a:gd name="T10" fmla="*/ 26734 w 69"/>
                <a:gd name="T11" fmla="*/ 102870 h 60"/>
                <a:gd name="T12" fmla="*/ 19096 w 69"/>
                <a:gd name="T13" fmla="*/ 102870 h 60"/>
                <a:gd name="T14" fmla="*/ 21006 w 69"/>
                <a:gd name="T15" fmla="*/ 91440 h 60"/>
                <a:gd name="T16" fmla="*/ 17186 w 69"/>
                <a:gd name="T17" fmla="*/ 80010 h 60"/>
                <a:gd name="T18" fmla="*/ 11458 w 69"/>
                <a:gd name="T19" fmla="*/ 68580 h 60"/>
                <a:gd name="T20" fmla="*/ 9548 w 69"/>
                <a:gd name="T21" fmla="*/ 57150 h 60"/>
                <a:gd name="T22" fmla="*/ 3819 w 69"/>
                <a:gd name="T23" fmla="*/ 51435 h 60"/>
                <a:gd name="T24" fmla="*/ 3819 w 69"/>
                <a:gd name="T25" fmla="*/ 43815 h 60"/>
                <a:gd name="T26" fmla="*/ 0 w 69"/>
                <a:gd name="T27" fmla="*/ 36195 h 60"/>
                <a:gd name="T28" fmla="*/ 1910 w 69"/>
                <a:gd name="T29" fmla="*/ 24765 h 60"/>
                <a:gd name="T30" fmla="*/ 5729 w 69"/>
                <a:gd name="T31" fmla="*/ 24765 h 60"/>
                <a:gd name="T32" fmla="*/ 13367 w 69"/>
                <a:gd name="T33" fmla="*/ 13335 h 60"/>
                <a:gd name="T34" fmla="*/ 24825 w 69"/>
                <a:gd name="T35" fmla="*/ 3810 h 60"/>
                <a:gd name="T36" fmla="*/ 32463 w 69"/>
                <a:gd name="T37" fmla="*/ 5715 h 60"/>
                <a:gd name="T38" fmla="*/ 38192 w 69"/>
                <a:gd name="T39" fmla="*/ 5715 h 60"/>
                <a:gd name="T40" fmla="*/ 55378 w 69"/>
                <a:gd name="T41" fmla="*/ 5715 h 60"/>
                <a:gd name="T42" fmla="*/ 64926 w 69"/>
                <a:gd name="T43" fmla="*/ 9525 h 60"/>
                <a:gd name="T44" fmla="*/ 68745 w 69"/>
                <a:gd name="T45" fmla="*/ 13335 h 60"/>
                <a:gd name="T46" fmla="*/ 74474 w 69"/>
                <a:gd name="T47" fmla="*/ 13335 h 60"/>
                <a:gd name="T48" fmla="*/ 84022 w 69"/>
                <a:gd name="T49" fmla="*/ 17145 h 60"/>
                <a:gd name="T50" fmla="*/ 89751 w 69"/>
                <a:gd name="T51" fmla="*/ 19050 h 60"/>
                <a:gd name="T52" fmla="*/ 87841 w 69"/>
                <a:gd name="T53" fmla="*/ 7620 h 60"/>
                <a:gd name="T54" fmla="*/ 99299 w 69"/>
                <a:gd name="T55" fmla="*/ 3810 h 60"/>
                <a:gd name="T56" fmla="*/ 105028 w 69"/>
                <a:gd name="T57" fmla="*/ 5715 h 60"/>
                <a:gd name="T58" fmla="*/ 112666 w 69"/>
                <a:gd name="T59" fmla="*/ 5715 h 60"/>
                <a:gd name="T60" fmla="*/ 120304 w 69"/>
                <a:gd name="T61" fmla="*/ 0 h 60"/>
                <a:gd name="T62" fmla="*/ 122214 w 69"/>
                <a:gd name="T63" fmla="*/ 7620 h 60"/>
                <a:gd name="T64" fmla="*/ 122214 w 69"/>
                <a:gd name="T65" fmla="*/ 13335 h 60"/>
                <a:gd name="T66" fmla="*/ 122214 w 69"/>
                <a:gd name="T67" fmla="*/ 22860 h 60"/>
                <a:gd name="T68" fmla="*/ 127943 w 69"/>
                <a:gd name="T69" fmla="*/ 26670 h 60"/>
                <a:gd name="T70" fmla="*/ 129852 w 69"/>
                <a:gd name="T71" fmla="*/ 43815 h 60"/>
                <a:gd name="T72" fmla="*/ 124124 w 69"/>
                <a:gd name="T73" fmla="*/ 64770 h 60"/>
                <a:gd name="T74" fmla="*/ 120304 w 69"/>
                <a:gd name="T75" fmla="*/ 62865 h 60"/>
                <a:gd name="T76" fmla="*/ 108847 w 69"/>
                <a:gd name="T77" fmla="*/ 72390 h 60"/>
                <a:gd name="T78" fmla="*/ 97389 w 69"/>
                <a:gd name="T79" fmla="*/ 72390 h 60"/>
                <a:gd name="T80" fmla="*/ 95480 w 69"/>
                <a:gd name="T81" fmla="*/ 80010 h 60"/>
                <a:gd name="T82" fmla="*/ 87841 w 69"/>
                <a:gd name="T83" fmla="*/ 78105 h 60"/>
                <a:gd name="T84" fmla="*/ 84022 w 69"/>
                <a:gd name="T85" fmla="*/ 81915 h 60"/>
                <a:gd name="T86" fmla="*/ 87841 w 69"/>
                <a:gd name="T87" fmla="*/ 91440 h 60"/>
                <a:gd name="T88" fmla="*/ 91661 w 69"/>
                <a:gd name="T89" fmla="*/ 95250 h 60"/>
                <a:gd name="T90" fmla="*/ 93570 w 69"/>
                <a:gd name="T91" fmla="*/ 100965 h 60"/>
                <a:gd name="T92" fmla="*/ 91661 w 69"/>
                <a:gd name="T93" fmla="*/ 106680 h 60"/>
                <a:gd name="T94" fmla="*/ 82113 w 69"/>
                <a:gd name="T95" fmla="*/ 102870 h 60"/>
                <a:gd name="T96" fmla="*/ 64926 w 69"/>
                <a:gd name="T97" fmla="*/ 102870 h 60"/>
                <a:gd name="T98" fmla="*/ 66836 w 69"/>
                <a:gd name="T99" fmla="*/ 110490 h 60"/>
                <a:gd name="T100" fmla="*/ 59197 w 69"/>
                <a:gd name="T101" fmla="*/ 114300 h 60"/>
                <a:gd name="T102" fmla="*/ 51559 w 69"/>
                <a:gd name="T103" fmla="*/ 114300 h 6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"/>
                <a:gd name="T157" fmla="*/ 0 h 60"/>
                <a:gd name="T158" fmla="*/ 69 w 69"/>
                <a:gd name="T159" fmla="*/ 60 h 6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" h="60">
                  <a:moveTo>
                    <a:pt x="27" y="60"/>
                  </a:moveTo>
                  <a:cubicBezTo>
                    <a:pt x="25" y="59"/>
                    <a:pt x="24" y="59"/>
                    <a:pt x="23" y="58"/>
                  </a:cubicBezTo>
                  <a:cubicBezTo>
                    <a:pt x="21" y="57"/>
                    <a:pt x="20" y="55"/>
                    <a:pt x="19" y="54"/>
                  </a:cubicBezTo>
                  <a:cubicBezTo>
                    <a:pt x="19" y="52"/>
                    <a:pt x="20" y="50"/>
                    <a:pt x="19" y="49"/>
                  </a:cubicBezTo>
                  <a:cubicBezTo>
                    <a:pt x="18" y="48"/>
                    <a:pt x="17" y="50"/>
                    <a:pt x="16" y="51"/>
                  </a:cubicBezTo>
                  <a:cubicBezTo>
                    <a:pt x="15" y="51"/>
                    <a:pt x="15" y="53"/>
                    <a:pt x="14" y="54"/>
                  </a:cubicBezTo>
                  <a:cubicBezTo>
                    <a:pt x="13" y="54"/>
                    <a:pt x="11" y="55"/>
                    <a:pt x="10" y="54"/>
                  </a:cubicBezTo>
                  <a:cubicBezTo>
                    <a:pt x="9" y="52"/>
                    <a:pt x="11" y="50"/>
                    <a:pt x="11" y="48"/>
                  </a:cubicBezTo>
                  <a:cubicBezTo>
                    <a:pt x="11" y="46"/>
                    <a:pt x="10" y="44"/>
                    <a:pt x="9" y="42"/>
                  </a:cubicBezTo>
                  <a:cubicBezTo>
                    <a:pt x="8" y="41"/>
                    <a:pt x="7" y="38"/>
                    <a:pt x="6" y="36"/>
                  </a:cubicBezTo>
                  <a:cubicBezTo>
                    <a:pt x="6" y="34"/>
                    <a:pt x="6" y="32"/>
                    <a:pt x="5" y="30"/>
                  </a:cubicBezTo>
                  <a:cubicBezTo>
                    <a:pt x="4" y="29"/>
                    <a:pt x="2" y="29"/>
                    <a:pt x="2" y="27"/>
                  </a:cubicBezTo>
                  <a:cubicBezTo>
                    <a:pt x="1" y="26"/>
                    <a:pt x="2" y="25"/>
                    <a:pt x="2" y="23"/>
                  </a:cubicBezTo>
                  <a:cubicBezTo>
                    <a:pt x="2" y="22"/>
                    <a:pt x="1" y="21"/>
                    <a:pt x="0" y="19"/>
                  </a:cubicBezTo>
                  <a:cubicBezTo>
                    <a:pt x="0" y="17"/>
                    <a:pt x="0" y="15"/>
                    <a:pt x="1" y="13"/>
                  </a:cubicBezTo>
                  <a:cubicBezTo>
                    <a:pt x="1" y="12"/>
                    <a:pt x="3" y="13"/>
                    <a:pt x="3" y="13"/>
                  </a:cubicBezTo>
                  <a:cubicBezTo>
                    <a:pt x="5" y="11"/>
                    <a:pt x="5" y="8"/>
                    <a:pt x="7" y="7"/>
                  </a:cubicBezTo>
                  <a:cubicBezTo>
                    <a:pt x="9" y="5"/>
                    <a:pt x="11" y="3"/>
                    <a:pt x="13" y="2"/>
                  </a:cubicBezTo>
                  <a:cubicBezTo>
                    <a:pt x="14" y="2"/>
                    <a:pt x="16" y="2"/>
                    <a:pt x="17" y="3"/>
                  </a:cubicBezTo>
                  <a:cubicBezTo>
                    <a:pt x="18" y="3"/>
                    <a:pt x="19" y="3"/>
                    <a:pt x="20" y="3"/>
                  </a:cubicBezTo>
                  <a:cubicBezTo>
                    <a:pt x="23" y="3"/>
                    <a:pt x="26" y="2"/>
                    <a:pt x="29" y="3"/>
                  </a:cubicBezTo>
                  <a:cubicBezTo>
                    <a:pt x="31" y="3"/>
                    <a:pt x="33" y="4"/>
                    <a:pt x="34" y="5"/>
                  </a:cubicBezTo>
                  <a:cubicBezTo>
                    <a:pt x="35" y="6"/>
                    <a:pt x="35" y="7"/>
                    <a:pt x="36" y="7"/>
                  </a:cubicBezTo>
                  <a:cubicBezTo>
                    <a:pt x="37" y="8"/>
                    <a:pt x="38" y="7"/>
                    <a:pt x="39" y="7"/>
                  </a:cubicBezTo>
                  <a:cubicBezTo>
                    <a:pt x="40" y="7"/>
                    <a:pt x="42" y="8"/>
                    <a:pt x="44" y="9"/>
                  </a:cubicBezTo>
                  <a:cubicBezTo>
                    <a:pt x="45" y="9"/>
                    <a:pt x="46" y="11"/>
                    <a:pt x="47" y="10"/>
                  </a:cubicBezTo>
                  <a:cubicBezTo>
                    <a:pt x="48" y="8"/>
                    <a:pt x="45" y="6"/>
                    <a:pt x="46" y="4"/>
                  </a:cubicBezTo>
                  <a:cubicBezTo>
                    <a:pt x="47" y="3"/>
                    <a:pt x="50" y="3"/>
                    <a:pt x="52" y="2"/>
                  </a:cubicBezTo>
                  <a:cubicBezTo>
                    <a:pt x="53" y="2"/>
                    <a:pt x="54" y="3"/>
                    <a:pt x="55" y="3"/>
                  </a:cubicBezTo>
                  <a:cubicBezTo>
                    <a:pt x="56" y="4"/>
                    <a:pt x="58" y="4"/>
                    <a:pt x="59" y="3"/>
                  </a:cubicBezTo>
                  <a:cubicBezTo>
                    <a:pt x="61" y="3"/>
                    <a:pt x="62" y="1"/>
                    <a:pt x="63" y="0"/>
                  </a:cubicBezTo>
                  <a:cubicBezTo>
                    <a:pt x="63" y="1"/>
                    <a:pt x="64" y="3"/>
                    <a:pt x="64" y="4"/>
                  </a:cubicBezTo>
                  <a:cubicBezTo>
                    <a:pt x="64" y="5"/>
                    <a:pt x="65" y="6"/>
                    <a:pt x="64" y="7"/>
                  </a:cubicBezTo>
                  <a:cubicBezTo>
                    <a:pt x="64" y="9"/>
                    <a:pt x="63" y="10"/>
                    <a:pt x="64" y="12"/>
                  </a:cubicBezTo>
                  <a:cubicBezTo>
                    <a:pt x="64" y="13"/>
                    <a:pt x="66" y="13"/>
                    <a:pt x="67" y="14"/>
                  </a:cubicBezTo>
                  <a:cubicBezTo>
                    <a:pt x="68" y="17"/>
                    <a:pt x="69" y="20"/>
                    <a:pt x="68" y="23"/>
                  </a:cubicBezTo>
                  <a:cubicBezTo>
                    <a:pt x="68" y="27"/>
                    <a:pt x="67" y="30"/>
                    <a:pt x="65" y="34"/>
                  </a:cubicBezTo>
                  <a:cubicBezTo>
                    <a:pt x="65" y="34"/>
                    <a:pt x="64" y="33"/>
                    <a:pt x="63" y="33"/>
                  </a:cubicBezTo>
                  <a:cubicBezTo>
                    <a:pt x="61" y="34"/>
                    <a:pt x="59" y="37"/>
                    <a:pt x="57" y="38"/>
                  </a:cubicBezTo>
                  <a:cubicBezTo>
                    <a:pt x="55" y="39"/>
                    <a:pt x="52" y="37"/>
                    <a:pt x="51" y="38"/>
                  </a:cubicBezTo>
                  <a:cubicBezTo>
                    <a:pt x="50" y="39"/>
                    <a:pt x="51" y="41"/>
                    <a:pt x="50" y="42"/>
                  </a:cubicBezTo>
                  <a:cubicBezTo>
                    <a:pt x="49" y="42"/>
                    <a:pt x="47" y="41"/>
                    <a:pt x="46" y="41"/>
                  </a:cubicBezTo>
                  <a:cubicBezTo>
                    <a:pt x="45" y="41"/>
                    <a:pt x="44" y="42"/>
                    <a:pt x="44" y="43"/>
                  </a:cubicBezTo>
                  <a:cubicBezTo>
                    <a:pt x="45" y="45"/>
                    <a:pt x="45" y="47"/>
                    <a:pt x="46" y="48"/>
                  </a:cubicBezTo>
                  <a:cubicBezTo>
                    <a:pt x="46" y="49"/>
                    <a:pt x="48" y="49"/>
                    <a:pt x="48" y="50"/>
                  </a:cubicBezTo>
                  <a:cubicBezTo>
                    <a:pt x="49" y="51"/>
                    <a:pt x="49" y="52"/>
                    <a:pt x="49" y="53"/>
                  </a:cubicBezTo>
                  <a:cubicBezTo>
                    <a:pt x="49" y="54"/>
                    <a:pt x="49" y="56"/>
                    <a:pt x="48" y="56"/>
                  </a:cubicBezTo>
                  <a:cubicBezTo>
                    <a:pt x="46" y="56"/>
                    <a:pt x="45" y="54"/>
                    <a:pt x="43" y="54"/>
                  </a:cubicBezTo>
                  <a:cubicBezTo>
                    <a:pt x="40" y="53"/>
                    <a:pt x="37" y="53"/>
                    <a:pt x="34" y="54"/>
                  </a:cubicBezTo>
                  <a:cubicBezTo>
                    <a:pt x="33" y="54"/>
                    <a:pt x="36" y="57"/>
                    <a:pt x="35" y="58"/>
                  </a:cubicBezTo>
                  <a:cubicBezTo>
                    <a:pt x="34" y="59"/>
                    <a:pt x="33" y="60"/>
                    <a:pt x="31" y="60"/>
                  </a:cubicBezTo>
                  <a:cubicBezTo>
                    <a:pt x="30" y="60"/>
                    <a:pt x="28" y="60"/>
                    <a:pt x="27" y="6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5" name="Freeform 135"/>
            <p:cNvSpPr>
              <a:spLocks noChangeAspect="1"/>
            </p:cNvSpPr>
            <p:nvPr/>
          </p:nvSpPr>
          <p:spPr bwMode="auto">
            <a:xfrm>
              <a:off x="6975475" y="3548063"/>
              <a:ext cx="193675" cy="417512"/>
            </a:xfrm>
            <a:custGeom>
              <a:avLst/>
              <a:gdLst>
                <a:gd name="T0" fmla="*/ 86291 w 101"/>
                <a:gd name="T1" fmla="*/ 367944 h 219"/>
                <a:gd name="T2" fmla="*/ 90126 w 101"/>
                <a:gd name="T3" fmla="*/ 407980 h 219"/>
                <a:gd name="T4" fmla="*/ 101631 w 101"/>
                <a:gd name="T5" fmla="*/ 415606 h 219"/>
                <a:gd name="T6" fmla="*/ 120807 w 101"/>
                <a:gd name="T7" fmla="*/ 394635 h 219"/>
                <a:gd name="T8" fmla="*/ 128477 w 101"/>
                <a:gd name="T9" fmla="*/ 387009 h 219"/>
                <a:gd name="T10" fmla="*/ 126560 w 101"/>
                <a:gd name="T11" fmla="*/ 375570 h 219"/>
                <a:gd name="T12" fmla="*/ 139983 w 101"/>
                <a:gd name="T13" fmla="*/ 366038 h 219"/>
                <a:gd name="T14" fmla="*/ 162994 w 101"/>
                <a:gd name="T15" fmla="*/ 358412 h 219"/>
                <a:gd name="T16" fmla="*/ 182170 w 101"/>
                <a:gd name="T17" fmla="*/ 339348 h 219"/>
                <a:gd name="T18" fmla="*/ 186005 w 101"/>
                <a:gd name="T19" fmla="*/ 306938 h 219"/>
                <a:gd name="T20" fmla="*/ 186005 w 101"/>
                <a:gd name="T21" fmla="*/ 299312 h 219"/>
                <a:gd name="T22" fmla="*/ 187922 w 101"/>
                <a:gd name="T23" fmla="*/ 278341 h 219"/>
                <a:gd name="T24" fmla="*/ 174499 w 101"/>
                <a:gd name="T25" fmla="*/ 226867 h 219"/>
                <a:gd name="T26" fmla="*/ 155324 w 101"/>
                <a:gd name="T27" fmla="*/ 205896 h 219"/>
                <a:gd name="T28" fmla="*/ 134230 w 101"/>
                <a:gd name="T29" fmla="*/ 184925 h 219"/>
                <a:gd name="T30" fmla="*/ 113137 w 101"/>
                <a:gd name="T31" fmla="*/ 152516 h 219"/>
                <a:gd name="T32" fmla="*/ 90126 w 101"/>
                <a:gd name="T33" fmla="*/ 129638 h 219"/>
                <a:gd name="T34" fmla="*/ 109302 w 101"/>
                <a:gd name="T35" fmla="*/ 89603 h 219"/>
                <a:gd name="T36" fmla="*/ 124642 w 101"/>
                <a:gd name="T37" fmla="*/ 70539 h 219"/>
                <a:gd name="T38" fmla="*/ 124642 w 101"/>
                <a:gd name="T39" fmla="*/ 49568 h 219"/>
                <a:gd name="T40" fmla="*/ 109302 w 101"/>
                <a:gd name="T41" fmla="*/ 20971 h 219"/>
                <a:gd name="T42" fmla="*/ 92044 w 101"/>
                <a:gd name="T43" fmla="*/ 13345 h 219"/>
                <a:gd name="T44" fmla="*/ 65198 w 101"/>
                <a:gd name="T45" fmla="*/ 7626 h 219"/>
                <a:gd name="T46" fmla="*/ 46022 w 101"/>
                <a:gd name="T47" fmla="*/ 20971 h 219"/>
                <a:gd name="T48" fmla="*/ 30681 w 101"/>
                <a:gd name="T49" fmla="*/ 28597 h 219"/>
                <a:gd name="T50" fmla="*/ 13423 w 101"/>
                <a:gd name="T51" fmla="*/ 30503 h 219"/>
                <a:gd name="T52" fmla="*/ 0 w 101"/>
                <a:gd name="T53" fmla="*/ 30503 h 219"/>
                <a:gd name="T54" fmla="*/ 15341 w 101"/>
                <a:gd name="T55" fmla="*/ 43848 h 219"/>
                <a:gd name="T56" fmla="*/ 26846 w 101"/>
                <a:gd name="T57" fmla="*/ 74351 h 219"/>
                <a:gd name="T58" fmla="*/ 47939 w 101"/>
                <a:gd name="T59" fmla="*/ 72445 h 219"/>
                <a:gd name="T60" fmla="*/ 55610 w 101"/>
                <a:gd name="T61" fmla="*/ 85790 h 219"/>
                <a:gd name="T62" fmla="*/ 72868 w 101"/>
                <a:gd name="T63" fmla="*/ 101042 h 219"/>
                <a:gd name="T64" fmla="*/ 53692 w 101"/>
                <a:gd name="T65" fmla="*/ 106761 h 219"/>
                <a:gd name="T66" fmla="*/ 78621 w 101"/>
                <a:gd name="T67" fmla="*/ 133451 h 219"/>
                <a:gd name="T68" fmla="*/ 99714 w 101"/>
                <a:gd name="T69" fmla="*/ 167767 h 219"/>
                <a:gd name="T70" fmla="*/ 118890 w 101"/>
                <a:gd name="T71" fmla="*/ 196364 h 219"/>
                <a:gd name="T72" fmla="*/ 136148 w 101"/>
                <a:gd name="T73" fmla="*/ 215429 h 219"/>
                <a:gd name="T74" fmla="*/ 143818 w 101"/>
                <a:gd name="T75" fmla="*/ 249745 h 219"/>
                <a:gd name="T76" fmla="*/ 145736 w 101"/>
                <a:gd name="T77" fmla="*/ 272622 h 219"/>
                <a:gd name="T78" fmla="*/ 147653 w 101"/>
                <a:gd name="T79" fmla="*/ 314564 h 219"/>
                <a:gd name="T80" fmla="*/ 120807 w 101"/>
                <a:gd name="T81" fmla="*/ 322190 h 219"/>
                <a:gd name="T82" fmla="*/ 107384 w 101"/>
                <a:gd name="T83" fmla="*/ 331722 h 219"/>
                <a:gd name="T84" fmla="*/ 116972 w 101"/>
                <a:gd name="T85" fmla="*/ 350786 h 219"/>
                <a:gd name="T86" fmla="*/ 88208 w 101"/>
                <a:gd name="T87" fmla="*/ 352693 h 219"/>
                <a:gd name="T88" fmla="*/ 74785 w 101"/>
                <a:gd name="T89" fmla="*/ 364131 h 21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1"/>
                <a:gd name="T136" fmla="*/ 0 h 219"/>
                <a:gd name="T137" fmla="*/ 101 w 101"/>
                <a:gd name="T138" fmla="*/ 219 h 21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1" h="219">
                  <a:moveTo>
                    <a:pt x="39" y="191"/>
                  </a:moveTo>
                  <a:cubicBezTo>
                    <a:pt x="39" y="192"/>
                    <a:pt x="41" y="195"/>
                    <a:pt x="42" y="195"/>
                  </a:cubicBezTo>
                  <a:cubicBezTo>
                    <a:pt x="43" y="195"/>
                    <a:pt x="44" y="193"/>
                    <a:pt x="45" y="193"/>
                  </a:cubicBezTo>
                  <a:cubicBezTo>
                    <a:pt x="48" y="195"/>
                    <a:pt x="50" y="197"/>
                    <a:pt x="51" y="199"/>
                  </a:cubicBezTo>
                  <a:cubicBezTo>
                    <a:pt x="51" y="201"/>
                    <a:pt x="47" y="200"/>
                    <a:pt x="47" y="202"/>
                  </a:cubicBezTo>
                  <a:cubicBezTo>
                    <a:pt x="45" y="206"/>
                    <a:pt x="46" y="210"/>
                    <a:pt x="47" y="214"/>
                  </a:cubicBezTo>
                  <a:cubicBezTo>
                    <a:pt x="47" y="215"/>
                    <a:pt x="48" y="216"/>
                    <a:pt x="48" y="218"/>
                  </a:cubicBezTo>
                  <a:cubicBezTo>
                    <a:pt x="48" y="218"/>
                    <a:pt x="46" y="219"/>
                    <a:pt x="47" y="219"/>
                  </a:cubicBezTo>
                  <a:cubicBezTo>
                    <a:pt x="49" y="219"/>
                    <a:pt x="51" y="219"/>
                    <a:pt x="53" y="218"/>
                  </a:cubicBezTo>
                  <a:cubicBezTo>
                    <a:pt x="54" y="217"/>
                    <a:pt x="55" y="216"/>
                    <a:pt x="56" y="214"/>
                  </a:cubicBezTo>
                  <a:cubicBezTo>
                    <a:pt x="57" y="213"/>
                    <a:pt x="56" y="211"/>
                    <a:pt x="57" y="210"/>
                  </a:cubicBezTo>
                  <a:cubicBezTo>
                    <a:pt x="59" y="209"/>
                    <a:pt x="62" y="209"/>
                    <a:pt x="63" y="207"/>
                  </a:cubicBezTo>
                  <a:cubicBezTo>
                    <a:pt x="63" y="204"/>
                    <a:pt x="58" y="201"/>
                    <a:pt x="60" y="200"/>
                  </a:cubicBezTo>
                  <a:cubicBezTo>
                    <a:pt x="62" y="199"/>
                    <a:pt x="63" y="203"/>
                    <a:pt x="66" y="204"/>
                  </a:cubicBezTo>
                  <a:cubicBezTo>
                    <a:pt x="66" y="205"/>
                    <a:pt x="67" y="204"/>
                    <a:pt x="67" y="203"/>
                  </a:cubicBezTo>
                  <a:cubicBezTo>
                    <a:pt x="67" y="201"/>
                    <a:pt x="64" y="199"/>
                    <a:pt x="65" y="198"/>
                  </a:cubicBezTo>
                  <a:cubicBezTo>
                    <a:pt x="67" y="197"/>
                    <a:pt x="69" y="202"/>
                    <a:pt x="70" y="201"/>
                  </a:cubicBezTo>
                  <a:cubicBezTo>
                    <a:pt x="71" y="199"/>
                    <a:pt x="66" y="199"/>
                    <a:pt x="66" y="197"/>
                  </a:cubicBezTo>
                  <a:cubicBezTo>
                    <a:pt x="66" y="196"/>
                    <a:pt x="70" y="199"/>
                    <a:pt x="70" y="197"/>
                  </a:cubicBezTo>
                  <a:cubicBezTo>
                    <a:pt x="72" y="196"/>
                    <a:pt x="69" y="193"/>
                    <a:pt x="70" y="192"/>
                  </a:cubicBezTo>
                  <a:cubicBezTo>
                    <a:pt x="70" y="191"/>
                    <a:pt x="72" y="191"/>
                    <a:pt x="73" y="192"/>
                  </a:cubicBezTo>
                  <a:cubicBezTo>
                    <a:pt x="74" y="192"/>
                    <a:pt x="74" y="194"/>
                    <a:pt x="74" y="194"/>
                  </a:cubicBezTo>
                  <a:cubicBezTo>
                    <a:pt x="76" y="194"/>
                    <a:pt x="77" y="193"/>
                    <a:pt x="79" y="192"/>
                  </a:cubicBezTo>
                  <a:cubicBezTo>
                    <a:pt x="81" y="191"/>
                    <a:pt x="83" y="190"/>
                    <a:pt x="85" y="188"/>
                  </a:cubicBezTo>
                  <a:cubicBezTo>
                    <a:pt x="86" y="187"/>
                    <a:pt x="86" y="185"/>
                    <a:pt x="88" y="184"/>
                  </a:cubicBezTo>
                  <a:cubicBezTo>
                    <a:pt x="88" y="183"/>
                    <a:pt x="89" y="185"/>
                    <a:pt x="90" y="184"/>
                  </a:cubicBezTo>
                  <a:cubicBezTo>
                    <a:pt x="91" y="182"/>
                    <a:pt x="92" y="179"/>
                    <a:pt x="95" y="178"/>
                  </a:cubicBezTo>
                  <a:cubicBezTo>
                    <a:pt x="97" y="177"/>
                    <a:pt x="98" y="175"/>
                    <a:pt x="98" y="173"/>
                  </a:cubicBezTo>
                  <a:cubicBezTo>
                    <a:pt x="99" y="170"/>
                    <a:pt x="98" y="167"/>
                    <a:pt x="98" y="165"/>
                  </a:cubicBezTo>
                  <a:cubicBezTo>
                    <a:pt x="98" y="164"/>
                    <a:pt x="96" y="162"/>
                    <a:pt x="97" y="161"/>
                  </a:cubicBezTo>
                  <a:cubicBezTo>
                    <a:pt x="98" y="161"/>
                    <a:pt x="100" y="164"/>
                    <a:pt x="100" y="163"/>
                  </a:cubicBezTo>
                  <a:cubicBezTo>
                    <a:pt x="101" y="161"/>
                    <a:pt x="98" y="160"/>
                    <a:pt x="97" y="159"/>
                  </a:cubicBezTo>
                  <a:cubicBezTo>
                    <a:pt x="97" y="158"/>
                    <a:pt x="96" y="157"/>
                    <a:pt x="97" y="157"/>
                  </a:cubicBezTo>
                  <a:cubicBezTo>
                    <a:pt x="98" y="156"/>
                    <a:pt x="100" y="159"/>
                    <a:pt x="101" y="158"/>
                  </a:cubicBezTo>
                  <a:cubicBezTo>
                    <a:pt x="101" y="156"/>
                    <a:pt x="98" y="155"/>
                    <a:pt x="98" y="153"/>
                  </a:cubicBezTo>
                  <a:cubicBezTo>
                    <a:pt x="98" y="151"/>
                    <a:pt x="99" y="148"/>
                    <a:pt x="98" y="146"/>
                  </a:cubicBezTo>
                  <a:cubicBezTo>
                    <a:pt x="98" y="143"/>
                    <a:pt x="97" y="141"/>
                    <a:pt x="97" y="139"/>
                  </a:cubicBezTo>
                  <a:cubicBezTo>
                    <a:pt x="95" y="134"/>
                    <a:pt x="94" y="129"/>
                    <a:pt x="93" y="124"/>
                  </a:cubicBezTo>
                  <a:cubicBezTo>
                    <a:pt x="92" y="122"/>
                    <a:pt x="92" y="120"/>
                    <a:pt x="91" y="119"/>
                  </a:cubicBezTo>
                  <a:cubicBezTo>
                    <a:pt x="90" y="118"/>
                    <a:pt x="89" y="120"/>
                    <a:pt x="89" y="119"/>
                  </a:cubicBezTo>
                  <a:cubicBezTo>
                    <a:pt x="87" y="116"/>
                    <a:pt x="87" y="112"/>
                    <a:pt x="85" y="109"/>
                  </a:cubicBezTo>
                  <a:cubicBezTo>
                    <a:pt x="84" y="108"/>
                    <a:pt x="82" y="109"/>
                    <a:pt x="81" y="108"/>
                  </a:cubicBezTo>
                  <a:cubicBezTo>
                    <a:pt x="80" y="107"/>
                    <a:pt x="81" y="105"/>
                    <a:pt x="80" y="104"/>
                  </a:cubicBezTo>
                  <a:cubicBezTo>
                    <a:pt x="79" y="104"/>
                    <a:pt x="77" y="105"/>
                    <a:pt x="75" y="104"/>
                  </a:cubicBezTo>
                  <a:cubicBezTo>
                    <a:pt x="73" y="102"/>
                    <a:pt x="72" y="99"/>
                    <a:pt x="70" y="97"/>
                  </a:cubicBezTo>
                  <a:cubicBezTo>
                    <a:pt x="67" y="94"/>
                    <a:pt x="64" y="92"/>
                    <a:pt x="61" y="89"/>
                  </a:cubicBezTo>
                  <a:cubicBezTo>
                    <a:pt x="60" y="88"/>
                    <a:pt x="59" y="87"/>
                    <a:pt x="59" y="86"/>
                  </a:cubicBezTo>
                  <a:cubicBezTo>
                    <a:pt x="58" y="84"/>
                    <a:pt x="59" y="82"/>
                    <a:pt x="59" y="80"/>
                  </a:cubicBezTo>
                  <a:cubicBezTo>
                    <a:pt x="58" y="78"/>
                    <a:pt x="55" y="77"/>
                    <a:pt x="53" y="76"/>
                  </a:cubicBezTo>
                  <a:cubicBezTo>
                    <a:pt x="53" y="76"/>
                    <a:pt x="53" y="77"/>
                    <a:pt x="52" y="77"/>
                  </a:cubicBezTo>
                  <a:cubicBezTo>
                    <a:pt x="50" y="74"/>
                    <a:pt x="48" y="72"/>
                    <a:pt x="47" y="68"/>
                  </a:cubicBezTo>
                  <a:cubicBezTo>
                    <a:pt x="46" y="67"/>
                    <a:pt x="47" y="65"/>
                    <a:pt x="47" y="63"/>
                  </a:cubicBezTo>
                  <a:cubicBezTo>
                    <a:pt x="47" y="60"/>
                    <a:pt x="48" y="57"/>
                    <a:pt x="50" y="54"/>
                  </a:cubicBezTo>
                  <a:cubicBezTo>
                    <a:pt x="51" y="51"/>
                    <a:pt x="55" y="50"/>
                    <a:pt x="57" y="47"/>
                  </a:cubicBezTo>
                  <a:cubicBezTo>
                    <a:pt x="58" y="46"/>
                    <a:pt x="57" y="43"/>
                    <a:pt x="58" y="42"/>
                  </a:cubicBezTo>
                  <a:cubicBezTo>
                    <a:pt x="59" y="39"/>
                    <a:pt x="61" y="37"/>
                    <a:pt x="63" y="36"/>
                  </a:cubicBezTo>
                  <a:cubicBezTo>
                    <a:pt x="63" y="36"/>
                    <a:pt x="64" y="38"/>
                    <a:pt x="65" y="37"/>
                  </a:cubicBezTo>
                  <a:cubicBezTo>
                    <a:pt x="66" y="36"/>
                    <a:pt x="65" y="33"/>
                    <a:pt x="67" y="32"/>
                  </a:cubicBezTo>
                  <a:cubicBezTo>
                    <a:pt x="68" y="31"/>
                    <a:pt x="71" y="30"/>
                    <a:pt x="72" y="29"/>
                  </a:cubicBezTo>
                  <a:cubicBezTo>
                    <a:pt x="70" y="28"/>
                    <a:pt x="67" y="27"/>
                    <a:pt x="65" y="26"/>
                  </a:cubicBezTo>
                  <a:cubicBezTo>
                    <a:pt x="62" y="25"/>
                    <a:pt x="60" y="23"/>
                    <a:pt x="58" y="23"/>
                  </a:cubicBezTo>
                  <a:cubicBezTo>
                    <a:pt x="57" y="21"/>
                    <a:pt x="56" y="18"/>
                    <a:pt x="54" y="16"/>
                  </a:cubicBezTo>
                  <a:cubicBezTo>
                    <a:pt x="54" y="14"/>
                    <a:pt x="57" y="13"/>
                    <a:pt x="57" y="11"/>
                  </a:cubicBezTo>
                  <a:cubicBezTo>
                    <a:pt x="57" y="10"/>
                    <a:pt x="56" y="8"/>
                    <a:pt x="55" y="8"/>
                  </a:cubicBezTo>
                  <a:cubicBezTo>
                    <a:pt x="54" y="8"/>
                    <a:pt x="53" y="9"/>
                    <a:pt x="52" y="9"/>
                  </a:cubicBezTo>
                  <a:cubicBezTo>
                    <a:pt x="50" y="9"/>
                    <a:pt x="49" y="7"/>
                    <a:pt x="48" y="7"/>
                  </a:cubicBezTo>
                  <a:cubicBezTo>
                    <a:pt x="46" y="7"/>
                    <a:pt x="45" y="8"/>
                    <a:pt x="44" y="8"/>
                  </a:cubicBezTo>
                  <a:cubicBezTo>
                    <a:pt x="42" y="6"/>
                    <a:pt x="43" y="2"/>
                    <a:pt x="40" y="1"/>
                  </a:cubicBezTo>
                  <a:cubicBezTo>
                    <a:pt x="38" y="0"/>
                    <a:pt x="36" y="3"/>
                    <a:pt x="34" y="4"/>
                  </a:cubicBezTo>
                  <a:cubicBezTo>
                    <a:pt x="32" y="6"/>
                    <a:pt x="30" y="8"/>
                    <a:pt x="28" y="10"/>
                  </a:cubicBezTo>
                  <a:cubicBezTo>
                    <a:pt x="28" y="10"/>
                    <a:pt x="29" y="12"/>
                    <a:pt x="28" y="12"/>
                  </a:cubicBezTo>
                  <a:cubicBezTo>
                    <a:pt x="26" y="13"/>
                    <a:pt x="25" y="10"/>
                    <a:pt x="24" y="11"/>
                  </a:cubicBezTo>
                  <a:cubicBezTo>
                    <a:pt x="22" y="11"/>
                    <a:pt x="23" y="13"/>
                    <a:pt x="22" y="14"/>
                  </a:cubicBezTo>
                  <a:cubicBezTo>
                    <a:pt x="21" y="14"/>
                    <a:pt x="20" y="12"/>
                    <a:pt x="19" y="12"/>
                  </a:cubicBezTo>
                  <a:cubicBezTo>
                    <a:pt x="18" y="13"/>
                    <a:pt x="17" y="15"/>
                    <a:pt x="16" y="15"/>
                  </a:cubicBezTo>
                  <a:cubicBezTo>
                    <a:pt x="15" y="15"/>
                    <a:pt x="15" y="12"/>
                    <a:pt x="14" y="12"/>
                  </a:cubicBezTo>
                  <a:cubicBezTo>
                    <a:pt x="12" y="12"/>
                    <a:pt x="12" y="15"/>
                    <a:pt x="11" y="16"/>
                  </a:cubicBezTo>
                  <a:cubicBezTo>
                    <a:pt x="9" y="16"/>
                    <a:pt x="8" y="16"/>
                    <a:pt x="7" y="16"/>
                  </a:cubicBezTo>
                  <a:cubicBezTo>
                    <a:pt x="6" y="15"/>
                    <a:pt x="7" y="13"/>
                    <a:pt x="6" y="12"/>
                  </a:cubicBezTo>
                  <a:cubicBezTo>
                    <a:pt x="5" y="11"/>
                    <a:pt x="3" y="11"/>
                    <a:pt x="2" y="12"/>
                  </a:cubicBezTo>
                  <a:cubicBezTo>
                    <a:pt x="1" y="13"/>
                    <a:pt x="1" y="15"/>
                    <a:pt x="0" y="16"/>
                  </a:cubicBezTo>
                  <a:cubicBezTo>
                    <a:pt x="1" y="17"/>
                    <a:pt x="2" y="19"/>
                    <a:pt x="3" y="20"/>
                  </a:cubicBezTo>
                  <a:cubicBezTo>
                    <a:pt x="3" y="22"/>
                    <a:pt x="4" y="25"/>
                    <a:pt x="6" y="25"/>
                  </a:cubicBezTo>
                  <a:cubicBezTo>
                    <a:pt x="7" y="26"/>
                    <a:pt x="7" y="22"/>
                    <a:pt x="8" y="23"/>
                  </a:cubicBezTo>
                  <a:cubicBezTo>
                    <a:pt x="9" y="23"/>
                    <a:pt x="10" y="25"/>
                    <a:pt x="11" y="26"/>
                  </a:cubicBezTo>
                  <a:cubicBezTo>
                    <a:pt x="11" y="28"/>
                    <a:pt x="9" y="30"/>
                    <a:pt x="9" y="31"/>
                  </a:cubicBezTo>
                  <a:cubicBezTo>
                    <a:pt x="10" y="34"/>
                    <a:pt x="12" y="37"/>
                    <a:pt x="14" y="39"/>
                  </a:cubicBezTo>
                  <a:cubicBezTo>
                    <a:pt x="15" y="40"/>
                    <a:pt x="16" y="39"/>
                    <a:pt x="17" y="40"/>
                  </a:cubicBezTo>
                  <a:cubicBezTo>
                    <a:pt x="18" y="40"/>
                    <a:pt x="19" y="43"/>
                    <a:pt x="20" y="42"/>
                  </a:cubicBezTo>
                  <a:cubicBezTo>
                    <a:pt x="22" y="42"/>
                    <a:pt x="23" y="39"/>
                    <a:pt x="25" y="38"/>
                  </a:cubicBezTo>
                  <a:cubicBezTo>
                    <a:pt x="26" y="38"/>
                    <a:pt x="27" y="38"/>
                    <a:pt x="28" y="38"/>
                  </a:cubicBezTo>
                  <a:cubicBezTo>
                    <a:pt x="30" y="40"/>
                    <a:pt x="32" y="43"/>
                    <a:pt x="32" y="45"/>
                  </a:cubicBezTo>
                  <a:cubicBezTo>
                    <a:pt x="32" y="46"/>
                    <a:pt x="30" y="45"/>
                    <a:pt x="29" y="45"/>
                  </a:cubicBezTo>
                  <a:cubicBezTo>
                    <a:pt x="28" y="46"/>
                    <a:pt x="28" y="47"/>
                    <a:pt x="28" y="47"/>
                  </a:cubicBezTo>
                  <a:cubicBezTo>
                    <a:pt x="31" y="48"/>
                    <a:pt x="35" y="48"/>
                    <a:pt x="37" y="50"/>
                  </a:cubicBezTo>
                  <a:cubicBezTo>
                    <a:pt x="38" y="50"/>
                    <a:pt x="38" y="52"/>
                    <a:pt x="38" y="53"/>
                  </a:cubicBezTo>
                  <a:cubicBezTo>
                    <a:pt x="37" y="54"/>
                    <a:pt x="36" y="52"/>
                    <a:pt x="35" y="53"/>
                  </a:cubicBezTo>
                  <a:cubicBezTo>
                    <a:pt x="34" y="54"/>
                    <a:pt x="34" y="56"/>
                    <a:pt x="33" y="57"/>
                  </a:cubicBezTo>
                  <a:cubicBezTo>
                    <a:pt x="31" y="58"/>
                    <a:pt x="30" y="56"/>
                    <a:pt x="28" y="56"/>
                  </a:cubicBezTo>
                  <a:cubicBezTo>
                    <a:pt x="27" y="57"/>
                    <a:pt x="28" y="58"/>
                    <a:pt x="27" y="59"/>
                  </a:cubicBezTo>
                  <a:cubicBezTo>
                    <a:pt x="26" y="60"/>
                    <a:pt x="23" y="60"/>
                    <a:pt x="24" y="61"/>
                  </a:cubicBezTo>
                  <a:cubicBezTo>
                    <a:pt x="29" y="65"/>
                    <a:pt x="36" y="66"/>
                    <a:pt x="41" y="70"/>
                  </a:cubicBezTo>
                  <a:cubicBezTo>
                    <a:pt x="43" y="72"/>
                    <a:pt x="41" y="74"/>
                    <a:pt x="42" y="76"/>
                  </a:cubicBezTo>
                  <a:cubicBezTo>
                    <a:pt x="42" y="77"/>
                    <a:pt x="44" y="78"/>
                    <a:pt x="45" y="79"/>
                  </a:cubicBezTo>
                  <a:cubicBezTo>
                    <a:pt x="47" y="82"/>
                    <a:pt x="49" y="86"/>
                    <a:pt x="52" y="88"/>
                  </a:cubicBezTo>
                  <a:cubicBezTo>
                    <a:pt x="53" y="90"/>
                    <a:pt x="55" y="90"/>
                    <a:pt x="56" y="91"/>
                  </a:cubicBezTo>
                  <a:cubicBezTo>
                    <a:pt x="58" y="93"/>
                    <a:pt x="59" y="95"/>
                    <a:pt x="60" y="97"/>
                  </a:cubicBezTo>
                  <a:cubicBezTo>
                    <a:pt x="61" y="99"/>
                    <a:pt x="61" y="101"/>
                    <a:pt x="62" y="103"/>
                  </a:cubicBezTo>
                  <a:cubicBezTo>
                    <a:pt x="64" y="105"/>
                    <a:pt x="67" y="105"/>
                    <a:pt x="69" y="107"/>
                  </a:cubicBezTo>
                  <a:cubicBezTo>
                    <a:pt x="71" y="108"/>
                    <a:pt x="74" y="109"/>
                    <a:pt x="74" y="111"/>
                  </a:cubicBezTo>
                  <a:cubicBezTo>
                    <a:pt x="74" y="112"/>
                    <a:pt x="70" y="112"/>
                    <a:pt x="71" y="113"/>
                  </a:cubicBezTo>
                  <a:cubicBezTo>
                    <a:pt x="72" y="117"/>
                    <a:pt x="76" y="118"/>
                    <a:pt x="77" y="121"/>
                  </a:cubicBezTo>
                  <a:cubicBezTo>
                    <a:pt x="77" y="123"/>
                    <a:pt x="74" y="123"/>
                    <a:pt x="74" y="125"/>
                  </a:cubicBezTo>
                  <a:cubicBezTo>
                    <a:pt x="73" y="127"/>
                    <a:pt x="75" y="129"/>
                    <a:pt x="75" y="131"/>
                  </a:cubicBezTo>
                  <a:cubicBezTo>
                    <a:pt x="75" y="132"/>
                    <a:pt x="76" y="134"/>
                    <a:pt x="76" y="135"/>
                  </a:cubicBezTo>
                  <a:cubicBezTo>
                    <a:pt x="76" y="136"/>
                    <a:pt x="77" y="137"/>
                    <a:pt x="76" y="138"/>
                  </a:cubicBezTo>
                  <a:cubicBezTo>
                    <a:pt x="76" y="140"/>
                    <a:pt x="75" y="141"/>
                    <a:pt x="76" y="143"/>
                  </a:cubicBezTo>
                  <a:cubicBezTo>
                    <a:pt x="76" y="144"/>
                    <a:pt x="78" y="144"/>
                    <a:pt x="79" y="145"/>
                  </a:cubicBezTo>
                  <a:cubicBezTo>
                    <a:pt x="80" y="148"/>
                    <a:pt x="81" y="151"/>
                    <a:pt x="80" y="154"/>
                  </a:cubicBezTo>
                  <a:cubicBezTo>
                    <a:pt x="80" y="158"/>
                    <a:pt x="79" y="161"/>
                    <a:pt x="77" y="165"/>
                  </a:cubicBezTo>
                  <a:cubicBezTo>
                    <a:pt x="77" y="165"/>
                    <a:pt x="76" y="164"/>
                    <a:pt x="75" y="164"/>
                  </a:cubicBezTo>
                  <a:cubicBezTo>
                    <a:pt x="73" y="165"/>
                    <a:pt x="71" y="168"/>
                    <a:pt x="69" y="169"/>
                  </a:cubicBezTo>
                  <a:cubicBezTo>
                    <a:pt x="67" y="170"/>
                    <a:pt x="64" y="168"/>
                    <a:pt x="63" y="169"/>
                  </a:cubicBezTo>
                  <a:cubicBezTo>
                    <a:pt x="62" y="170"/>
                    <a:pt x="63" y="172"/>
                    <a:pt x="62" y="173"/>
                  </a:cubicBezTo>
                  <a:cubicBezTo>
                    <a:pt x="61" y="173"/>
                    <a:pt x="59" y="172"/>
                    <a:pt x="58" y="172"/>
                  </a:cubicBezTo>
                  <a:cubicBezTo>
                    <a:pt x="57" y="172"/>
                    <a:pt x="56" y="173"/>
                    <a:pt x="56" y="174"/>
                  </a:cubicBezTo>
                  <a:cubicBezTo>
                    <a:pt x="57" y="176"/>
                    <a:pt x="57" y="178"/>
                    <a:pt x="58" y="179"/>
                  </a:cubicBezTo>
                  <a:cubicBezTo>
                    <a:pt x="58" y="180"/>
                    <a:pt x="60" y="180"/>
                    <a:pt x="60" y="181"/>
                  </a:cubicBezTo>
                  <a:cubicBezTo>
                    <a:pt x="61" y="182"/>
                    <a:pt x="61" y="183"/>
                    <a:pt x="61" y="184"/>
                  </a:cubicBezTo>
                  <a:cubicBezTo>
                    <a:pt x="61" y="185"/>
                    <a:pt x="61" y="187"/>
                    <a:pt x="60" y="187"/>
                  </a:cubicBezTo>
                  <a:cubicBezTo>
                    <a:pt x="58" y="187"/>
                    <a:pt x="57" y="185"/>
                    <a:pt x="55" y="185"/>
                  </a:cubicBezTo>
                  <a:cubicBezTo>
                    <a:pt x="52" y="184"/>
                    <a:pt x="49" y="184"/>
                    <a:pt x="46" y="185"/>
                  </a:cubicBezTo>
                  <a:cubicBezTo>
                    <a:pt x="45" y="185"/>
                    <a:pt x="48" y="188"/>
                    <a:pt x="47" y="189"/>
                  </a:cubicBezTo>
                  <a:cubicBezTo>
                    <a:pt x="46" y="190"/>
                    <a:pt x="45" y="191"/>
                    <a:pt x="43" y="191"/>
                  </a:cubicBezTo>
                  <a:cubicBezTo>
                    <a:pt x="42" y="191"/>
                    <a:pt x="40" y="191"/>
                    <a:pt x="39" y="191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6" name="Freeform 136"/>
            <p:cNvSpPr>
              <a:spLocks noChangeAspect="1"/>
            </p:cNvSpPr>
            <p:nvPr/>
          </p:nvSpPr>
          <p:spPr bwMode="auto">
            <a:xfrm>
              <a:off x="7427913" y="2954338"/>
              <a:ext cx="123825" cy="174625"/>
            </a:xfrm>
            <a:custGeom>
              <a:avLst/>
              <a:gdLst>
                <a:gd name="T0" fmla="*/ 57150 w 65"/>
                <a:gd name="T1" fmla="*/ 168931 h 92"/>
                <a:gd name="T2" fmla="*/ 47625 w 65"/>
                <a:gd name="T3" fmla="*/ 161338 h 92"/>
                <a:gd name="T4" fmla="*/ 34290 w 65"/>
                <a:gd name="T5" fmla="*/ 174625 h 92"/>
                <a:gd name="T6" fmla="*/ 36195 w 65"/>
                <a:gd name="T7" fmla="*/ 167033 h 92"/>
                <a:gd name="T8" fmla="*/ 28575 w 65"/>
                <a:gd name="T9" fmla="*/ 161338 h 92"/>
                <a:gd name="T10" fmla="*/ 32385 w 65"/>
                <a:gd name="T11" fmla="*/ 155644 h 92"/>
                <a:gd name="T12" fmla="*/ 19050 w 65"/>
                <a:gd name="T13" fmla="*/ 155644 h 92"/>
                <a:gd name="T14" fmla="*/ 20955 w 65"/>
                <a:gd name="T15" fmla="*/ 144255 h 92"/>
                <a:gd name="T16" fmla="*/ 32385 w 65"/>
                <a:gd name="T17" fmla="*/ 140459 h 92"/>
                <a:gd name="T18" fmla="*/ 24765 w 65"/>
                <a:gd name="T19" fmla="*/ 134765 h 92"/>
                <a:gd name="T20" fmla="*/ 32385 w 65"/>
                <a:gd name="T21" fmla="*/ 117682 h 92"/>
                <a:gd name="T22" fmla="*/ 30480 w 65"/>
                <a:gd name="T23" fmla="*/ 111988 h 92"/>
                <a:gd name="T24" fmla="*/ 34290 w 65"/>
                <a:gd name="T25" fmla="*/ 102497 h 92"/>
                <a:gd name="T26" fmla="*/ 26670 w 65"/>
                <a:gd name="T27" fmla="*/ 108192 h 92"/>
                <a:gd name="T28" fmla="*/ 7620 w 65"/>
                <a:gd name="T29" fmla="*/ 108192 h 92"/>
                <a:gd name="T30" fmla="*/ 0 w 65"/>
                <a:gd name="T31" fmla="*/ 100599 h 92"/>
                <a:gd name="T32" fmla="*/ 22860 w 65"/>
                <a:gd name="T33" fmla="*/ 77822 h 92"/>
                <a:gd name="T34" fmla="*/ 32385 w 65"/>
                <a:gd name="T35" fmla="*/ 70230 h 92"/>
                <a:gd name="T36" fmla="*/ 40005 w 65"/>
                <a:gd name="T37" fmla="*/ 58841 h 92"/>
                <a:gd name="T38" fmla="*/ 40005 w 65"/>
                <a:gd name="T39" fmla="*/ 45554 h 92"/>
                <a:gd name="T40" fmla="*/ 49530 w 65"/>
                <a:gd name="T41" fmla="*/ 41758 h 92"/>
                <a:gd name="T42" fmla="*/ 51435 w 65"/>
                <a:gd name="T43" fmla="*/ 47452 h 92"/>
                <a:gd name="T44" fmla="*/ 60960 w 65"/>
                <a:gd name="T45" fmla="*/ 51249 h 92"/>
                <a:gd name="T46" fmla="*/ 74295 w 65"/>
                <a:gd name="T47" fmla="*/ 51249 h 92"/>
                <a:gd name="T48" fmla="*/ 74295 w 65"/>
                <a:gd name="T49" fmla="*/ 43656 h 92"/>
                <a:gd name="T50" fmla="*/ 74295 w 65"/>
                <a:gd name="T51" fmla="*/ 36064 h 92"/>
                <a:gd name="T52" fmla="*/ 89535 w 65"/>
                <a:gd name="T53" fmla="*/ 36064 h 92"/>
                <a:gd name="T54" fmla="*/ 100965 w 65"/>
                <a:gd name="T55" fmla="*/ 15185 h 92"/>
                <a:gd name="T56" fmla="*/ 106680 w 65"/>
                <a:gd name="T57" fmla="*/ 15185 h 92"/>
                <a:gd name="T58" fmla="*/ 108585 w 65"/>
                <a:gd name="T59" fmla="*/ 1898 h 92"/>
                <a:gd name="T60" fmla="*/ 116205 w 65"/>
                <a:gd name="T61" fmla="*/ 1898 h 92"/>
                <a:gd name="T62" fmla="*/ 118110 w 65"/>
                <a:gd name="T63" fmla="*/ 13287 h 92"/>
                <a:gd name="T64" fmla="*/ 123825 w 65"/>
                <a:gd name="T65" fmla="*/ 20879 h 92"/>
                <a:gd name="T66" fmla="*/ 114300 w 65"/>
                <a:gd name="T67" fmla="*/ 47452 h 92"/>
                <a:gd name="T68" fmla="*/ 116205 w 65"/>
                <a:gd name="T69" fmla="*/ 55045 h 92"/>
                <a:gd name="T70" fmla="*/ 120015 w 65"/>
                <a:gd name="T71" fmla="*/ 72128 h 92"/>
                <a:gd name="T72" fmla="*/ 114300 w 65"/>
                <a:gd name="T73" fmla="*/ 77822 h 92"/>
                <a:gd name="T74" fmla="*/ 104775 w 65"/>
                <a:gd name="T75" fmla="*/ 87313 h 92"/>
                <a:gd name="T76" fmla="*/ 93345 w 65"/>
                <a:gd name="T77" fmla="*/ 100599 h 92"/>
                <a:gd name="T78" fmla="*/ 80010 w 65"/>
                <a:gd name="T79" fmla="*/ 100599 h 92"/>
                <a:gd name="T80" fmla="*/ 78105 w 65"/>
                <a:gd name="T81" fmla="*/ 104395 h 92"/>
                <a:gd name="T82" fmla="*/ 72390 w 65"/>
                <a:gd name="T83" fmla="*/ 104395 h 92"/>
                <a:gd name="T84" fmla="*/ 72390 w 65"/>
                <a:gd name="T85" fmla="*/ 111988 h 92"/>
                <a:gd name="T86" fmla="*/ 76200 w 65"/>
                <a:gd name="T87" fmla="*/ 115784 h 92"/>
                <a:gd name="T88" fmla="*/ 72390 w 65"/>
                <a:gd name="T89" fmla="*/ 125274 h 92"/>
                <a:gd name="T90" fmla="*/ 83820 w 65"/>
                <a:gd name="T91" fmla="*/ 129071 h 92"/>
                <a:gd name="T92" fmla="*/ 102870 w 65"/>
                <a:gd name="T93" fmla="*/ 144255 h 92"/>
                <a:gd name="T94" fmla="*/ 95250 w 65"/>
                <a:gd name="T95" fmla="*/ 153746 h 92"/>
                <a:gd name="T96" fmla="*/ 81915 w 65"/>
                <a:gd name="T97" fmla="*/ 153746 h 92"/>
                <a:gd name="T98" fmla="*/ 72390 w 65"/>
                <a:gd name="T99" fmla="*/ 155644 h 92"/>
                <a:gd name="T100" fmla="*/ 66675 w 65"/>
                <a:gd name="T101" fmla="*/ 163236 h 92"/>
                <a:gd name="T102" fmla="*/ 57150 w 65"/>
                <a:gd name="T103" fmla="*/ 168931 h 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5"/>
                <a:gd name="T157" fmla="*/ 0 h 92"/>
                <a:gd name="T158" fmla="*/ 65 w 65"/>
                <a:gd name="T159" fmla="*/ 92 h 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5" h="92">
                  <a:moveTo>
                    <a:pt x="30" y="89"/>
                  </a:moveTo>
                  <a:cubicBezTo>
                    <a:pt x="29" y="87"/>
                    <a:pt x="27" y="85"/>
                    <a:pt x="25" y="85"/>
                  </a:cubicBezTo>
                  <a:cubicBezTo>
                    <a:pt x="22" y="86"/>
                    <a:pt x="21" y="90"/>
                    <a:pt x="18" y="92"/>
                  </a:cubicBezTo>
                  <a:cubicBezTo>
                    <a:pt x="17" y="92"/>
                    <a:pt x="20" y="89"/>
                    <a:pt x="19" y="88"/>
                  </a:cubicBezTo>
                  <a:cubicBezTo>
                    <a:pt x="18" y="87"/>
                    <a:pt x="16" y="87"/>
                    <a:pt x="15" y="85"/>
                  </a:cubicBezTo>
                  <a:cubicBezTo>
                    <a:pt x="15" y="84"/>
                    <a:pt x="18" y="83"/>
                    <a:pt x="17" y="82"/>
                  </a:cubicBezTo>
                  <a:cubicBezTo>
                    <a:pt x="15" y="81"/>
                    <a:pt x="12" y="83"/>
                    <a:pt x="10" y="82"/>
                  </a:cubicBezTo>
                  <a:cubicBezTo>
                    <a:pt x="10" y="80"/>
                    <a:pt x="13" y="77"/>
                    <a:pt x="11" y="76"/>
                  </a:cubicBezTo>
                  <a:cubicBezTo>
                    <a:pt x="12" y="74"/>
                    <a:pt x="16" y="76"/>
                    <a:pt x="17" y="74"/>
                  </a:cubicBezTo>
                  <a:cubicBezTo>
                    <a:pt x="18" y="72"/>
                    <a:pt x="13" y="73"/>
                    <a:pt x="13" y="71"/>
                  </a:cubicBezTo>
                  <a:cubicBezTo>
                    <a:pt x="13" y="68"/>
                    <a:pt x="16" y="65"/>
                    <a:pt x="17" y="62"/>
                  </a:cubicBezTo>
                  <a:cubicBezTo>
                    <a:pt x="17" y="61"/>
                    <a:pt x="16" y="60"/>
                    <a:pt x="16" y="59"/>
                  </a:cubicBezTo>
                  <a:cubicBezTo>
                    <a:pt x="16" y="58"/>
                    <a:pt x="19" y="55"/>
                    <a:pt x="18" y="54"/>
                  </a:cubicBezTo>
                  <a:cubicBezTo>
                    <a:pt x="17" y="53"/>
                    <a:pt x="15" y="57"/>
                    <a:pt x="14" y="57"/>
                  </a:cubicBezTo>
                  <a:cubicBezTo>
                    <a:pt x="11" y="58"/>
                    <a:pt x="7" y="58"/>
                    <a:pt x="4" y="57"/>
                  </a:cubicBezTo>
                  <a:cubicBezTo>
                    <a:pt x="2" y="57"/>
                    <a:pt x="1" y="54"/>
                    <a:pt x="0" y="53"/>
                  </a:cubicBezTo>
                  <a:cubicBezTo>
                    <a:pt x="4" y="49"/>
                    <a:pt x="8" y="45"/>
                    <a:pt x="12" y="41"/>
                  </a:cubicBezTo>
                  <a:cubicBezTo>
                    <a:pt x="14" y="39"/>
                    <a:pt x="16" y="39"/>
                    <a:pt x="17" y="37"/>
                  </a:cubicBezTo>
                  <a:cubicBezTo>
                    <a:pt x="19" y="36"/>
                    <a:pt x="21" y="33"/>
                    <a:pt x="21" y="31"/>
                  </a:cubicBezTo>
                  <a:cubicBezTo>
                    <a:pt x="22" y="28"/>
                    <a:pt x="20" y="26"/>
                    <a:pt x="21" y="24"/>
                  </a:cubicBezTo>
                  <a:cubicBezTo>
                    <a:pt x="22" y="22"/>
                    <a:pt x="24" y="22"/>
                    <a:pt x="26" y="22"/>
                  </a:cubicBezTo>
                  <a:cubicBezTo>
                    <a:pt x="27" y="22"/>
                    <a:pt x="27" y="24"/>
                    <a:pt x="27" y="25"/>
                  </a:cubicBezTo>
                  <a:cubicBezTo>
                    <a:pt x="29" y="26"/>
                    <a:pt x="30" y="27"/>
                    <a:pt x="32" y="27"/>
                  </a:cubicBezTo>
                  <a:cubicBezTo>
                    <a:pt x="34" y="27"/>
                    <a:pt x="37" y="28"/>
                    <a:pt x="39" y="27"/>
                  </a:cubicBezTo>
                  <a:cubicBezTo>
                    <a:pt x="40" y="26"/>
                    <a:pt x="39" y="24"/>
                    <a:pt x="39" y="23"/>
                  </a:cubicBezTo>
                  <a:cubicBezTo>
                    <a:pt x="39" y="22"/>
                    <a:pt x="38" y="20"/>
                    <a:pt x="39" y="19"/>
                  </a:cubicBezTo>
                  <a:cubicBezTo>
                    <a:pt x="41" y="18"/>
                    <a:pt x="45" y="21"/>
                    <a:pt x="47" y="19"/>
                  </a:cubicBezTo>
                  <a:cubicBezTo>
                    <a:pt x="51" y="17"/>
                    <a:pt x="51" y="12"/>
                    <a:pt x="53" y="8"/>
                  </a:cubicBezTo>
                  <a:cubicBezTo>
                    <a:pt x="54" y="8"/>
                    <a:pt x="56" y="9"/>
                    <a:pt x="56" y="8"/>
                  </a:cubicBezTo>
                  <a:cubicBezTo>
                    <a:pt x="57" y="6"/>
                    <a:pt x="56" y="3"/>
                    <a:pt x="57" y="1"/>
                  </a:cubicBezTo>
                  <a:cubicBezTo>
                    <a:pt x="58" y="0"/>
                    <a:pt x="60" y="0"/>
                    <a:pt x="61" y="1"/>
                  </a:cubicBezTo>
                  <a:cubicBezTo>
                    <a:pt x="62" y="3"/>
                    <a:pt x="62" y="5"/>
                    <a:pt x="62" y="7"/>
                  </a:cubicBezTo>
                  <a:cubicBezTo>
                    <a:pt x="63" y="8"/>
                    <a:pt x="64" y="9"/>
                    <a:pt x="65" y="11"/>
                  </a:cubicBezTo>
                  <a:cubicBezTo>
                    <a:pt x="64" y="15"/>
                    <a:pt x="61" y="20"/>
                    <a:pt x="60" y="25"/>
                  </a:cubicBezTo>
                  <a:cubicBezTo>
                    <a:pt x="60" y="26"/>
                    <a:pt x="61" y="28"/>
                    <a:pt x="61" y="29"/>
                  </a:cubicBezTo>
                  <a:cubicBezTo>
                    <a:pt x="62" y="32"/>
                    <a:pt x="63" y="35"/>
                    <a:pt x="63" y="38"/>
                  </a:cubicBezTo>
                  <a:cubicBezTo>
                    <a:pt x="63" y="39"/>
                    <a:pt x="61" y="40"/>
                    <a:pt x="60" y="41"/>
                  </a:cubicBezTo>
                  <a:cubicBezTo>
                    <a:pt x="57" y="41"/>
                    <a:pt x="57" y="44"/>
                    <a:pt x="55" y="46"/>
                  </a:cubicBezTo>
                  <a:cubicBezTo>
                    <a:pt x="52" y="48"/>
                    <a:pt x="51" y="51"/>
                    <a:pt x="49" y="53"/>
                  </a:cubicBezTo>
                  <a:cubicBezTo>
                    <a:pt x="47" y="54"/>
                    <a:pt x="44" y="52"/>
                    <a:pt x="42" y="53"/>
                  </a:cubicBezTo>
                  <a:cubicBezTo>
                    <a:pt x="41" y="53"/>
                    <a:pt x="42" y="55"/>
                    <a:pt x="41" y="55"/>
                  </a:cubicBezTo>
                  <a:cubicBezTo>
                    <a:pt x="41" y="56"/>
                    <a:pt x="39" y="55"/>
                    <a:pt x="38" y="55"/>
                  </a:cubicBezTo>
                  <a:cubicBezTo>
                    <a:pt x="38" y="56"/>
                    <a:pt x="38" y="58"/>
                    <a:pt x="38" y="59"/>
                  </a:cubicBezTo>
                  <a:cubicBezTo>
                    <a:pt x="39" y="60"/>
                    <a:pt x="40" y="60"/>
                    <a:pt x="40" y="61"/>
                  </a:cubicBezTo>
                  <a:cubicBezTo>
                    <a:pt x="40" y="63"/>
                    <a:pt x="37" y="64"/>
                    <a:pt x="38" y="66"/>
                  </a:cubicBezTo>
                  <a:cubicBezTo>
                    <a:pt x="39" y="68"/>
                    <a:pt x="43" y="67"/>
                    <a:pt x="44" y="68"/>
                  </a:cubicBezTo>
                  <a:cubicBezTo>
                    <a:pt x="48" y="71"/>
                    <a:pt x="51" y="73"/>
                    <a:pt x="54" y="76"/>
                  </a:cubicBezTo>
                  <a:cubicBezTo>
                    <a:pt x="53" y="78"/>
                    <a:pt x="52" y="80"/>
                    <a:pt x="50" y="81"/>
                  </a:cubicBezTo>
                  <a:cubicBezTo>
                    <a:pt x="48" y="82"/>
                    <a:pt x="45" y="80"/>
                    <a:pt x="43" y="81"/>
                  </a:cubicBezTo>
                  <a:cubicBezTo>
                    <a:pt x="41" y="81"/>
                    <a:pt x="39" y="81"/>
                    <a:pt x="38" y="82"/>
                  </a:cubicBezTo>
                  <a:cubicBezTo>
                    <a:pt x="37" y="83"/>
                    <a:pt x="37" y="85"/>
                    <a:pt x="35" y="86"/>
                  </a:cubicBezTo>
                  <a:cubicBezTo>
                    <a:pt x="34" y="87"/>
                    <a:pt x="32" y="88"/>
                    <a:pt x="30" y="8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7" name="Freeform 137"/>
            <p:cNvSpPr>
              <a:spLocks noChangeAspect="1"/>
            </p:cNvSpPr>
            <p:nvPr/>
          </p:nvSpPr>
          <p:spPr bwMode="auto">
            <a:xfrm>
              <a:off x="7485063" y="3098800"/>
              <a:ext cx="88900" cy="131763"/>
            </a:xfrm>
            <a:custGeom>
              <a:avLst/>
              <a:gdLst>
                <a:gd name="T0" fmla="*/ 0 w 47"/>
                <a:gd name="T1" fmla="*/ 24825 h 69"/>
                <a:gd name="T2" fmla="*/ 9457 w 47"/>
                <a:gd name="T3" fmla="*/ 19096 h 69"/>
                <a:gd name="T4" fmla="*/ 15132 w 47"/>
                <a:gd name="T5" fmla="*/ 11458 h 69"/>
                <a:gd name="T6" fmla="*/ 24589 w 47"/>
                <a:gd name="T7" fmla="*/ 9548 h 69"/>
                <a:gd name="T8" fmla="*/ 37830 w 47"/>
                <a:gd name="T9" fmla="*/ 9548 h 69"/>
                <a:gd name="T10" fmla="*/ 45396 w 47"/>
                <a:gd name="T11" fmla="*/ 0 h 69"/>
                <a:gd name="T12" fmla="*/ 54853 w 47"/>
                <a:gd name="T13" fmla="*/ 15277 h 69"/>
                <a:gd name="T14" fmla="*/ 73768 w 47"/>
                <a:gd name="T15" fmla="*/ 42011 h 69"/>
                <a:gd name="T16" fmla="*/ 79443 w 47"/>
                <a:gd name="T17" fmla="*/ 68746 h 69"/>
                <a:gd name="T18" fmla="*/ 81334 w 47"/>
                <a:gd name="T19" fmla="*/ 80204 h 69"/>
                <a:gd name="T20" fmla="*/ 85117 w 47"/>
                <a:gd name="T21" fmla="*/ 78294 h 69"/>
                <a:gd name="T22" fmla="*/ 85117 w 47"/>
                <a:gd name="T23" fmla="*/ 105028 h 69"/>
                <a:gd name="T24" fmla="*/ 69985 w 47"/>
                <a:gd name="T25" fmla="*/ 106938 h 69"/>
                <a:gd name="T26" fmla="*/ 68094 w 47"/>
                <a:gd name="T27" fmla="*/ 116486 h 69"/>
                <a:gd name="T28" fmla="*/ 54853 w 47"/>
                <a:gd name="T29" fmla="*/ 110757 h 69"/>
                <a:gd name="T30" fmla="*/ 56745 w 47"/>
                <a:gd name="T31" fmla="*/ 118396 h 69"/>
                <a:gd name="T32" fmla="*/ 51070 w 47"/>
                <a:gd name="T33" fmla="*/ 112667 h 69"/>
                <a:gd name="T34" fmla="*/ 51070 w 47"/>
                <a:gd name="T35" fmla="*/ 122215 h 69"/>
                <a:gd name="T36" fmla="*/ 43504 w 47"/>
                <a:gd name="T37" fmla="*/ 114577 h 69"/>
                <a:gd name="T38" fmla="*/ 43504 w 47"/>
                <a:gd name="T39" fmla="*/ 122215 h 69"/>
                <a:gd name="T40" fmla="*/ 37830 w 47"/>
                <a:gd name="T41" fmla="*/ 124125 h 69"/>
                <a:gd name="T42" fmla="*/ 37830 w 47"/>
                <a:gd name="T43" fmla="*/ 116486 h 69"/>
                <a:gd name="T44" fmla="*/ 30264 w 47"/>
                <a:gd name="T45" fmla="*/ 126034 h 69"/>
                <a:gd name="T46" fmla="*/ 28372 w 47"/>
                <a:gd name="T47" fmla="*/ 122215 h 69"/>
                <a:gd name="T48" fmla="*/ 20806 w 47"/>
                <a:gd name="T49" fmla="*/ 131763 h 69"/>
                <a:gd name="T50" fmla="*/ 17023 w 47"/>
                <a:gd name="T51" fmla="*/ 120305 h 69"/>
                <a:gd name="T52" fmla="*/ 20806 w 47"/>
                <a:gd name="T53" fmla="*/ 114577 h 69"/>
                <a:gd name="T54" fmla="*/ 15132 w 47"/>
                <a:gd name="T55" fmla="*/ 103119 h 69"/>
                <a:gd name="T56" fmla="*/ 18915 w 47"/>
                <a:gd name="T57" fmla="*/ 93571 h 69"/>
                <a:gd name="T58" fmla="*/ 15132 w 47"/>
                <a:gd name="T59" fmla="*/ 93571 h 69"/>
                <a:gd name="T60" fmla="*/ 17023 w 47"/>
                <a:gd name="T61" fmla="*/ 80204 h 69"/>
                <a:gd name="T62" fmla="*/ 11349 w 47"/>
                <a:gd name="T63" fmla="*/ 55379 h 69"/>
                <a:gd name="T64" fmla="*/ 1891 w 47"/>
                <a:gd name="T65" fmla="*/ 53469 h 69"/>
                <a:gd name="T66" fmla="*/ 5674 w 47"/>
                <a:gd name="T67" fmla="*/ 47740 h 69"/>
                <a:gd name="T68" fmla="*/ 15132 w 47"/>
                <a:gd name="T69" fmla="*/ 47740 h 69"/>
                <a:gd name="T70" fmla="*/ 13240 w 47"/>
                <a:gd name="T71" fmla="*/ 36283 h 69"/>
                <a:gd name="T72" fmla="*/ 7566 w 47"/>
                <a:gd name="T73" fmla="*/ 28644 h 69"/>
                <a:gd name="T74" fmla="*/ 1891 w 47"/>
                <a:gd name="T75" fmla="*/ 28644 h 69"/>
                <a:gd name="T76" fmla="*/ 0 w 47"/>
                <a:gd name="T77" fmla="*/ 24825 h 6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7"/>
                <a:gd name="T118" fmla="*/ 0 h 69"/>
                <a:gd name="T119" fmla="*/ 47 w 47"/>
                <a:gd name="T120" fmla="*/ 69 h 6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7" h="69">
                  <a:moveTo>
                    <a:pt x="0" y="13"/>
                  </a:moveTo>
                  <a:cubicBezTo>
                    <a:pt x="2" y="12"/>
                    <a:pt x="4" y="11"/>
                    <a:pt x="5" y="10"/>
                  </a:cubicBezTo>
                  <a:cubicBezTo>
                    <a:pt x="7" y="9"/>
                    <a:pt x="7" y="7"/>
                    <a:pt x="8" y="6"/>
                  </a:cubicBezTo>
                  <a:cubicBezTo>
                    <a:pt x="9" y="5"/>
                    <a:pt x="11" y="5"/>
                    <a:pt x="13" y="5"/>
                  </a:cubicBezTo>
                  <a:cubicBezTo>
                    <a:pt x="15" y="4"/>
                    <a:pt x="18" y="6"/>
                    <a:pt x="20" y="5"/>
                  </a:cubicBezTo>
                  <a:cubicBezTo>
                    <a:pt x="22" y="4"/>
                    <a:pt x="23" y="2"/>
                    <a:pt x="24" y="0"/>
                  </a:cubicBezTo>
                  <a:cubicBezTo>
                    <a:pt x="25" y="3"/>
                    <a:pt x="27" y="6"/>
                    <a:pt x="29" y="8"/>
                  </a:cubicBezTo>
                  <a:cubicBezTo>
                    <a:pt x="32" y="13"/>
                    <a:pt x="36" y="17"/>
                    <a:pt x="39" y="22"/>
                  </a:cubicBezTo>
                  <a:cubicBezTo>
                    <a:pt x="41" y="26"/>
                    <a:pt x="41" y="31"/>
                    <a:pt x="42" y="36"/>
                  </a:cubicBezTo>
                  <a:cubicBezTo>
                    <a:pt x="43" y="38"/>
                    <a:pt x="42" y="40"/>
                    <a:pt x="43" y="42"/>
                  </a:cubicBezTo>
                  <a:cubicBezTo>
                    <a:pt x="43" y="43"/>
                    <a:pt x="45" y="40"/>
                    <a:pt x="45" y="41"/>
                  </a:cubicBezTo>
                  <a:cubicBezTo>
                    <a:pt x="46" y="46"/>
                    <a:pt x="47" y="51"/>
                    <a:pt x="45" y="55"/>
                  </a:cubicBezTo>
                  <a:cubicBezTo>
                    <a:pt x="43" y="58"/>
                    <a:pt x="39" y="55"/>
                    <a:pt x="37" y="56"/>
                  </a:cubicBezTo>
                  <a:cubicBezTo>
                    <a:pt x="36" y="57"/>
                    <a:pt x="38" y="61"/>
                    <a:pt x="36" y="61"/>
                  </a:cubicBezTo>
                  <a:cubicBezTo>
                    <a:pt x="34" y="62"/>
                    <a:pt x="32" y="58"/>
                    <a:pt x="29" y="58"/>
                  </a:cubicBezTo>
                  <a:cubicBezTo>
                    <a:pt x="28" y="59"/>
                    <a:pt x="30" y="61"/>
                    <a:pt x="30" y="62"/>
                  </a:cubicBezTo>
                  <a:cubicBezTo>
                    <a:pt x="28" y="62"/>
                    <a:pt x="28" y="58"/>
                    <a:pt x="27" y="59"/>
                  </a:cubicBezTo>
                  <a:cubicBezTo>
                    <a:pt x="26" y="60"/>
                    <a:pt x="27" y="63"/>
                    <a:pt x="27" y="64"/>
                  </a:cubicBezTo>
                  <a:cubicBezTo>
                    <a:pt x="25" y="64"/>
                    <a:pt x="25" y="61"/>
                    <a:pt x="23" y="60"/>
                  </a:cubicBezTo>
                  <a:cubicBezTo>
                    <a:pt x="22" y="60"/>
                    <a:pt x="24" y="63"/>
                    <a:pt x="23" y="64"/>
                  </a:cubicBezTo>
                  <a:cubicBezTo>
                    <a:pt x="23" y="65"/>
                    <a:pt x="21" y="65"/>
                    <a:pt x="20" y="65"/>
                  </a:cubicBezTo>
                  <a:cubicBezTo>
                    <a:pt x="20" y="64"/>
                    <a:pt x="21" y="61"/>
                    <a:pt x="20" y="61"/>
                  </a:cubicBezTo>
                  <a:cubicBezTo>
                    <a:pt x="18" y="62"/>
                    <a:pt x="18" y="65"/>
                    <a:pt x="16" y="66"/>
                  </a:cubicBezTo>
                  <a:cubicBezTo>
                    <a:pt x="15" y="67"/>
                    <a:pt x="15" y="64"/>
                    <a:pt x="15" y="64"/>
                  </a:cubicBezTo>
                  <a:cubicBezTo>
                    <a:pt x="13" y="65"/>
                    <a:pt x="13" y="69"/>
                    <a:pt x="11" y="69"/>
                  </a:cubicBezTo>
                  <a:cubicBezTo>
                    <a:pt x="9" y="68"/>
                    <a:pt x="9" y="65"/>
                    <a:pt x="9" y="63"/>
                  </a:cubicBezTo>
                  <a:cubicBezTo>
                    <a:pt x="9" y="62"/>
                    <a:pt x="11" y="61"/>
                    <a:pt x="11" y="60"/>
                  </a:cubicBezTo>
                  <a:cubicBezTo>
                    <a:pt x="11" y="58"/>
                    <a:pt x="9" y="56"/>
                    <a:pt x="8" y="54"/>
                  </a:cubicBezTo>
                  <a:cubicBezTo>
                    <a:pt x="8" y="52"/>
                    <a:pt x="10" y="51"/>
                    <a:pt x="10" y="49"/>
                  </a:cubicBezTo>
                  <a:cubicBezTo>
                    <a:pt x="10" y="48"/>
                    <a:pt x="8" y="49"/>
                    <a:pt x="8" y="49"/>
                  </a:cubicBezTo>
                  <a:cubicBezTo>
                    <a:pt x="8" y="46"/>
                    <a:pt x="10" y="44"/>
                    <a:pt x="9" y="42"/>
                  </a:cubicBezTo>
                  <a:cubicBezTo>
                    <a:pt x="9" y="37"/>
                    <a:pt x="8" y="33"/>
                    <a:pt x="6" y="29"/>
                  </a:cubicBezTo>
                  <a:cubicBezTo>
                    <a:pt x="5" y="28"/>
                    <a:pt x="2" y="30"/>
                    <a:pt x="1" y="28"/>
                  </a:cubicBezTo>
                  <a:cubicBezTo>
                    <a:pt x="0" y="27"/>
                    <a:pt x="2" y="25"/>
                    <a:pt x="3" y="25"/>
                  </a:cubicBezTo>
                  <a:cubicBezTo>
                    <a:pt x="5" y="24"/>
                    <a:pt x="7" y="26"/>
                    <a:pt x="8" y="25"/>
                  </a:cubicBezTo>
                  <a:cubicBezTo>
                    <a:pt x="9" y="23"/>
                    <a:pt x="8" y="21"/>
                    <a:pt x="7" y="19"/>
                  </a:cubicBezTo>
                  <a:cubicBezTo>
                    <a:pt x="6" y="17"/>
                    <a:pt x="5" y="16"/>
                    <a:pt x="4" y="15"/>
                  </a:cubicBezTo>
                  <a:cubicBezTo>
                    <a:pt x="3" y="14"/>
                    <a:pt x="2" y="15"/>
                    <a:pt x="1" y="15"/>
                  </a:cubicBezTo>
                  <a:cubicBezTo>
                    <a:pt x="1" y="14"/>
                    <a:pt x="1" y="13"/>
                    <a:pt x="0" y="1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8" name="Freeform 138"/>
            <p:cNvSpPr>
              <a:spLocks noChangeAspect="1"/>
            </p:cNvSpPr>
            <p:nvPr/>
          </p:nvSpPr>
          <p:spPr bwMode="auto">
            <a:xfrm>
              <a:off x="5059363" y="2516188"/>
              <a:ext cx="212725" cy="166687"/>
            </a:xfrm>
            <a:custGeom>
              <a:avLst/>
              <a:gdLst>
                <a:gd name="T0" fmla="*/ 13295 w 112"/>
                <a:gd name="T1" fmla="*/ 157216 h 88"/>
                <a:gd name="T2" fmla="*/ 13295 w 112"/>
                <a:gd name="T3" fmla="*/ 138274 h 88"/>
                <a:gd name="T4" fmla="*/ 7597 w 112"/>
                <a:gd name="T5" fmla="*/ 138274 h 88"/>
                <a:gd name="T6" fmla="*/ 3799 w 112"/>
                <a:gd name="T7" fmla="*/ 134486 h 88"/>
                <a:gd name="T8" fmla="*/ 5698 w 112"/>
                <a:gd name="T9" fmla="*/ 123121 h 88"/>
                <a:gd name="T10" fmla="*/ 9497 w 112"/>
                <a:gd name="T11" fmla="*/ 119333 h 88"/>
                <a:gd name="T12" fmla="*/ 13295 w 112"/>
                <a:gd name="T13" fmla="*/ 113650 h 88"/>
                <a:gd name="T14" fmla="*/ 13295 w 112"/>
                <a:gd name="T15" fmla="*/ 98497 h 88"/>
                <a:gd name="T16" fmla="*/ 9497 w 112"/>
                <a:gd name="T17" fmla="*/ 92814 h 88"/>
                <a:gd name="T18" fmla="*/ 1899 w 112"/>
                <a:gd name="T19" fmla="*/ 87132 h 88"/>
                <a:gd name="T20" fmla="*/ 1899 w 112"/>
                <a:gd name="T21" fmla="*/ 77661 h 88"/>
                <a:gd name="T22" fmla="*/ 11396 w 112"/>
                <a:gd name="T23" fmla="*/ 79555 h 88"/>
                <a:gd name="T24" fmla="*/ 20893 w 112"/>
                <a:gd name="T25" fmla="*/ 75767 h 88"/>
                <a:gd name="T26" fmla="*/ 30389 w 112"/>
                <a:gd name="T27" fmla="*/ 75767 h 88"/>
                <a:gd name="T28" fmla="*/ 36087 w 112"/>
                <a:gd name="T29" fmla="*/ 66296 h 88"/>
                <a:gd name="T30" fmla="*/ 53181 w 112"/>
                <a:gd name="T31" fmla="*/ 66296 h 88"/>
                <a:gd name="T32" fmla="*/ 51282 w 112"/>
                <a:gd name="T33" fmla="*/ 56825 h 88"/>
                <a:gd name="T34" fmla="*/ 56980 w 112"/>
                <a:gd name="T35" fmla="*/ 41672 h 88"/>
                <a:gd name="T36" fmla="*/ 74074 w 112"/>
                <a:gd name="T37" fmla="*/ 37883 h 88"/>
                <a:gd name="T38" fmla="*/ 74074 w 112"/>
                <a:gd name="T39" fmla="*/ 24624 h 88"/>
                <a:gd name="T40" fmla="*/ 81671 w 112"/>
                <a:gd name="T41" fmla="*/ 17048 h 88"/>
                <a:gd name="T42" fmla="*/ 93067 w 112"/>
                <a:gd name="T43" fmla="*/ 18942 h 88"/>
                <a:gd name="T44" fmla="*/ 98765 w 112"/>
                <a:gd name="T45" fmla="*/ 7577 h 88"/>
                <a:gd name="T46" fmla="*/ 104463 w 112"/>
                <a:gd name="T47" fmla="*/ 1894 h 88"/>
                <a:gd name="T48" fmla="*/ 115859 w 112"/>
                <a:gd name="T49" fmla="*/ 1894 h 88"/>
                <a:gd name="T50" fmla="*/ 119658 w 112"/>
                <a:gd name="T51" fmla="*/ 7577 h 88"/>
                <a:gd name="T52" fmla="*/ 131054 w 112"/>
                <a:gd name="T53" fmla="*/ 7577 h 88"/>
                <a:gd name="T54" fmla="*/ 132953 w 112"/>
                <a:gd name="T55" fmla="*/ 17048 h 88"/>
                <a:gd name="T56" fmla="*/ 148148 w 112"/>
                <a:gd name="T57" fmla="*/ 13259 h 88"/>
                <a:gd name="T58" fmla="*/ 170940 w 112"/>
                <a:gd name="T59" fmla="*/ 20836 h 88"/>
                <a:gd name="T60" fmla="*/ 169040 w 112"/>
                <a:gd name="T61" fmla="*/ 47354 h 88"/>
                <a:gd name="T62" fmla="*/ 174738 w 112"/>
                <a:gd name="T63" fmla="*/ 54931 h 88"/>
                <a:gd name="T64" fmla="*/ 176638 w 112"/>
                <a:gd name="T65" fmla="*/ 62508 h 88"/>
                <a:gd name="T66" fmla="*/ 191832 w 112"/>
                <a:gd name="T67" fmla="*/ 71978 h 88"/>
                <a:gd name="T68" fmla="*/ 191832 w 112"/>
                <a:gd name="T69" fmla="*/ 83344 h 88"/>
                <a:gd name="T70" fmla="*/ 203228 w 112"/>
                <a:gd name="T71" fmla="*/ 87132 h 88"/>
                <a:gd name="T72" fmla="*/ 212725 w 112"/>
                <a:gd name="T73" fmla="*/ 98497 h 88"/>
                <a:gd name="T74" fmla="*/ 201329 w 112"/>
                <a:gd name="T75" fmla="*/ 106074 h 88"/>
                <a:gd name="T76" fmla="*/ 193732 w 112"/>
                <a:gd name="T77" fmla="*/ 106074 h 88"/>
                <a:gd name="T78" fmla="*/ 186134 w 112"/>
                <a:gd name="T79" fmla="*/ 100391 h 88"/>
                <a:gd name="T80" fmla="*/ 178537 w 112"/>
                <a:gd name="T81" fmla="*/ 107968 h 88"/>
                <a:gd name="T82" fmla="*/ 186134 w 112"/>
                <a:gd name="T83" fmla="*/ 119333 h 88"/>
                <a:gd name="T84" fmla="*/ 189933 w 112"/>
                <a:gd name="T85" fmla="*/ 136380 h 88"/>
                <a:gd name="T86" fmla="*/ 174738 w 112"/>
                <a:gd name="T87" fmla="*/ 142063 h 88"/>
                <a:gd name="T88" fmla="*/ 169040 w 112"/>
                <a:gd name="T89" fmla="*/ 153428 h 88"/>
                <a:gd name="T90" fmla="*/ 163342 w 112"/>
                <a:gd name="T91" fmla="*/ 164793 h 88"/>
                <a:gd name="T92" fmla="*/ 153846 w 112"/>
                <a:gd name="T93" fmla="*/ 161004 h 88"/>
                <a:gd name="T94" fmla="*/ 144349 w 112"/>
                <a:gd name="T95" fmla="*/ 161004 h 88"/>
                <a:gd name="T96" fmla="*/ 134852 w 112"/>
                <a:gd name="T97" fmla="*/ 159110 h 88"/>
                <a:gd name="T98" fmla="*/ 125356 w 112"/>
                <a:gd name="T99" fmla="*/ 161004 h 88"/>
                <a:gd name="T100" fmla="*/ 115859 w 112"/>
                <a:gd name="T101" fmla="*/ 159110 h 88"/>
                <a:gd name="T102" fmla="*/ 104463 w 112"/>
                <a:gd name="T103" fmla="*/ 162899 h 88"/>
                <a:gd name="T104" fmla="*/ 98765 w 112"/>
                <a:gd name="T105" fmla="*/ 159110 h 88"/>
                <a:gd name="T106" fmla="*/ 83571 w 112"/>
                <a:gd name="T107" fmla="*/ 151534 h 88"/>
                <a:gd name="T108" fmla="*/ 72175 w 112"/>
                <a:gd name="T109" fmla="*/ 151534 h 88"/>
                <a:gd name="T110" fmla="*/ 60779 w 112"/>
                <a:gd name="T111" fmla="*/ 147745 h 88"/>
                <a:gd name="T112" fmla="*/ 41785 w 112"/>
                <a:gd name="T113" fmla="*/ 147745 h 88"/>
                <a:gd name="T114" fmla="*/ 28490 w 112"/>
                <a:gd name="T115" fmla="*/ 147745 h 88"/>
                <a:gd name="T116" fmla="*/ 24691 w 112"/>
                <a:gd name="T117" fmla="*/ 159110 h 88"/>
                <a:gd name="T118" fmla="*/ 13295 w 112"/>
                <a:gd name="T119" fmla="*/ 157216 h 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2"/>
                <a:gd name="T181" fmla="*/ 0 h 88"/>
                <a:gd name="T182" fmla="*/ 112 w 112"/>
                <a:gd name="T183" fmla="*/ 88 h 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2" h="88">
                  <a:moveTo>
                    <a:pt x="7" y="83"/>
                  </a:moveTo>
                  <a:cubicBezTo>
                    <a:pt x="7" y="80"/>
                    <a:pt x="7" y="76"/>
                    <a:pt x="7" y="73"/>
                  </a:cubicBezTo>
                  <a:cubicBezTo>
                    <a:pt x="6" y="72"/>
                    <a:pt x="5" y="73"/>
                    <a:pt x="4" y="73"/>
                  </a:cubicBezTo>
                  <a:cubicBezTo>
                    <a:pt x="4" y="72"/>
                    <a:pt x="2" y="72"/>
                    <a:pt x="2" y="71"/>
                  </a:cubicBezTo>
                  <a:cubicBezTo>
                    <a:pt x="1" y="69"/>
                    <a:pt x="2" y="67"/>
                    <a:pt x="3" y="65"/>
                  </a:cubicBezTo>
                  <a:cubicBezTo>
                    <a:pt x="3" y="64"/>
                    <a:pt x="5" y="64"/>
                    <a:pt x="5" y="63"/>
                  </a:cubicBezTo>
                  <a:cubicBezTo>
                    <a:pt x="6" y="62"/>
                    <a:pt x="7" y="61"/>
                    <a:pt x="7" y="60"/>
                  </a:cubicBezTo>
                  <a:cubicBezTo>
                    <a:pt x="7" y="57"/>
                    <a:pt x="7" y="55"/>
                    <a:pt x="7" y="52"/>
                  </a:cubicBezTo>
                  <a:cubicBezTo>
                    <a:pt x="6" y="51"/>
                    <a:pt x="5" y="50"/>
                    <a:pt x="5" y="49"/>
                  </a:cubicBezTo>
                  <a:cubicBezTo>
                    <a:pt x="4" y="48"/>
                    <a:pt x="2" y="47"/>
                    <a:pt x="1" y="46"/>
                  </a:cubicBezTo>
                  <a:cubicBezTo>
                    <a:pt x="0" y="44"/>
                    <a:pt x="1" y="43"/>
                    <a:pt x="1" y="41"/>
                  </a:cubicBezTo>
                  <a:cubicBezTo>
                    <a:pt x="3" y="41"/>
                    <a:pt x="4" y="42"/>
                    <a:pt x="6" y="42"/>
                  </a:cubicBezTo>
                  <a:cubicBezTo>
                    <a:pt x="8" y="42"/>
                    <a:pt x="9" y="40"/>
                    <a:pt x="11" y="40"/>
                  </a:cubicBezTo>
                  <a:cubicBezTo>
                    <a:pt x="12" y="40"/>
                    <a:pt x="15" y="41"/>
                    <a:pt x="16" y="40"/>
                  </a:cubicBezTo>
                  <a:cubicBezTo>
                    <a:pt x="18" y="39"/>
                    <a:pt x="18" y="36"/>
                    <a:pt x="19" y="35"/>
                  </a:cubicBezTo>
                  <a:cubicBezTo>
                    <a:pt x="22" y="34"/>
                    <a:pt x="26" y="37"/>
                    <a:pt x="28" y="35"/>
                  </a:cubicBezTo>
                  <a:cubicBezTo>
                    <a:pt x="30" y="34"/>
                    <a:pt x="27" y="32"/>
                    <a:pt x="27" y="30"/>
                  </a:cubicBezTo>
                  <a:cubicBezTo>
                    <a:pt x="28" y="27"/>
                    <a:pt x="28" y="24"/>
                    <a:pt x="30" y="22"/>
                  </a:cubicBezTo>
                  <a:cubicBezTo>
                    <a:pt x="32" y="20"/>
                    <a:pt x="37" y="22"/>
                    <a:pt x="39" y="20"/>
                  </a:cubicBezTo>
                  <a:cubicBezTo>
                    <a:pt x="41" y="18"/>
                    <a:pt x="39" y="15"/>
                    <a:pt x="39" y="13"/>
                  </a:cubicBezTo>
                  <a:cubicBezTo>
                    <a:pt x="40" y="12"/>
                    <a:pt x="41" y="10"/>
                    <a:pt x="43" y="9"/>
                  </a:cubicBezTo>
                  <a:cubicBezTo>
                    <a:pt x="45" y="9"/>
                    <a:pt x="47" y="11"/>
                    <a:pt x="49" y="10"/>
                  </a:cubicBezTo>
                  <a:cubicBezTo>
                    <a:pt x="50" y="8"/>
                    <a:pt x="51" y="6"/>
                    <a:pt x="52" y="4"/>
                  </a:cubicBezTo>
                  <a:cubicBezTo>
                    <a:pt x="53" y="3"/>
                    <a:pt x="54" y="2"/>
                    <a:pt x="55" y="1"/>
                  </a:cubicBezTo>
                  <a:cubicBezTo>
                    <a:pt x="57" y="1"/>
                    <a:pt x="59" y="0"/>
                    <a:pt x="61" y="1"/>
                  </a:cubicBezTo>
                  <a:cubicBezTo>
                    <a:pt x="62" y="1"/>
                    <a:pt x="62" y="4"/>
                    <a:pt x="63" y="4"/>
                  </a:cubicBezTo>
                  <a:cubicBezTo>
                    <a:pt x="65" y="5"/>
                    <a:pt x="67" y="3"/>
                    <a:pt x="69" y="4"/>
                  </a:cubicBezTo>
                  <a:cubicBezTo>
                    <a:pt x="70" y="5"/>
                    <a:pt x="68" y="8"/>
                    <a:pt x="70" y="9"/>
                  </a:cubicBezTo>
                  <a:cubicBezTo>
                    <a:pt x="72" y="10"/>
                    <a:pt x="75" y="7"/>
                    <a:pt x="78" y="7"/>
                  </a:cubicBezTo>
                  <a:cubicBezTo>
                    <a:pt x="82" y="8"/>
                    <a:pt x="88" y="8"/>
                    <a:pt x="90" y="11"/>
                  </a:cubicBezTo>
                  <a:cubicBezTo>
                    <a:pt x="92" y="15"/>
                    <a:pt x="88" y="20"/>
                    <a:pt x="89" y="25"/>
                  </a:cubicBezTo>
                  <a:cubicBezTo>
                    <a:pt x="89" y="27"/>
                    <a:pt x="91" y="27"/>
                    <a:pt x="92" y="29"/>
                  </a:cubicBezTo>
                  <a:cubicBezTo>
                    <a:pt x="93" y="30"/>
                    <a:pt x="92" y="32"/>
                    <a:pt x="93" y="33"/>
                  </a:cubicBezTo>
                  <a:cubicBezTo>
                    <a:pt x="95" y="35"/>
                    <a:pt x="99" y="35"/>
                    <a:pt x="101" y="38"/>
                  </a:cubicBezTo>
                  <a:cubicBezTo>
                    <a:pt x="102" y="40"/>
                    <a:pt x="99" y="43"/>
                    <a:pt x="101" y="44"/>
                  </a:cubicBezTo>
                  <a:cubicBezTo>
                    <a:pt x="102" y="46"/>
                    <a:pt x="105" y="44"/>
                    <a:pt x="107" y="46"/>
                  </a:cubicBezTo>
                  <a:cubicBezTo>
                    <a:pt x="109" y="47"/>
                    <a:pt x="112" y="49"/>
                    <a:pt x="112" y="52"/>
                  </a:cubicBezTo>
                  <a:cubicBezTo>
                    <a:pt x="112" y="55"/>
                    <a:pt x="109" y="55"/>
                    <a:pt x="106" y="56"/>
                  </a:cubicBezTo>
                  <a:cubicBezTo>
                    <a:pt x="105" y="57"/>
                    <a:pt x="103" y="57"/>
                    <a:pt x="102" y="56"/>
                  </a:cubicBezTo>
                  <a:cubicBezTo>
                    <a:pt x="100" y="56"/>
                    <a:pt x="100" y="53"/>
                    <a:pt x="98" y="53"/>
                  </a:cubicBezTo>
                  <a:cubicBezTo>
                    <a:pt x="97" y="53"/>
                    <a:pt x="94" y="55"/>
                    <a:pt x="94" y="57"/>
                  </a:cubicBezTo>
                  <a:cubicBezTo>
                    <a:pt x="94" y="59"/>
                    <a:pt x="98" y="61"/>
                    <a:pt x="98" y="63"/>
                  </a:cubicBezTo>
                  <a:cubicBezTo>
                    <a:pt x="100" y="66"/>
                    <a:pt x="100" y="69"/>
                    <a:pt x="100" y="72"/>
                  </a:cubicBezTo>
                  <a:cubicBezTo>
                    <a:pt x="98" y="73"/>
                    <a:pt x="94" y="73"/>
                    <a:pt x="92" y="75"/>
                  </a:cubicBezTo>
                  <a:cubicBezTo>
                    <a:pt x="90" y="77"/>
                    <a:pt x="90" y="79"/>
                    <a:pt x="89" y="81"/>
                  </a:cubicBezTo>
                  <a:cubicBezTo>
                    <a:pt x="88" y="83"/>
                    <a:pt x="88" y="86"/>
                    <a:pt x="86" y="87"/>
                  </a:cubicBezTo>
                  <a:cubicBezTo>
                    <a:pt x="85" y="88"/>
                    <a:pt x="83" y="85"/>
                    <a:pt x="81" y="85"/>
                  </a:cubicBezTo>
                  <a:cubicBezTo>
                    <a:pt x="79" y="84"/>
                    <a:pt x="78" y="85"/>
                    <a:pt x="76" y="85"/>
                  </a:cubicBezTo>
                  <a:cubicBezTo>
                    <a:pt x="74" y="85"/>
                    <a:pt x="73" y="84"/>
                    <a:pt x="71" y="84"/>
                  </a:cubicBezTo>
                  <a:cubicBezTo>
                    <a:pt x="69" y="84"/>
                    <a:pt x="68" y="85"/>
                    <a:pt x="66" y="85"/>
                  </a:cubicBezTo>
                  <a:cubicBezTo>
                    <a:pt x="64" y="85"/>
                    <a:pt x="63" y="84"/>
                    <a:pt x="61" y="84"/>
                  </a:cubicBezTo>
                  <a:cubicBezTo>
                    <a:pt x="59" y="84"/>
                    <a:pt x="57" y="86"/>
                    <a:pt x="55" y="86"/>
                  </a:cubicBezTo>
                  <a:cubicBezTo>
                    <a:pt x="54" y="86"/>
                    <a:pt x="53" y="84"/>
                    <a:pt x="52" y="84"/>
                  </a:cubicBezTo>
                  <a:cubicBezTo>
                    <a:pt x="50" y="82"/>
                    <a:pt x="47" y="81"/>
                    <a:pt x="44" y="80"/>
                  </a:cubicBezTo>
                  <a:cubicBezTo>
                    <a:pt x="42" y="79"/>
                    <a:pt x="40" y="80"/>
                    <a:pt x="38" y="80"/>
                  </a:cubicBezTo>
                  <a:cubicBezTo>
                    <a:pt x="36" y="80"/>
                    <a:pt x="34" y="79"/>
                    <a:pt x="32" y="78"/>
                  </a:cubicBezTo>
                  <a:cubicBezTo>
                    <a:pt x="29" y="78"/>
                    <a:pt x="25" y="78"/>
                    <a:pt x="22" y="78"/>
                  </a:cubicBezTo>
                  <a:cubicBezTo>
                    <a:pt x="19" y="77"/>
                    <a:pt x="17" y="76"/>
                    <a:pt x="15" y="78"/>
                  </a:cubicBezTo>
                  <a:cubicBezTo>
                    <a:pt x="13" y="79"/>
                    <a:pt x="15" y="83"/>
                    <a:pt x="13" y="84"/>
                  </a:cubicBezTo>
                  <a:cubicBezTo>
                    <a:pt x="12" y="85"/>
                    <a:pt x="9" y="83"/>
                    <a:pt x="7" y="8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39" name="Freeform 139"/>
            <p:cNvSpPr>
              <a:spLocks noChangeAspect="1"/>
            </p:cNvSpPr>
            <p:nvPr/>
          </p:nvSpPr>
          <p:spPr bwMode="auto">
            <a:xfrm>
              <a:off x="4856163" y="2563813"/>
              <a:ext cx="228600" cy="193675"/>
            </a:xfrm>
            <a:custGeom>
              <a:avLst/>
              <a:gdLst>
                <a:gd name="T0" fmla="*/ 217170 w 120"/>
                <a:gd name="T1" fmla="*/ 91141 h 102"/>
                <a:gd name="T2" fmla="*/ 207645 w 120"/>
                <a:gd name="T3" fmla="*/ 87344 h 102"/>
                <a:gd name="T4" fmla="*/ 213360 w 120"/>
                <a:gd name="T5" fmla="*/ 72153 h 102"/>
                <a:gd name="T6" fmla="*/ 217170 w 120"/>
                <a:gd name="T7" fmla="*/ 51267 h 102"/>
                <a:gd name="T8" fmla="*/ 205740 w 120"/>
                <a:gd name="T9" fmla="*/ 39874 h 102"/>
                <a:gd name="T10" fmla="*/ 196215 w 120"/>
                <a:gd name="T11" fmla="*/ 22785 h 102"/>
                <a:gd name="T12" fmla="*/ 173355 w 120"/>
                <a:gd name="T13" fmla="*/ 18988 h 102"/>
                <a:gd name="T14" fmla="*/ 129540 w 120"/>
                <a:gd name="T15" fmla="*/ 15190 h 102"/>
                <a:gd name="T16" fmla="*/ 118110 w 120"/>
                <a:gd name="T17" fmla="*/ 26583 h 102"/>
                <a:gd name="T18" fmla="*/ 121920 w 120"/>
                <a:gd name="T19" fmla="*/ 18988 h 102"/>
                <a:gd name="T20" fmla="*/ 121920 w 120"/>
                <a:gd name="T21" fmla="*/ 15190 h 102"/>
                <a:gd name="T22" fmla="*/ 99060 w 120"/>
                <a:gd name="T23" fmla="*/ 20887 h 102"/>
                <a:gd name="T24" fmla="*/ 93345 w 120"/>
                <a:gd name="T25" fmla="*/ 7595 h 102"/>
                <a:gd name="T26" fmla="*/ 83820 w 120"/>
                <a:gd name="T27" fmla="*/ 0 h 102"/>
                <a:gd name="T28" fmla="*/ 60960 w 120"/>
                <a:gd name="T29" fmla="*/ 9494 h 102"/>
                <a:gd name="T30" fmla="*/ 43815 w 120"/>
                <a:gd name="T31" fmla="*/ 18988 h 102"/>
                <a:gd name="T32" fmla="*/ 9525 w 120"/>
                <a:gd name="T33" fmla="*/ 28482 h 102"/>
                <a:gd name="T34" fmla="*/ 9525 w 120"/>
                <a:gd name="T35" fmla="*/ 32279 h 102"/>
                <a:gd name="T36" fmla="*/ 1905 w 120"/>
                <a:gd name="T37" fmla="*/ 36077 h 102"/>
                <a:gd name="T38" fmla="*/ 0 w 120"/>
                <a:gd name="T39" fmla="*/ 64558 h 102"/>
                <a:gd name="T40" fmla="*/ 7620 w 120"/>
                <a:gd name="T41" fmla="*/ 83546 h 102"/>
                <a:gd name="T42" fmla="*/ 9525 w 120"/>
                <a:gd name="T43" fmla="*/ 102534 h 102"/>
                <a:gd name="T44" fmla="*/ 19050 w 120"/>
                <a:gd name="T45" fmla="*/ 119623 h 102"/>
                <a:gd name="T46" fmla="*/ 26670 w 120"/>
                <a:gd name="T47" fmla="*/ 129117 h 102"/>
                <a:gd name="T48" fmla="*/ 36195 w 120"/>
                <a:gd name="T49" fmla="*/ 132914 h 102"/>
                <a:gd name="T50" fmla="*/ 51435 w 120"/>
                <a:gd name="T51" fmla="*/ 138611 h 102"/>
                <a:gd name="T52" fmla="*/ 59055 w 120"/>
                <a:gd name="T53" fmla="*/ 157598 h 102"/>
                <a:gd name="T54" fmla="*/ 62865 w 120"/>
                <a:gd name="T55" fmla="*/ 146206 h 102"/>
                <a:gd name="T56" fmla="*/ 76200 w 120"/>
                <a:gd name="T57" fmla="*/ 151902 h 102"/>
                <a:gd name="T58" fmla="*/ 80010 w 120"/>
                <a:gd name="T59" fmla="*/ 155700 h 102"/>
                <a:gd name="T60" fmla="*/ 91440 w 120"/>
                <a:gd name="T61" fmla="*/ 159497 h 102"/>
                <a:gd name="T62" fmla="*/ 102870 w 120"/>
                <a:gd name="T63" fmla="*/ 170890 h 102"/>
                <a:gd name="T64" fmla="*/ 116205 w 120"/>
                <a:gd name="T65" fmla="*/ 180384 h 102"/>
                <a:gd name="T66" fmla="*/ 131445 w 120"/>
                <a:gd name="T67" fmla="*/ 182282 h 102"/>
                <a:gd name="T68" fmla="*/ 137160 w 120"/>
                <a:gd name="T69" fmla="*/ 186080 h 102"/>
                <a:gd name="T70" fmla="*/ 154305 w 120"/>
                <a:gd name="T71" fmla="*/ 180384 h 102"/>
                <a:gd name="T72" fmla="*/ 165735 w 120"/>
                <a:gd name="T73" fmla="*/ 178485 h 102"/>
                <a:gd name="T74" fmla="*/ 184785 w 120"/>
                <a:gd name="T75" fmla="*/ 187979 h 102"/>
                <a:gd name="T76" fmla="*/ 201930 w 120"/>
                <a:gd name="T77" fmla="*/ 191776 h 102"/>
                <a:gd name="T78" fmla="*/ 198120 w 120"/>
                <a:gd name="T79" fmla="*/ 186080 h 102"/>
                <a:gd name="T80" fmla="*/ 196215 w 120"/>
                <a:gd name="T81" fmla="*/ 172788 h 102"/>
                <a:gd name="T82" fmla="*/ 219075 w 120"/>
                <a:gd name="T83" fmla="*/ 153801 h 102"/>
                <a:gd name="T84" fmla="*/ 228600 w 120"/>
                <a:gd name="T85" fmla="*/ 144307 h 102"/>
                <a:gd name="T86" fmla="*/ 226695 w 120"/>
                <a:gd name="T87" fmla="*/ 134813 h 102"/>
                <a:gd name="T88" fmla="*/ 217170 w 120"/>
                <a:gd name="T89" fmla="*/ 110129 h 10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02"/>
                <a:gd name="T137" fmla="*/ 120 w 120"/>
                <a:gd name="T138" fmla="*/ 102 h 10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02">
                  <a:moveTo>
                    <a:pt x="114" y="58"/>
                  </a:moveTo>
                  <a:cubicBezTo>
                    <a:pt x="114" y="55"/>
                    <a:pt x="114" y="51"/>
                    <a:pt x="114" y="48"/>
                  </a:cubicBezTo>
                  <a:cubicBezTo>
                    <a:pt x="113" y="47"/>
                    <a:pt x="112" y="48"/>
                    <a:pt x="111" y="48"/>
                  </a:cubicBezTo>
                  <a:cubicBezTo>
                    <a:pt x="111" y="47"/>
                    <a:pt x="109" y="47"/>
                    <a:pt x="109" y="46"/>
                  </a:cubicBezTo>
                  <a:cubicBezTo>
                    <a:pt x="108" y="44"/>
                    <a:pt x="109" y="42"/>
                    <a:pt x="110" y="40"/>
                  </a:cubicBezTo>
                  <a:cubicBezTo>
                    <a:pt x="110" y="39"/>
                    <a:pt x="112" y="39"/>
                    <a:pt x="112" y="38"/>
                  </a:cubicBezTo>
                  <a:cubicBezTo>
                    <a:pt x="113" y="37"/>
                    <a:pt x="114" y="36"/>
                    <a:pt x="114" y="35"/>
                  </a:cubicBezTo>
                  <a:cubicBezTo>
                    <a:pt x="114" y="32"/>
                    <a:pt x="114" y="30"/>
                    <a:pt x="114" y="27"/>
                  </a:cubicBezTo>
                  <a:cubicBezTo>
                    <a:pt x="113" y="26"/>
                    <a:pt x="112" y="25"/>
                    <a:pt x="112" y="24"/>
                  </a:cubicBezTo>
                  <a:cubicBezTo>
                    <a:pt x="111" y="23"/>
                    <a:pt x="109" y="22"/>
                    <a:pt x="108" y="21"/>
                  </a:cubicBezTo>
                  <a:cubicBezTo>
                    <a:pt x="107" y="19"/>
                    <a:pt x="108" y="18"/>
                    <a:pt x="108" y="16"/>
                  </a:cubicBezTo>
                  <a:cubicBezTo>
                    <a:pt x="106" y="15"/>
                    <a:pt x="105" y="13"/>
                    <a:pt x="103" y="12"/>
                  </a:cubicBezTo>
                  <a:cubicBezTo>
                    <a:pt x="102" y="11"/>
                    <a:pt x="100" y="10"/>
                    <a:pt x="98" y="8"/>
                  </a:cubicBezTo>
                  <a:cubicBezTo>
                    <a:pt x="95" y="9"/>
                    <a:pt x="93" y="10"/>
                    <a:pt x="91" y="10"/>
                  </a:cubicBezTo>
                  <a:cubicBezTo>
                    <a:pt x="89" y="10"/>
                    <a:pt x="87" y="9"/>
                    <a:pt x="85" y="9"/>
                  </a:cubicBezTo>
                  <a:cubicBezTo>
                    <a:pt x="79" y="9"/>
                    <a:pt x="73" y="9"/>
                    <a:pt x="68" y="8"/>
                  </a:cubicBezTo>
                  <a:cubicBezTo>
                    <a:pt x="67" y="9"/>
                    <a:pt x="67" y="11"/>
                    <a:pt x="66" y="11"/>
                  </a:cubicBezTo>
                  <a:cubicBezTo>
                    <a:pt x="65" y="12"/>
                    <a:pt x="63" y="13"/>
                    <a:pt x="62" y="14"/>
                  </a:cubicBezTo>
                  <a:cubicBezTo>
                    <a:pt x="61" y="14"/>
                    <a:pt x="60" y="12"/>
                    <a:pt x="61" y="12"/>
                  </a:cubicBezTo>
                  <a:cubicBezTo>
                    <a:pt x="62" y="11"/>
                    <a:pt x="63" y="11"/>
                    <a:pt x="64" y="10"/>
                  </a:cubicBezTo>
                  <a:cubicBezTo>
                    <a:pt x="65" y="9"/>
                    <a:pt x="66" y="8"/>
                    <a:pt x="66" y="7"/>
                  </a:cubicBezTo>
                  <a:cubicBezTo>
                    <a:pt x="65" y="6"/>
                    <a:pt x="65" y="8"/>
                    <a:pt x="64" y="8"/>
                  </a:cubicBezTo>
                  <a:cubicBezTo>
                    <a:pt x="63" y="9"/>
                    <a:pt x="61" y="10"/>
                    <a:pt x="59" y="10"/>
                  </a:cubicBezTo>
                  <a:cubicBezTo>
                    <a:pt x="57" y="11"/>
                    <a:pt x="54" y="12"/>
                    <a:pt x="52" y="11"/>
                  </a:cubicBezTo>
                  <a:cubicBezTo>
                    <a:pt x="51" y="10"/>
                    <a:pt x="52" y="8"/>
                    <a:pt x="51" y="7"/>
                  </a:cubicBezTo>
                  <a:cubicBezTo>
                    <a:pt x="51" y="6"/>
                    <a:pt x="49" y="5"/>
                    <a:pt x="49" y="4"/>
                  </a:cubicBezTo>
                  <a:cubicBezTo>
                    <a:pt x="49" y="3"/>
                    <a:pt x="52" y="5"/>
                    <a:pt x="54" y="6"/>
                  </a:cubicBezTo>
                  <a:cubicBezTo>
                    <a:pt x="52" y="1"/>
                    <a:pt x="46" y="0"/>
                    <a:pt x="44" y="0"/>
                  </a:cubicBezTo>
                  <a:cubicBezTo>
                    <a:pt x="40" y="1"/>
                    <a:pt x="38" y="4"/>
                    <a:pt x="34" y="6"/>
                  </a:cubicBezTo>
                  <a:cubicBezTo>
                    <a:pt x="34" y="6"/>
                    <a:pt x="33" y="5"/>
                    <a:pt x="32" y="5"/>
                  </a:cubicBezTo>
                  <a:cubicBezTo>
                    <a:pt x="30" y="5"/>
                    <a:pt x="29" y="5"/>
                    <a:pt x="27" y="6"/>
                  </a:cubicBezTo>
                  <a:cubicBezTo>
                    <a:pt x="25" y="7"/>
                    <a:pt x="25" y="9"/>
                    <a:pt x="23" y="10"/>
                  </a:cubicBezTo>
                  <a:cubicBezTo>
                    <a:pt x="19" y="12"/>
                    <a:pt x="16" y="12"/>
                    <a:pt x="12" y="13"/>
                  </a:cubicBezTo>
                  <a:cubicBezTo>
                    <a:pt x="10" y="14"/>
                    <a:pt x="7" y="14"/>
                    <a:pt x="5" y="15"/>
                  </a:cubicBezTo>
                  <a:cubicBezTo>
                    <a:pt x="4" y="15"/>
                    <a:pt x="1" y="15"/>
                    <a:pt x="1" y="16"/>
                  </a:cubicBezTo>
                  <a:cubicBezTo>
                    <a:pt x="1" y="18"/>
                    <a:pt x="5" y="16"/>
                    <a:pt x="5" y="17"/>
                  </a:cubicBezTo>
                  <a:cubicBezTo>
                    <a:pt x="6" y="19"/>
                    <a:pt x="7" y="21"/>
                    <a:pt x="5" y="22"/>
                  </a:cubicBezTo>
                  <a:cubicBezTo>
                    <a:pt x="4" y="23"/>
                    <a:pt x="2" y="20"/>
                    <a:pt x="1" y="19"/>
                  </a:cubicBezTo>
                  <a:cubicBezTo>
                    <a:pt x="2" y="22"/>
                    <a:pt x="3" y="24"/>
                    <a:pt x="3" y="26"/>
                  </a:cubicBezTo>
                  <a:cubicBezTo>
                    <a:pt x="3" y="29"/>
                    <a:pt x="0" y="31"/>
                    <a:pt x="0" y="34"/>
                  </a:cubicBezTo>
                  <a:cubicBezTo>
                    <a:pt x="1" y="37"/>
                    <a:pt x="4" y="38"/>
                    <a:pt x="5" y="41"/>
                  </a:cubicBezTo>
                  <a:cubicBezTo>
                    <a:pt x="6" y="42"/>
                    <a:pt x="4" y="43"/>
                    <a:pt x="4" y="44"/>
                  </a:cubicBezTo>
                  <a:cubicBezTo>
                    <a:pt x="5" y="46"/>
                    <a:pt x="7" y="47"/>
                    <a:pt x="7" y="49"/>
                  </a:cubicBezTo>
                  <a:cubicBezTo>
                    <a:pt x="7" y="51"/>
                    <a:pt x="5" y="52"/>
                    <a:pt x="5" y="54"/>
                  </a:cubicBezTo>
                  <a:cubicBezTo>
                    <a:pt x="5" y="55"/>
                    <a:pt x="6" y="57"/>
                    <a:pt x="7" y="59"/>
                  </a:cubicBezTo>
                  <a:cubicBezTo>
                    <a:pt x="8" y="60"/>
                    <a:pt x="10" y="61"/>
                    <a:pt x="10" y="63"/>
                  </a:cubicBezTo>
                  <a:cubicBezTo>
                    <a:pt x="11" y="64"/>
                    <a:pt x="10" y="65"/>
                    <a:pt x="10" y="66"/>
                  </a:cubicBezTo>
                  <a:cubicBezTo>
                    <a:pt x="11" y="67"/>
                    <a:pt x="13" y="67"/>
                    <a:pt x="14" y="68"/>
                  </a:cubicBezTo>
                  <a:cubicBezTo>
                    <a:pt x="15" y="68"/>
                    <a:pt x="13" y="70"/>
                    <a:pt x="14" y="71"/>
                  </a:cubicBezTo>
                  <a:cubicBezTo>
                    <a:pt x="16" y="71"/>
                    <a:pt x="18" y="70"/>
                    <a:pt x="19" y="70"/>
                  </a:cubicBezTo>
                  <a:cubicBezTo>
                    <a:pt x="21" y="71"/>
                    <a:pt x="22" y="73"/>
                    <a:pt x="23" y="73"/>
                  </a:cubicBezTo>
                  <a:cubicBezTo>
                    <a:pt x="25" y="74"/>
                    <a:pt x="26" y="72"/>
                    <a:pt x="27" y="73"/>
                  </a:cubicBezTo>
                  <a:cubicBezTo>
                    <a:pt x="28" y="75"/>
                    <a:pt x="27" y="78"/>
                    <a:pt x="28" y="80"/>
                  </a:cubicBezTo>
                  <a:cubicBezTo>
                    <a:pt x="29" y="81"/>
                    <a:pt x="30" y="83"/>
                    <a:pt x="31" y="83"/>
                  </a:cubicBezTo>
                  <a:cubicBezTo>
                    <a:pt x="33" y="83"/>
                    <a:pt x="35" y="81"/>
                    <a:pt x="35" y="80"/>
                  </a:cubicBezTo>
                  <a:cubicBezTo>
                    <a:pt x="35" y="79"/>
                    <a:pt x="33" y="78"/>
                    <a:pt x="33" y="77"/>
                  </a:cubicBezTo>
                  <a:cubicBezTo>
                    <a:pt x="33" y="76"/>
                    <a:pt x="35" y="77"/>
                    <a:pt x="36" y="78"/>
                  </a:cubicBezTo>
                  <a:cubicBezTo>
                    <a:pt x="37" y="78"/>
                    <a:pt x="38" y="80"/>
                    <a:pt x="40" y="80"/>
                  </a:cubicBezTo>
                  <a:cubicBezTo>
                    <a:pt x="41" y="80"/>
                    <a:pt x="42" y="79"/>
                    <a:pt x="43" y="80"/>
                  </a:cubicBezTo>
                  <a:cubicBezTo>
                    <a:pt x="44" y="80"/>
                    <a:pt x="42" y="81"/>
                    <a:pt x="42" y="82"/>
                  </a:cubicBezTo>
                  <a:cubicBezTo>
                    <a:pt x="43" y="83"/>
                    <a:pt x="44" y="84"/>
                    <a:pt x="46" y="84"/>
                  </a:cubicBezTo>
                  <a:cubicBezTo>
                    <a:pt x="46" y="84"/>
                    <a:pt x="47" y="84"/>
                    <a:pt x="48" y="84"/>
                  </a:cubicBezTo>
                  <a:cubicBezTo>
                    <a:pt x="50" y="84"/>
                    <a:pt x="51" y="85"/>
                    <a:pt x="52" y="86"/>
                  </a:cubicBezTo>
                  <a:cubicBezTo>
                    <a:pt x="53" y="87"/>
                    <a:pt x="53" y="89"/>
                    <a:pt x="54" y="90"/>
                  </a:cubicBezTo>
                  <a:cubicBezTo>
                    <a:pt x="55" y="91"/>
                    <a:pt x="57" y="92"/>
                    <a:pt x="58" y="93"/>
                  </a:cubicBezTo>
                  <a:cubicBezTo>
                    <a:pt x="59" y="94"/>
                    <a:pt x="60" y="95"/>
                    <a:pt x="61" y="95"/>
                  </a:cubicBezTo>
                  <a:cubicBezTo>
                    <a:pt x="63" y="95"/>
                    <a:pt x="63" y="91"/>
                    <a:pt x="65" y="91"/>
                  </a:cubicBezTo>
                  <a:cubicBezTo>
                    <a:pt x="67" y="92"/>
                    <a:pt x="68" y="94"/>
                    <a:pt x="69" y="96"/>
                  </a:cubicBezTo>
                  <a:cubicBezTo>
                    <a:pt x="70" y="97"/>
                    <a:pt x="68" y="98"/>
                    <a:pt x="69" y="99"/>
                  </a:cubicBezTo>
                  <a:cubicBezTo>
                    <a:pt x="70" y="99"/>
                    <a:pt x="71" y="99"/>
                    <a:pt x="72" y="98"/>
                  </a:cubicBezTo>
                  <a:cubicBezTo>
                    <a:pt x="74" y="97"/>
                    <a:pt x="74" y="95"/>
                    <a:pt x="75" y="95"/>
                  </a:cubicBezTo>
                  <a:cubicBezTo>
                    <a:pt x="77" y="94"/>
                    <a:pt x="79" y="95"/>
                    <a:pt x="81" y="95"/>
                  </a:cubicBezTo>
                  <a:cubicBezTo>
                    <a:pt x="82" y="96"/>
                    <a:pt x="83" y="97"/>
                    <a:pt x="83" y="97"/>
                  </a:cubicBezTo>
                  <a:cubicBezTo>
                    <a:pt x="85" y="96"/>
                    <a:pt x="85" y="94"/>
                    <a:pt x="87" y="94"/>
                  </a:cubicBezTo>
                  <a:cubicBezTo>
                    <a:pt x="89" y="94"/>
                    <a:pt x="91" y="94"/>
                    <a:pt x="93" y="95"/>
                  </a:cubicBezTo>
                  <a:cubicBezTo>
                    <a:pt x="95" y="96"/>
                    <a:pt x="96" y="98"/>
                    <a:pt x="97" y="99"/>
                  </a:cubicBezTo>
                  <a:cubicBezTo>
                    <a:pt x="99" y="100"/>
                    <a:pt x="101" y="100"/>
                    <a:pt x="103" y="100"/>
                  </a:cubicBezTo>
                  <a:cubicBezTo>
                    <a:pt x="104" y="101"/>
                    <a:pt x="105" y="102"/>
                    <a:pt x="106" y="101"/>
                  </a:cubicBezTo>
                  <a:cubicBezTo>
                    <a:pt x="107" y="101"/>
                    <a:pt x="107" y="100"/>
                    <a:pt x="106" y="99"/>
                  </a:cubicBezTo>
                  <a:cubicBezTo>
                    <a:pt x="106" y="99"/>
                    <a:pt x="104" y="99"/>
                    <a:pt x="104" y="98"/>
                  </a:cubicBezTo>
                  <a:cubicBezTo>
                    <a:pt x="103" y="97"/>
                    <a:pt x="105" y="95"/>
                    <a:pt x="104" y="94"/>
                  </a:cubicBezTo>
                  <a:cubicBezTo>
                    <a:pt x="104" y="93"/>
                    <a:pt x="103" y="92"/>
                    <a:pt x="103" y="91"/>
                  </a:cubicBezTo>
                  <a:cubicBezTo>
                    <a:pt x="105" y="88"/>
                    <a:pt x="107" y="85"/>
                    <a:pt x="109" y="83"/>
                  </a:cubicBezTo>
                  <a:cubicBezTo>
                    <a:pt x="111" y="81"/>
                    <a:pt x="113" y="82"/>
                    <a:pt x="115" y="81"/>
                  </a:cubicBezTo>
                  <a:cubicBezTo>
                    <a:pt x="116" y="80"/>
                    <a:pt x="117" y="80"/>
                    <a:pt x="118" y="79"/>
                  </a:cubicBezTo>
                  <a:cubicBezTo>
                    <a:pt x="119" y="78"/>
                    <a:pt x="120" y="77"/>
                    <a:pt x="120" y="76"/>
                  </a:cubicBezTo>
                  <a:cubicBezTo>
                    <a:pt x="120" y="74"/>
                    <a:pt x="117" y="73"/>
                    <a:pt x="116" y="71"/>
                  </a:cubicBezTo>
                  <a:cubicBezTo>
                    <a:pt x="116" y="71"/>
                    <a:pt x="120" y="72"/>
                    <a:pt x="119" y="71"/>
                  </a:cubicBezTo>
                  <a:cubicBezTo>
                    <a:pt x="118" y="69"/>
                    <a:pt x="115" y="68"/>
                    <a:pt x="114" y="66"/>
                  </a:cubicBezTo>
                  <a:cubicBezTo>
                    <a:pt x="113" y="64"/>
                    <a:pt x="114" y="61"/>
                    <a:pt x="114" y="5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0" name="Freeform 140"/>
            <p:cNvSpPr>
              <a:spLocks noChangeAspect="1"/>
            </p:cNvSpPr>
            <p:nvPr/>
          </p:nvSpPr>
          <p:spPr bwMode="auto">
            <a:xfrm>
              <a:off x="4981575" y="2554288"/>
              <a:ext cx="66675" cy="28575"/>
            </a:xfrm>
            <a:custGeom>
              <a:avLst/>
              <a:gdLst>
                <a:gd name="T0" fmla="*/ 60960 w 35"/>
                <a:gd name="T1" fmla="*/ 24765 h 15"/>
                <a:gd name="T2" fmla="*/ 47625 w 35"/>
                <a:gd name="T3" fmla="*/ 28575 h 15"/>
                <a:gd name="T4" fmla="*/ 36195 w 35"/>
                <a:gd name="T5" fmla="*/ 26670 h 15"/>
                <a:gd name="T6" fmla="*/ 3810 w 35"/>
                <a:gd name="T7" fmla="*/ 24765 h 15"/>
                <a:gd name="T8" fmla="*/ 13335 w 35"/>
                <a:gd name="T9" fmla="*/ 19050 h 15"/>
                <a:gd name="T10" fmla="*/ 11430 w 35"/>
                <a:gd name="T11" fmla="*/ 17145 h 15"/>
                <a:gd name="T12" fmla="*/ 3810 w 35"/>
                <a:gd name="T13" fmla="*/ 19050 h 15"/>
                <a:gd name="T14" fmla="*/ 1905 w 35"/>
                <a:gd name="T15" fmla="*/ 11430 h 15"/>
                <a:gd name="T16" fmla="*/ 11430 w 35"/>
                <a:gd name="T17" fmla="*/ 9525 h 15"/>
                <a:gd name="T18" fmla="*/ 20955 w 35"/>
                <a:gd name="T19" fmla="*/ 1905 h 15"/>
                <a:gd name="T20" fmla="*/ 20955 w 35"/>
                <a:gd name="T21" fmla="*/ 3810 h 15"/>
                <a:gd name="T22" fmla="*/ 17145 w 35"/>
                <a:gd name="T23" fmla="*/ 9525 h 15"/>
                <a:gd name="T24" fmla="*/ 30480 w 35"/>
                <a:gd name="T25" fmla="*/ 9525 h 15"/>
                <a:gd name="T26" fmla="*/ 30480 w 35"/>
                <a:gd name="T27" fmla="*/ 1905 h 15"/>
                <a:gd name="T28" fmla="*/ 34290 w 35"/>
                <a:gd name="T29" fmla="*/ 0 h 15"/>
                <a:gd name="T30" fmla="*/ 43815 w 35"/>
                <a:gd name="T31" fmla="*/ 5715 h 15"/>
                <a:gd name="T32" fmla="*/ 51435 w 35"/>
                <a:gd name="T33" fmla="*/ 5715 h 15"/>
                <a:gd name="T34" fmla="*/ 55245 w 35"/>
                <a:gd name="T35" fmla="*/ 3810 h 15"/>
                <a:gd name="T36" fmla="*/ 64770 w 35"/>
                <a:gd name="T37" fmla="*/ 9525 h 15"/>
                <a:gd name="T38" fmla="*/ 64770 w 35"/>
                <a:gd name="T39" fmla="*/ 17145 h 15"/>
                <a:gd name="T40" fmla="*/ 60960 w 35"/>
                <a:gd name="T41" fmla="*/ 24765 h 1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5"/>
                <a:gd name="T64" fmla="*/ 0 h 15"/>
                <a:gd name="T65" fmla="*/ 35 w 35"/>
                <a:gd name="T66" fmla="*/ 15 h 1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5" h="15">
                  <a:moveTo>
                    <a:pt x="32" y="13"/>
                  </a:moveTo>
                  <a:cubicBezTo>
                    <a:pt x="29" y="14"/>
                    <a:pt x="27" y="15"/>
                    <a:pt x="25" y="15"/>
                  </a:cubicBezTo>
                  <a:cubicBezTo>
                    <a:pt x="23" y="15"/>
                    <a:pt x="21" y="14"/>
                    <a:pt x="19" y="14"/>
                  </a:cubicBezTo>
                  <a:cubicBezTo>
                    <a:pt x="13" y="14"/>
                    <a:pt x="7" y="14"/>
                    <a:pt x="2" y="13"/>
                  </a:cubicBezTo>
                  <a:cubicBezTo>
                    <a:pt x="3" y="12"/>
                    <a:pt x="5" y="12"/>
                    <a:pt x="7" y="10"/>
                  </a:cubicBezTo>
                  <a:cubicBezTo>
                    <a:pt x="7" y="10"/>
                    <a:pt x="6" y="9"/>
                    <a:pt x="6" y="9"/>
                  </a:cubicBezTo>
                  <a:cubicBezTo>
                    <a:pt x="5" y="9"/>
                    <a:pt x="3" y="11"/>
                    <a:pt x="2" y="10"/>
                  </a:cubicBezTo>
                  <a:cubicBezTo>
                    <a:pt x="1" y="9"/>
                    <a:pt x="0" y="7"/>
                    <a:pt x="1" y="6"/>
                  </a:cubicBezTo>
                  <a:cubicBezTo>
                    <a:pt x="2" y="5"/>
                    <a:pt x="4" y="6"/>
                    <a:pt x="6" y="5"/>
                  </a:cubicBezTo>
                  <a:cubicBezTo>
                    <a:pt x="8" y="4"/>
                    <a:pt x="9" y="2"/>
                    <a:pt x="11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0" y="3"/>
                    <a:pt x="8" y="4"/>
                    <a:pt x="9" y="5"/>
                  </a:cubicBezTo>
                  <a:cubicBezTo>
                    <a:pt x="11" y="6"/>
                    <a:pt x="14" y="6"/>
                    <a:pt x="16" y="5"/>
                  </a:cubicBezTo>
                  <a:cubicBezTo>
                    <a:pt x="17" y="4"/>
                    <a:pt x="15" y="2"/>
                    <a:pt x="16" y="1"/>
                  </a:cubicBezTo>
                  <a:cubicBezTo>
                    <a:pt x="16" y="1"/>
                    <a:pt x="17" y="0"/>
                    <a:pt x="18" y="0"/>
                  </a:cubicBezTo>
                  <a:cubicBezTo>
                    <a:pt x="20" y="1"/>
                    <a:pt x="21" y="2"/>
                    <a:pt x="23" y="3"/>
                  </a:cubicBezTo>
                  <a:cubicBezTo>
                    <a:pt x="24" y="3"/>
                    <a:pt x="25" y="3"/>
                    <a:pt x="27" y="3"/>
                  </a:cubicBezTo>
                  <a:cubicBezTo>
                    <a:pt x="28" y="3"/>
                    <a:pt x="28" y="2"/>
                    <a:pt x="29" y="2"/>
                  </a:cubicBezTo>
                  <a:cubicBezTo>
                    <a:pt x="31" y="3"/>
                    <a:pt x="33" y="4"/>
                    <a:pt x="34" y="5"/>
                  </a:cubicBezTo>
                  <a:cubicBezTo>
                    <a:pt x="35" y="6"/>
                    <a:pt x="34" y="8"/>
                    <a:pt x="34" y="9"/>
                  </a:cubicBezTo>
                  <a:cubicBezTo>
                    <a:pt x="34" y="11"/>
                    <a:pt x="33" y="12"/>
                    <a:pt x="32" y="1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1" name="Freeform 141"/>
            <p:cNvSpPr>
              <a:spLocks noChangeAspect="1"/>
            </p:cNvSpPr>
            <p:nvPr/>
          </p:nvSpPr>
          <p:spPr bwMode="auto">
            <a:xfrm>
              <a:off x="5003800" y="2505075"/>
              <a:ext cx="133350" cy="90488"/>
            </a:xfrm>
            <a:custGeom>
              <a:avLst/>
              <a:gdLst>
                <a:gd name="T0" fmla="*/ 11430 w 70"/>
                <a:gd name="T1" fmla="*/ 49014 h 48"/>
                <a:gd name="T2" fmla="*/ 7620 w 70"/>
                <a:gd name="T3" fmla="*/ 37703 h 48"/>
                <a:gd name="T4" fmla="*/ 1905 w 70"/>
                <a:gd name="T5" fmla="*/ 26392 h 48"/>
                <a:gd name="T6" fmla="*/ 0 w 70"/>
                <a:gd name="T7" fmla="*/ 16967 h 48"/>
                <a:gd name="T8" fmla="*/ 7620 w 70"/>
                <a:gd name="T9" fmla="*/ 9426 h 48"/>
                <a:gd name="T10" fmla="*/ 22860 w 70"/>
                <a:gd name="T11" fmla="*/ 1885 h 48"/>
                <a:gd name="T12" fmla="*/ 45720 w 70"/>
                <a:gd name="T13" fmla="*/ 5656 h 48"/>
                <a:gd name="T14" fmla="*/ 68580 w 70"/>
                <a:gd name="T15" fmla="*/ 7541 h 48"/>
                <a:gd name="T16" fmla="*/ 76200 w 70"/>
                <a:gd name="T17" fmla="*/ 11311 h 48"/>
                <a:gd name="T18" fmla="*/ 87630 w 70"/>
                <a:gd name="T19" fmla="*/ 7541 h 48"/>
                <a:gd name="T20" fmla="*/ 99060 w 70"/>
                <a:gd name="T21" fmla="*/ 15081 h 48"/>
                <a:gd name="T22" fmla="*/ 114300 w 70"/>
                <a:gd name="T23" fmla="*/ 24507 h 48"/>
                <a:gd name="T24" fmla="*/ 129540 w 70"/>
                <a:gd name="T25" fmla="*/ 35818 h 48"/>
                <a:gd name="T26" fmla="*/ 129540 w 70"/>
                <a:gd name="T27" fmla="*/ 49014 h 48"/>
                <a:gd name="T28" fmla="*/ 112395 w 70"/>
                <a:gd name="T29" fmla="*/ 52785 h 48"/>
                <a:gd name="T30" fmla="*/ 106680 w 70"/>
                <a:gd name="T31" fmla="*/ 67866 h 48"/>
                <a:gd name="T32" fmla="*/ 108585 w 70"/>
                <a:gd name="T33" fmla="*/ 77292 h 48"/>
                <a:gd name="T34" fmla="*/ 91440 w 70"/>
                <a:gd name="T35" fmla="*/ 77292 h 48"/>
                <a:gd name="T36" fmla="*/ 85725 w 70"/>
                <a:gd name="T37" fmla="*/ 86718 h 48"/>
                <a:gd name="T38" fmla="*/ 76200 w 70"/>
                <a:gd name="T39" fmla="*/ 86718 h 48"/>
                <a:gd name="T40" fmla="*/ 66675 w 70"/>
                <a:gd name="T41" fmla="*/ 90488 h 48"/>
                <a:gd name="T42" fmla="*/ 57150 w 70"/>
                <a:gd name="T43" fmla="*/ 88603 h 48"/>
                <a:gd name="T44" fmla="*/ 47625 w 70"/>
                <a:gd name="T45" fmla="*/ 81062 h 48"/>
                <a:gd name="T46" fmla="*/ 38100 w 70"/>
                <a:gd name="T47" fmla="*/ 73522 h 48"/>
                <a:gd name="T48" fmla="*/ 41910 w 70"/>
                <a:gd name="T49" fmla="*/ 65981 h 48"/>
                <a:gd name="T50" fmla="*/ 41910 w 70"/>
                <a:gd name="T51" fmla="*/ 58440 h 48"/>
                <a:gd name="T52" fmla="*/ 32385 w 70"/>
                <a:gd name="T53" fmla="*/ 52785 h 48"/>
                <a:gd name="T54" fmla="*/ 28575 w 70"/>
                <a:gd name="T55" fmla="*/ 54670 h 48"/>
                <a:gd name="T56" fmla="*/ 20955 w 70"/>
                <a:gd name="T57" fmla="*/ 54670 h 48"/>
                <a:gd name="T58" fmla="*/ 11430 w 70"/>
                <a:gd name="T59" fmla="*/ 49014 h 4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0"/>
                <a:gd name="T91" fmla="*/ 0 h 48"/>
                <a:gd name="T92" fmla="*/ 70 w 70"/>
                <a:gd name="T93" fmla="*/ 48 h 4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0" h="48">
                  <a:moveTo>
                    <a:pt x="6" y="26"/>
                  </a:moveTo>
                  <a:cubicBezTo>
                    <a:pt x="5" y="24"/>
                    <a:pt x="5" y="22"/>
                    <a:pt x="4" y="20"/>
                  </a:cubicBezTo>
                  <a:cubicBezTo>
                    <a:pt x="3" y="18"/>
                    <a:pt x="2" y="16"/>
                    <a:pt x="1" y="14"/>
                  </a:cubicBezTo>
                  <a:cubicBezTo>
                    <a:pt x="1" y="13"/>
                    <a:pt x="0" y="10"/>
                    <a:pt x="0" y="9"/>
                  </a:cubicBezTo>
                  <a:cubicBezTo>
                    <a:pt x="1" y="7"/>
                    <a:pt x="2" y="6"/>
                    <a:pt x="4" y="5"/>
                  </a:cubicBezTo>
                  <a:cubicBezTo>
                    <a:pt x="6" y="3"/>
                    <a:pt x="9" y="1"/>
                    <a:pt x="12" y="1"/>
                  </a:cubicBezTo>
                  <a:cubicBezTo>
                    <a:pt x="16" y="0"/>
                    <a:pt x="20" y="2"/>
                    <a:pt x="24" y="3"/>
                  </a:cubicBezTo>
                  <a:cubicBezTo>
                    <a:pt x="28" y="3"/>
                    <a:pt x="32" y="3"/>
                    <a:pt x="36" y="4"/>
                  </a:cubicBezTo>
                  <a:cubicBezTo>
                    <a:pt x="37" y="5"/>
                    <a:pt x="39" y="6"/>
                    <a:pt x="40" y="6"/>
                  </a:cubicBezTo>
                  <a:cubicBezTo>
                    <a:pt x="42" y="7"/>
                    <a:pt x="44" y="4"/>
                    <a:pt x="46" y="4"/>
                  </a:cubicBezTo>
                  <a:cubicBezTo>
                    <a:pt x="48" y="5"/>
                    <a:pt x="50" y="7"/>
                    <a:pt x="52" y="8"/>
                  </a:cubicBezTo>
                  <a:cubicBezTo>
                    <a:pt x="55" y="10"/>
                    <a:pt x="57" y="12"/>
                    <a:pt x="60" y="13"/>
                  </a:cubicBezTo>
                  <a:cubicBezTo>
                    <a:pt x="63" y="15"/>
                    <a:pt x="65" y="17"/>
                    <a:pt x="68" y="19"/>
                  </a:cubicBezTo>
                  <a:cubicBezTo>
                    <a:pt x="68" y="21"/>
                    <a:pt x="70" y="24"/>
                    <a:pt x="68" y="26"/>
                  </a:cubicBezTo>
                  <a:cubicBezTo>
                    <a:pt x="66" y="28"/>
                    <a:pt x="61" y="26"/>
                    <a:pt x="59" y="28"/>
                  </a:cubicBezTo>
                  <a:cubicBezTo>
                    <a:pt x="57" y="30"/>
                    <a:pt x="57" y="33"/>
                    <a:pt x="56" y="36"/>
                  </a:cubicBezTo>
                  <a:cubicBezTo>
                    <a:pt x="56" y="38"/>
                    <a:pt x="59" y="40"/>
                    <a:pt x="57" y="41"/>
                  </a:cubicBezTo>
                  <a:cubicBezTo>
                    <a:pt x="55" y="43"/>
                    <a:pt x="51" y="40"/>
                    <a:pt x="48" y="41"/>
                  </a:cubicBezTo>
                  <a:cubicBezTo>
                    <a:pt x="47" y="42"/>
                    <a:pt x="47" y="45"/>
                    <a:pt x="45" y="46"/>
                  </a:cubicBezTo>
                  <a:cubicBezTo>
                    <a:pt x="44" y="47"/>
                    <a:pt x="41" y="46"/>
                    <a:pt x="40" y="46"/>
                  </a:cubicBezTo>
                  <a:cubicBezTo>
                    <a:pt x="38" y="46"/>
                    <a:pt x="37" y="48"/>
                    <a:pt x="35" y="48"/>
                  </a:cubicBezTo>
                  <a:cubicBezTo>
                    <a:pt x="33" y="48"/>
                    <a:pt x="32" y="47"/>
                    <a:pt x="30" y="47"/>
                  </a:cubicBezTo>
                  <a:cubicBezTo>
                    <a:pt x="28" y="46"/>
                    <a:pt x="27" y="44"/>
                    <a:pt x="25" y="43"/>
                  </a:cubicBezTo>
                  <a:cubicBezTo>
                    <a:pt x="24" y="42"/>
                    <a:pt x="22" y="41"/>
                    <a:pt x="20" y="39"/>
                  </a:cubicBezTo>
                  <a:cubicBezTo>
                    <a:pt x="21" y="38"/>
                    <a:pt x="22" y="37"/>
                    <a:pt x="22" y="35"/>
                  </a:cubicBezTo>
                  <a:cubicBezTo>
                    <a:pt x="22" y="34"/>
                    <a:pt x="23" y="32"/>
                    <a:pt x="22" y="31"/>
                  </a:cubicBezTo>
                  <a:cubicBezTo>
                    <a:pt x="21" y="30"/>
                    <a:pt x="19" y="29"/>
                    <a:pt x="17" y="28"/>
                  </a:cubicBezTo>
                  <a:cubicBezTo>
                    <a:pt x="16" y="28"/>
                    <a:pt x="16" y="29"/>
                    <a:pt x="15" y="29"/>
                  </a:cubicBezTo>
                  <a:cubicBezTo>
                    <a:pt x="13" y="29"/>
                    <a:pt x="12" y="29"/>
                    <a:pt x="11" y="29"/>
                  </a:cubicBezTo>
                  <a:cubicBezTo>
                    <a:pt x="9" y="28"/>
                    <a:pt x="8" y="27"/>
                    <a:pt x="6" y="2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2" name="Freeform 142"/>
            <p:cNvSpPr>
              <a:spLocks noChangeAspect="1"/>
            </p:cNvSpPr>
            <p:nvPr/>
          </p:nvSpPr>
          <p:spPr bwMode="auto">
            <a:xfrm>
              <a:off x="5002213" y="2444750"/>
              <a:ext cx="163512" cy="95250"/>
            </a:xfrm>
            <a:custGeom>
              <a:avLst/>
              <a:gdLst>
                <a:gd name="T0" fmla="*/ 138795 w 86"/>
                <a:gd name="T1" fmla="*/ 17145 h 50"/>
                <a:gd name="T2" fmla="*/ 133091 w 86"/>
                <a:gd name="T3" fmla="*/ 17145 h 50"/>
                <a:gd name="T4" fmla="*/ 125486 w 86"/>
                <a:gd name="T5" fmla="*/ 20955 h 50"/>
                <a:gd name="T6" fmla="*/ 112177 w 86"/>
                <a:gd name="T7" fmla="*/ 11430 h 50"/>
                <a:gd name="T8" fmla="*/ 95065 w 86"/>
                <a:gd name="T9" fmla="*/ 3810 h 50"/>
                <a:gd name="T10" fmla="*/ 87460 w 86"/>
                <a:gd name="T11" fmla="*/ 1905 h 50"/>
                <a:gd name="T12" fmla="*/ 74151 w 86"/>
                <a:gd name="T13" fmla="*/ 9525 h 50"/>
                <a:gd name="T14" fmla="*/ 77953 w 86"/>
                <a:gd name="T15" fmla="*/ 26670 h 50"/>
                <a:gd name="T16" fmla="*/ 70348 w 86"/>
                <a:gd name="T17" fmla="*/ 38100 h 50"/>
                <a:gd name="T18" fmla="*/ 55138 w 86"/>
                <a:gd name="T19" fmla="*/ 43815 h 50"/>
                <a:gd name="T20" fmla="*/ 45631 w 86"/>
                <a:gd name="T21" fmla="*/ 30480 h 50"/>
                <a:gd name="T22" fmla="*/ 36125 w 86"/>
                <a:gd name="T23" fmla="*/ 20955 h 50"/>
                <a:gd name="T24" fmla="*/ 34223 w 86"/>
                <a:gd name="T25" fmla="*/ 15240 h 50"/>
                <a:gd name="T26" fmla="*/ 17112 w 86"/>
                <a:gd name="T27" fmla="*/ 22860 h 50"/>
                <a:gd name="T28" fmla="*/ 11408 w 86"/>
                <a:gd name="T29" fmla="*/ 30480 h 50"/>
                <a:gd name="T30" fmla="*/ 1901 w 86"/>
                <a:gd name="T31" fmla="*/ 53340 h 50"/>
                <a:gd name="T32" fmla="*/ 1901 w 86"/>
                <a:gd name="T33" fmla="*/ 76200 h 50"/>
                <a:gd name="T34" fmla="*/ 9507 w 86"/>
                <a:gd name="T35" fmla="*/ 68580 h 50"/>
                <a:gd name="T36" fmla="*/ 24717 w 86"/>
                <a:gd name="T37" fmla="*/ 60960 h 50"/>
                <a:gd name="T38" fmla="*/ 47533 w 86"/>
                <a:gd name="T39" fmla="*/ 64770 h 50"/>
                <a:gd name="T40" fmla="*/ 70348 w 86"/>
                <a:gd name="T41" fmla="*/ 66675 h 50"/>
                <a:gd name="T42" fmla="*/ 77953 w 86"/>
                <a:gd name="T43" fmla="*/ 70485 h 50"/>
                <a:gd name="T44" fmla="*/ 89361 w 86"/>
                <a:gd name="T45" fmla="*/ 66675 h 50"/>
                <a:gd name="T46" fmla="*/ 100769 w 86"/>
                <a:gd name="T47" fmla="*/ 74295 h 50"/>
                <a:gd name="T48" fmla="*/ 115979 w 86"/>
                <a:gd name="T49" fmla="*/ 83820 h 50"/>
                <a:gd name="T50" fmla="*/ 131190 w 86"/>
                <a:gd name="T51" fmla="*/ 95250 h 50"/>
                <a:gd name="T52" fmla="*/ 138795 w 86"/>
                <a:gd name="T53" fmla="*/ 87630 h 50"/>
                <a:gd name="T54" fmla="*/ 150203 w 86"/>
                <a:gd name="T55" fmla="*/ 89535 h 50"/>
                <a:gd name="T56" fmla="*/ 155907 w 86"/>
                <a:gd name="T57" fmla="*/ 78105 h 50"/>
                <a:gd name="T58" fmla="*/ 161611 w 86"/>
                <a:gd name="T59" fmla="*/ 72390 h 50"/>
                <a:gd name="T60" fmla="*/ 163512 w 86"/>
                <a:gd name="T61" fmla="*/ 64770 h 50"/>
                <a:gd name="T62" fmla="*/ 152104 w 86"/>
                <a:gd name="T63" fmla="*/ 45720 h 50"/>
                <a:gd name="T64" fmla="*/ 152104 w 86"/>
                <a:gd name="T65" fmla="*/ 32385 h 50"/>
                <a:gd name="T66" fmla="*/ 146400 w 86"/>
                <a:gd name="T67" fmla="*/ 24765 h 50"/>
                <a:gd name="T68" fmla="*/ 138795 w 86"/>
                <a:gd name="T69" fmla="*/ 17145 h 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6"/>
                <a:gd name="T106" fmla="*/ 0 h 50"/>
                <a:gd name="T107" fmla="*/ 86 w 86"/>
                <a:gd name="T108" fmla="*/ 50 h 5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6" h="50">
                  <a:moveTo>
                    <a:pt x="73" y="9"/>
                  </a:moveTo>
                  <a:cubicBezTo>
                    <a:pt x="72" y="9"/>
                    <a:pt x="71" y="9"/>
                    <a:pt x="70" y="9"/>
                  </a:cubicBezTo>
                  <a:cubicBezTo>
                    <a:pt x="68" y="10"/>
                    <a:pt x="67" y="11"/>
                    <a:pt x="66" y="11"/>
                  </a:cubicBezTo>
                  <a:cubicBezTo>
                    <a:pt x="63" y="10"/>
                    <a:pt x="61" y="8"/>
                    <a:pt x="59" y="6"/>
                  </a:cubicBezTo>
                  <a:cubicBezTo>
                    <a:pt x="56" y="5"/>
                    <a:pt x="53" y="4"/>
                    <a:pt x="50" y="2"/>
                  </a:cubicBezTo>
                  <a:cubicBezTo>
                    <a:pt x="49" y="2"/>
                    <a:pt x="47" y="0"/>
                    <a:pt x="46" y="1"/>
                  </a:cubicBezTo>
                  <a:cubicBezTo>
                    <a:pt x="43" y="1"/>
                    <a:pt x="41" y="4"/>
                    <a:pt x="39" y="5"/>
                  </a:cubicBezTo>
                  <a:cubicBezTo>
                    <a:pt x="39" y="8"/>
                    <a:pt x="41" y="11"/>
                    <a:pt x="41" y="14"/>
                  </a:cubicBezTo>
                  <a:cubicBezTo>
                    <a:pt x="40" y="17"/>
                    <a:pt x="39" y="19"/>
                    <a:pt x="37" y="20"/>
                  </a:cubicBezTo>
                  <a:cubicBezTo>
                    <a:pt x="35" y="22"/>
                    <a:pt x="32" y="24"/>
                    <a:pt x="29" y="23"/>
                  </a:cubicBezTo>
                  <a:cubicBezTo>
                    <a:pt x="27" y="22"/>
                    <a:pt x="26" y="18"/>
                    <a:pt x="24" y="16"/>
                  </a:cubicBezTo>
                  <a:cubicBezTo>
                    <a:pt x="23" y="14"/>
                    <a:pt x="20" y="13"/>
                    <a:pt x="19" y="11"/>
                  </a:cubicBezTo>
                  <a:cubicBezTo>
                    <a:pt x="18" y="10"/>
                    <a:pt x="19" y="8"/>
                    <a:pt x="18" y="8"/>
                  </a:cubicBezTo>
                  <a:cubicBezTo>
                    <a:pt x="15" y="9"/>
                    <a:pt x="12" y="10"/>
                    <a:pt x="9" y="12"/>
                  </a:cubicBezTo>
                  <a:cubicBezTo>
                    <a:pt x="8" y="13"/>
                    <a:pt x="6" y="15"/>
                    <a:pt x="6" y="16"/>
                  </a:cubicBezTo>
                  <a:cubicBezTo>
                    <a:pt x="5" y="21"/>
                    <a:pt x="3" y="25"/>
                    <a:pt x="1" y="28"/>
                  </a:cubicBezTo>
                  <a:cubicBezTo>
                    <a:pt x="0" y="32"/>
                    <a:pt x="1" y="36"/>
                    <a:pt x="1" y="40"/>
                  </a:cubicBezTo>
                  <a:cubicBezTo>
                    <a:pt x="2" y="38"/>
                    <a:pt x="3" y="37"/>
                    <a:pt x="5" y="36"/>
                  </a:cubicBezTo>
                  <a:cubicBezTo>
                    <a:pt x="7" y="34"/>
                    <a:pt x="10" y="32"/>
                    <a:pt x="13" y="32"/>
                  </a:cubicBezTo>
                  <a:cubicBezTo>
                    <a:pt x="17" y="31"/>
                    <a:pt x="21" y="33"/>
                    <a:pt x="25" y="34"/>
                  </a:cubicBezTo>
                  <a:cubicBezTo>
                    <a:pt x="29" y="34"/>
                    <a:pt x="33" y="34"/>
                    <a:pt x="37" y="35"/>
                  </a:cubicBezTo>
                  <a:cubicBezTo>
                    <a:pt x="38" y="36"/>
                    <a:pt x="40" y="37"/>
                    <a:pt x="41" y="37"/>
                  </a:cubicBezTo>
                  <a:cubicBezTo>
                    <a:pt x="43" y="38"/>
                    <a:pt x="45" y="35"/>
                    <a:pt x="47" y="35"/>
                  </a:cubicBezTo>
                  <a:cubicBezTo>
                    <a:pt x="49" y="36"/>
                    <a:pt x="51" y="38"/>
                    <a:pt x="53" y="39"/>
                  </a:cubicBezTo>
                  <a:cubicBezTo>
                    <a:pt x="56" y="41"/>
                    <a:pt x="58" y="43"/>
                    <a:pt x="61" y="44"/>
                  </a:cubicBezTo>
                  <a:cubicBezTo>
                    <a:pt x="64" y="46"/>
                    <a:pt x="66" y="48"/>
                    <a:pt x="69" y="50"/>
                  </a:cubicBezTo>
                  <a:cubicBezTo>
                    <a:pt x="70" y="49"/>
                    <a:pt x="71" y="47"/>
                    <a:pt x="73" y="46"/>
                  </a:cubicBezTo>
                  <a:cubicBezTo>
                    <a:pt x="75" y="46"/>
                    <a:pt x="77" y="48"/>
                    <a:pt x="79" y="47"/>
                  </a:cubicBezTo>
                  <a:cubicBezTo>
                    <a:pt x="80" y="45"/>
                    <a:pt x="81" y="43"/>
                    <a:pt x="82" y="41"/>
                  </a:cubicBezTo>
                  <a:cubicBezTo>
                    <a:pt x="83" y="40"/>
                    <a:pt x="84" y="39"/>
                    <a:pt x="85" y="38"/>
                  </a:cubicBezTo>
                  <a:cubicBezTo>
                    <a:pt x="85" y="37"/>
                    <a:pt x="86" y="35"/>
                    <a:pt x="86" y="34"/>
                  </a:cubicBezTo>
                  <a:cubicBezTo>
                    <a:pt x="85" y="30"/>
                    <a:pt x="82" y="28"/>
                    <a:pt x="80" y="24"/>
                  </a:cubicBezTo>
                  <a:cubicBezTo>
                    <a:pt x="80" y="22"/>
                    <a:pt x="81" y="19"/>
                    <a:pt x="80" y="17"/>
                  </a:cubicBezTo>
                  <a:cubicBezTo>
                    <a:pt x="80" y="15"/>
                    <a:pt x="78" y="15"/>
                    <a:pt x="77" y="13"/>
                  </a:cubicBezTo>
                  <a:cubicBezTo>
                    <a:pt x="75" y="12"/>
                    <a:pt x="74" y="10"/>
                    <a:pt x="73" y="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3" name="Freeform 143"/>
            <p:cNvSpPr>
              <a:spLocks noChangeAspect="1"/>
            </p:cNvSpPr>
            <p:nvPr/>
          </p:nvSpPr>
          <p:spPr bwMode="auto">
            <a:xfrm>
              <a:off x="5053013" y="2395538"/>
              <a:ext cx="101600" cy="71437"/>
            </a:xfrm>
            <a:custGeom>
              <a:avLst/>
              <a:gdLst>
                <a:gd name="T0" fmla="*/ 88181 w 53"/>
                <a:gd name="T1" fmla="*/ 67576 h 37"/>
                <a:gd name="T2" fmla="*/ 82430 w 53"/>
                <a:gd name="T3" fmla="*/ 67576 h 37"/>
                <a:gd name="T4" fmla="*/ 74762 w 53"/>
                <a:gd name="T5" fmla="*/ 71437 h 37"/>
                <a:gd name="T6" fmla="*/ 61343 w 53"/>
                <a:gd name="T7" fmla="*/ 61783 h 37"/>
                <a:gd name="T8" fmla="*/ 44091 w 53"/>
                <a:gd name="T9" fmla="*/ 54060 h 37"/>
                <a:gd name="T10" fmla="*/ 36423 w 53"/>
                <a:gd name="T11" fmla="*/ 52130 h 37"/>
                <a:gd name="T12" fmla="*/ 23004 w 53"/>
                <a:gd name="T13" fmla="*/ 59853 h 37"/>
                <a:gd name="T14" fmla="*/ 26838 w 53"/>
                <a:gd name="T15" fmla="*/ 42476 h 37"/>
                <a:gd name="T16" fmla="*/ 19170 w 53"/>
                <a:gd name="T17" fmla="*/ 42476 h 37"/>
                <a:gd name="T18" fmla="*/ 13419 w 53"/>
                <a:gd name="T19" fmla="*/ 46338 h 37"/>
                <a:gd name="T20" fmla="*/ 3834 w 53"/>
                <a:gd name="T21" fmla="*/ 36684 h 37"/>
                <a:gd name="T22" fmla="*/ 3834 w 53"/>
                <a:gd name="T23" fmla="*/ 28961 h 37"/>
                <a:gd name="T24" fmla="*/ 0 w 53"/>
                <a:gd name="T25" fmla="*/ 21238 h 37"/>
                <a:gd name="T26" fmla="*/ 3834 w 53"/>
                <a:gd name="T27" fmla="*/ 11584 h 37"/>
                <a:gd name="T28" fmla="*/ 19170 w 53"/>
                <a:gd name="T29" fmla="*/ 5792 h 37"/>
                <a:gd name="T30" fmla="*/ 46008 w 53"/>
                <a:gd name="T31" fmla="*/ 0 h 37"/>
                <a:gd name="T32" fmla="*/ 69011 w 53"/>
                <a:gd name="T33" fmla="*/ 0 h 37"/>
                <a:gd name="T34" fmla="*/ 78596 w 53"/>
                <a:gd name="T35" fmla="*/ 5792 h 37"/>
                <a:gd name="T36" fmla="*/ 101600 w 53"/>
                <a:gd name="T37" fmla="*/ 5792 h 37"/>
                <a:gd name="T38" fmla="*/ 99683 w 53"/>
                <a:gd name="T39" fmla="*/ 15446 h 37"/>
                <a:gd name="T40" fmla="*/ 97766 w 53"/>
                <a:gd name="T41" fmla="*/ 21238 h 37"/>
                <a:gd name="T42" fmla="*/ 86264 w 53"/>
                <a:gd name="T43" fmla="*/ 23169 h 37"/>
                <a:gd name="T44" fmla="*/ 76679 w 53"/>
                <a:gd name="T45" fmla="*/ 27030 h 37"/>
                <a:gd name="T46" fmla="*/ 84347 w 53"/>
                <a:gd name="T47" fmla="*/ 42476 h 37"/>
                <a:gd name="T48" fmla="*/ 92015 w 53"/>
                <a:gd name="T49" fmla="*/ 59853 h 37"/>
                <a:gd name="T50" fmla="*/ 90098 w 53"/>
                <a:gd name="T51" fmla="*/ 63714 h 37"/>
                <a:gd name="T52" fmla="*/ 88181 w 53"/>
                <a:gd name="T53" fmla="*/ 67576 h 3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53"/>
                <a:gd name="T82" fmla="*/ 0 h 37"/>
                <a:gd name="T83" fmla="*/ 53 w 53"/>
                <a:gd name="T84" fmla="*/ 37 h 3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53" h="37">
                  <a:moveTo>
                    <a:pt x="46" y="35"/>
                  </a:moveTo>
                  <a:cubicBezTo>
                    <a:pt x="45" y="35"/>
                    <a:pt x="44" y="35"/>
                    <a:pt x="43" y="35"/>
                  </a:cubicBezTo>
                  <a:cubicBezTo>
                    <a:pt x="41" y="36"/>
                    <a:pt x="40" y="37"/>
                    <a:pt x="39" y="37"/>
                  </a:cubicBezTo>
                  <a:cubicBezTo>
                    <a:pt x="36" y="36"/>
                    <a:pt x="34" y="34"/>
                    <a:pt x="32" y="32"/>
                  </a:cubicBezTo>
                  <a:cubicBezTo>
                    <a:pt x="29" y="31"/>
                    <a:pt x="26" y="30"/>
                    <a:pt x="23" y="28"/>
                  </a:cubicBezTo>
                  <a:cubicBezTo>
                    <a:pt x="22" y="28"/>
                    <a:pt x="20" y="26"/>
                    <a:pt x="19" y="27"/>
                  </a:cubicBezTo>
                  <a:cubicBezTo>
                    <a:pt x="16" y="27"/>
                    <a:pt x="14" y="30"/>
                    <a:pt x="12" y="31"/>
                  </a:cubicBezTo>
                  <a:cubicBezTo>
                    <a:pt x="12" y="28"/>
                    <a:pt x="14" y="25"/>
                    <a:pt x="14" y="22"/>
                  </a:cubicBezTo>
                  <a:cubicBezTo>
                    <a:pt x="13" y="21"/>
                    <a:pt x="11" y="22"/>
                    <a:pt x="10" y="22"/>
                  </a:cubicBezTo>
                  <a:cubicBezTo>
                    <a:pt x="9" y="23"/>
                    <a:pt x="8" y="24"/>
                    <a:pt x="7" y="24"/>
                  </a:cubicBezTo>
                  <a:cubicBezTo>
                    <a:pt x="4" y="23"/>
                    <a:pt x="3" y="21"/>
                    <a:pt x="2" y="19"/>
                  </a:cubicBezTo>
                  <a:cubicBezTo>
                    <a:pt x="1" y="18"/>
                    <a:pt x="2" y="16"/>
                    <a:pt x="2" y="15"/>
                  </a:cubicBezTo>
                  <a:cubicBezTo>
                    <a:pt x="2" y="14"/>
                    <a:pt x="0" y="12"/>
                    <a:pt x="0" y="11"/>
                  </a:cubicBezTo>
                  <a:cubicBezTo>
                    <a:pt x="0" y="9"/>
                    <a:pt x="1" y="7"/>
                    <a:pt x="2" y="6"/>
                  </a:cubicBezTo>
                  <a:cubicBezTo>
                    <a:pt x="4" y="4"/>
                    <a:pt x="7" y="3"/>
                    <a:pt x="10" y="3"/>
                  </a:cubicBezTo>
                  <a:cubicBezTo>
                    <a:pt x="14" y="1"/>
                    <a:pt x="19" y="0"/>
                    <a:pt x="24" y="0"/>
                  </a:cubicBezTo>
                  <a:cubicBezTo>
                    <a:pt x="28" y="0"/>
                    <a:pt x="32" y="0"/>
                    <a:pt x="36" y="0"/>
                  </a:cubicBezTo>
                  <a:cubicBezTo>
                    <a:pt x="38" y="1"/>
                    <a:pt x="39" y="3"/>
                    <a:pt x="41" y="3"/>
                  </a:cubicBezTo>
                  <a:cubicBezTo>
                    <a:pt x="45" y="4"/>
                    <a:pt x="49" y="3"/>
                    <a:pt x="53" y="3"/>
                  </a:cubicBezTo>
                  <a:cubicBezTo>
                    <a:pt x="53" y="4"/>
                    <a:pt x="52" y="6"/>
                    <a:pt x="52" y="8"/>
                  </a:cubicBezTo>
                  <a:cubicBezTo>
                    <a:pt x="51" y="9"/>
                    <a:pt x="51" y="10"/>
                    <a:pt x="51" y="11"/>
                  </a:cubicBezTo>
                  <a:cubicBezTo>
                    <a:pt x="49" y="11"/>
                    <a:pt x="47" y="11"/>
                    <a:pt x="45" y="12"/>
                  </a:cubicBezTo>
                  <a:cubicBezTo>
                    <a:pt x="43" y="12"/>
                    <a:pt x="40" y="13"/>
                    <a:pt x="40" y="14"/>
                  </a:cubicBezTo>
                  <a:cubicBezTo>
                    <a:pt x="40" y="17"/>
                    <a:pt x="43" y="20"/>
                    <a:pt x="44" y="22"/>
                  </a:cubicBezTo>
                  <a:cubicBezTo>
                    <a:pt x="45" y="25"/>
                    <a:pt x="47" y="28"/>
                    <a:pt x="48" y="31"/>
                  </a:cubicBezTo>
                  <a:cubicBezTo>
                    <a:pt x="48" y="31"/>
                    <a:pt x="48" y="32"/>
                    <a:pt x="47" y="33"/>
                  </a:cubicBezTo>
                  <a:cubicBezTo>
                    <a:pt x="47" y="34"/>
                    <a:pt x="46" y="34"/>
                    <a:pt x="46" y="3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4" name="Freeform 144"/>
            <p:cNvSpPr>
              <a:spLocks noChangeAspect="1"/>
            </p:cNvSpPr>
            <p:nvPr/>
          </p:nvSpPr>
          <p:spPr bwMode="auto">
            <a:xfrm>
              <a:off x="4976813" y="1985963"/>
              <a:ext cx="242887" cy="401637"/>
            </a:xfrm>
            <a:custGeom>
              <a:avLst/>
              <a:gdLst>
                <a:gd name="T0" fmla="*/ 91800 w 127"/>
                <a:gd name="T1" fmla="*/ 180832 h 211"/>
                <a:gd name="T2" fmla="*/ 105187 w 127"/>
                <a:gd name="T3" fmla="*/ 207481 h 211"/>
                <a:gd name="T4" fmla="*/ 74587 w 127"/>
                <a:gd name="T5" fmla="*/ 232226 h 211"/>
                <a:gd name="T6" fmla="*/ 42075 w 127"/>
                <a:gd name="T7" fmla="*/ 268393 h 211"/>
                <a:gd name="T8" fmla="*/ 19125 w 127"/>
                <a:gd name="T9" fmla="*/ 285524 h 211"/>
                <a:gd name="T10" fmla="*/ 24862 w 127"/>
                <a:gd name="T11" fmla="*/ 352146 h 211"/>
                <a:gd name="T12" fmla="*/ 49725 w 127"/>
                <a:gd name="T13" fmla="*/ 376892 h 211"/>
                <a:gd name="T14" fmla="*/ 65025 w 127"/>
                <a:gd name="T15" fmla="*/ 397830 h 211"/>
                <a:gd name="T16" fmla="*/ 112837 w 127"/>
                <a:gd name="T17" fmla="*/ 388313 h 211"/>
                <a:gd name="T18" fmla="*/ 156825 w 127"/>
                <a:gd name="T19" fmla="*/ 376892 h 211"/>
                <a:gd name="T20" fmla="*/ 179775 w 127"/>
                <a:gd name="T21" fmla="*/ 361664 h 211"/>
                <a:gd name="T22" fmla="*/ 214200 w 127"/>
                <a:gd name="T23" fmla="*/ 327401 h 211"/>
                <a:gd name="T24" fmla="*/ 242887 w 127"/>
                <a:gd name="T25" fmla="*/ 283620 h 211"/>
                <a:gd name="T26" fmla="*/ 212287 w 127"/>
                <a:gd name="T27" fmla="*/ 251261 h 211"/>
                <a:gd name="T28" fmla="*/ 216112 w 127"/>
                <a:gd name="T29" fmla="*/ 230323 h 211"/>
                <a:gd name="T30" fmla="*/ 208462 w 127"/>
                <a:gd name="T31" fmla="*/ 213191 h 211"/>
                <a:gd name="T32" fmla="*/ 200812 w 127"/>
                <a:gd name="T33" fmla="*/ 199867 h 211"/>
                <a:gd name="T34" fmla="*/ 196987 w 127"/>
                <a:gd name="T35" fmla="*/ 188446 h 211"/>
                <a:gd name="T36" fmla="*/ 208462 w 127"/>
                <a:gd name="T37" fmla="*/ 167507 h 211"/>
                <a:gd name="T38" fmla="*/ 198900 w 127"/>
                <a:gd name="T39" fmla="*/ 100885 h 211"/>
                <a:gd name="T40" fmla="*/ 168300 w 127"/>
                <a:gd name="T41" fmla="*/ 79947 h 211"/>
                <a:gd name="T42" fmla="*/ 168300 w 127"/>
                <a:gd name="T43" fmla="*/ 53298 h 211"/>
                <a:gd name="T44" fmla="*/ 170212 w 127"/>
                <a:gd name="T45" fmla="*/ 43780 h 211"/>
                <a:gd name="T46" fmla="*/ 160650 w 127"/>
                <a:gd name="T47" fmla="*/ 13324 h 211"/>
                <a:gd name="T48" fmla="*/ 116662 w 127"/>
                <a:gd name="T49" fmla="*/ 5710 h 211"/>
                <a:gd name="T50" fmla="*/ 105187 w 127"/>
                <a:gd name="T51" fmla="*/ 47587 h 211"/>
                <a:gd name="T52" fmla="*/ 91800 w 127"/>
                <a:gd name="T53" fmla="*/ 62815 h 211"/>
                <a:gd name="T54" fmla="*/ 51637 w 127"/>
                <a:gd name="T55" fmla="*/ 60912 h 211"/>
                <a:gd name="T56" fmla="*/ 7650 w 127"/>
                <a:gd name="T57" fmla="*/ 26649 h 211"/>
                <a:gd name="T58" fmla="*/ 0 w 127"/>
                <a:gd name="T59" fmla="*/ 43780 h 211"/>
                <a:gd name="T60" fmla="*/ 42075 w 127"/>
                <a:gd name="T61" fmla="*/ 68526 h 211"/>
                <a:gd name="T62" fmla="*/ 59287 w 127"/>
                <a:gd name="T63" fmla="*/ 102789 h 211"/>
                <a:gd name="T64" fmla="*/ 65025 w 127"/>
                <a:gd name="T65" fmla="*/ 114210 h 211"/>
                <a:gd name="T66" fmla="*/ 66937 w 127"/>
                <a:gd name="T67" fmla="*/ 150376 h 21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7"/>
                <a:gd name="T103" fmla="*/ 0 h 211"/>
                <a:gd name="T104" fmla="*/ 127 w 127"/>
                <a:gd name="T105" fmla="*/ 211 h 21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7" h="211">
                  <a:moveTo>
                    <a:pt x="40" y="91"/>
                  </a:moveTo>
                  <a:cubicBezTo>
                    <a:pt x="43" y="92"/>
                    <a:pt x="45" y="93"/>
                    <a:pt x="48" y="95"/>
                  </a:cubicBezTo>
                  <a:cubicBezTo>
                    <a:pt x="51" y="96"/>
                    <a:pt x="54" y="97"/>
                    <a:pt x="56" y="100"/>
                  </a:cubicBezTo>
                  <a:cubicBezTo>
                    <a:pt x="57" y="102"/>
                    <a:pt x="57" y="106"/>
                    <a:pt x="55" y="109"/>
                  </a:cubicBezTo>
                  <a:cubicBezTo>
                    <a:pt x="53" y="111"/>
                    <a:pt x="49" y="110"/>
                    <a:pt x="47" y="112"/>
                  </a:cubicBezTo>
                  <a:cubicBezTo>
                    <a:pt x="43" y="114"/>
                    <a:pt x="42" y="119"/>
                    <a:pt x="39" y="122"/>
                  </a:cubicBezTo>
                  <a:cubicBezTo>
                    <a:pt x="36" y="126"/>
                    <a:pt x="32" y="129"/>
                    <a:pt x="29" y="132"/>
                  </a:cubicBezTo>
                  <a:cubicBezTo>
                    <a:pt x="26" y="135"/>
                    <a:pt x="25" y="139"/>
                    <a:pt x="22" y="141"/>
                  </a:cubicBezTo>
                  <a:cubicBezTo>
                    <a:pt x="20" y="142"/>
                    <a:pt x="17" y="142"/>
                    <a:pt x="15" y="144"/>
                  </a:cubicBezTo>
                  <a:cubicBezTo>
                    <a:pt x="13" y="145"/>
                    <a:pt x="10" y="148"/>
                    <a:pt x="10" y="150"/>
                  </a:cubicBezTo>
                  <a:cubicBezTo>
                    <a:pt x="9" y="157"/>
                    <a:pt x="10" y="164"/>
                    <a:pt x="11" y="171"/>
                  </a:cubicBezTo>
                  <a:cubicBezTo>
                    <a:pt x="11" y="175"/>
                    <a:pt x="13" y="180"/>
                    <a:pt x="13" y="185"/>
                  </a:cubicBezTo>
                  <a:cubicBezTo>
                    <a:pt x="13" y="188"/>
                    <a:pt x="11" y="193"/>
                    <a:pt x="13" y="195"/>
                  </a:cubicBezTo>
                  <a:cubicBezTo>
                    <a:pt x="16" y="198"/>
                    <a:pt x="22" y="197"/>
                    <a:pt x="26" y="198"/>
                  </a:cubicBezTo>
                  <a:cubicBezTo>
                    <a:pt x="29" y="199"/>
                    <a:pt x="32" y="199"/>
                    <a:pt x="33" y="201"/>
                  </a:cubicBezTo>
                  <a:cubicBezTo>
                    <a:pt x="35" y="203"/>
                    <a:pt x="32" y="209"/>
                    <a:pt x="34" y="209"/>
                  </a:cubicBezTo>
                  <a:cubicBezTo>
                    <a:pt x="38" y="211"/>
                    <a:pt x="42" y="207"/>
                    <a:pt x="46" y="206"/>
                  </a:cubicBezTo>
                  <a:cubicBezTo>
                    <a:pt x="50" y="205"/>
                    <a:pt x="55" y="205"/>
                    <a:pt x="59" y="204"/>
                  </a:cubicBezTo>
                  <a:cubicBezTo>
                    <a:pt x="62" y="203"/>
                    <a:pt x="64" y="199"/>
                    <a:pt x="67" y="198"/>
                  </a:cubicBezTo>
                  <a:cubicBezTo>
                    <a:pt x="72" y="197"/>
                    <a:pt x="77" y="198"/>
                    <a:pt x="82" y="198"/>
                  </a:cubicBezTo>
                  <a:cubicBezTo>
                    <a:pt x="85" y="198"/>
                    <a:pt x="87" y="198"/>
                    <a:pt x="90" y="198"/>
                  </a:cubicBezTo>
                  <a:cubicBezTo>
                    <a:pt x="92" y="195"/>
                    <a:pt x="92" y="192"/>
                    <a:pt x="94" y="190"/>
                  </a:cubicBezTo>
                  <a:cubicBezTo>
                    <a:pt x="97" y="187"/>
                    <a:pt x="102" y="186"/>
                    <a:pt x="105" y="183"/>
                  </a:cubicBezTo>
                  <a:cubicBezTo>
                    <a:pt x="108" y="180"/>
                    <a:pt x="110" y="176"/>
                    <a:pt x="112" y="172"/>
                  </a:cubicBezTo>
                  <a:cubicBezTo>
                    <a:pt x="115" y="167"/>
                    <a:pt x="117" y="162"/>
                    <a:pt x="120" y="158"/>
                  </a:cubicBezTo>
                  <a:cubicBezTo>
                    <a:pt x="122" y="155"/>
                    <a:pt x="127" y="153"/>
                    <a:pt x="127" y="149"/>
                  </a:cubicBezTo>
                  <a:cubicBezTo>
                    <a:pt x="127" y="145"/>
                    <a:pt x="122" y="143"/>
                    <a:pt x="120" y="140"/>
                  </a:cubicBezTo>
                  <a:cubicBezTo>
                    <a:pt x="117" y="137"/>
                    <a:pt x="113" y="135"/>
                    <a:pt x="111" y="132"/>
                  </a:cubicBezTo>
                  <a:cubicBezTo>
                    <a:pt x="110" y="130"/>
                    <a:pt x="114" y="128"/>
                    <a:pt x="115" y="126"/>
                  </a:cubicBezTo>
                  <a:cubicBezTo>
                    <a:pt x="115" y="124"/>
                    <a:pt x="114" y="122"/>
                    <a:pt x="113" y="121"/>
                  </a:cubicBezTo>
                  <a:cubicBezTo>
                    <a:pt x="112" y="120"/>
                    <a:pt x="110" y="120"/>
                    <a:pt x="109" y="118"/>
                  </a:cubicBezTo>
                  <a:cubicBezTo>
                    <a:pt x="108" y="116"/>
                    <a:pt x="110" y="114"/>
                    <a:pt x="109" y="112"/>
                  </a:cubicBezTo>
                  <a:cubicBezTo>
                    <a:pt x="108" y="111"/>
                    <a:pt x="106" y="113"/>
                    <a:pt x="105" y="112"/>
                  </a:cubicBezTo>
                  <a:cubicBezTo>
                    <a:pt x="104" y="110"/>
                    <a:pt x="104" y="107"/>
                    <a:pt x="105" y="105"/>
                  </a:cubicBezTo>
                  <a:cubicBezTo>
                    <a:pt x="105" y="103"/>
                    <a:pt x="108" y="102"/>
                    <a:pt x="107" y="101"/>
                  </a:cubicBezTo>
                  <a:cubicBezTo>
                    <a:pt x="107" y="99"/>
                    <a:pt x="103" y="101"/>
                    <a:pt x="103" y="99"/>
                  </a:cubicBezTo>
                  <a:cubicBezTo>
                    <a:pt x="103" y="96"/>
                    <a:pt x="105" y="94"/>
                    <a:pt x="106" y="92"/>
                  </a:cubicBezTo>
                  <a:lnTo>
                    <a:pt x="109" y="88"/>
                  </a:lnTo>
                  <a:lnTo>
                    <a:pt x="94" y="65"/>
                  </a:lnTo>
                  <a:lnTo>
                    <a:pt x="104" y="53"/>
                  </a:lnTo>
                  <a:cubicBezTo>
                    <a:pt x="100" y="49"/>
                    <a:pt x="97" y="46"/>
                    <a:pt x="96" y="44"/>
                  </a:cubicBezTo>
                  <a:cubicBezTo>
                    <a:pt x="95" y="42"/>
                    <a:pt x="90" y="44"/>
                    <a:pt x="88" y="42"/>
                  </a:cubicBezTo>
                  <a:cubicBezTo>
                    <a:pt x="86" y="40"/>
                    <a:pt x="86" y="37"/>
                    <a:pt x="86" y="35"/>
                  </a:cubicBezTo>
                  <a:cubicBezTo>
                    <a:pt x="86" y="32"/>
                    <a:pt x="88" y="31"/>
                    <a:pt x="88" y="28"/>
                  </a:cubicBezTo>
                  <a:cubicBezTo>
                    <a:pt x="88" y="27"/>
                    <a:pt x="85" y="28"/>
                    <a:pt x="85" y="27"/>
                  </a:cubicBezTo>
                  <a:cubicBezTo>
                    <a:pt x="85" y="25"/>
                    <a:pt x="88" y="24"/>
                    <a:pt x="89" y="23"/>
                  </a:cubicBezTo>
                  <a:cubicBezTo>
                    <a:pt x="90" y="19"/>
                    <a:pt x="93" y="16"/>
                    <a:pt x="92" y="12"/>
                  </a:cubicBezTo>
                  <a:cubicBezTo>
                    <a:pt x="92" y="9"/>
                    <a:pt x="87" y="9"/>
                    <a:pt x="84" y="7"/>
                  </a:cubicBezTo>
                  <a:cubicBezTo>
                    <a:pt x="80" y="6"/>
                    <a:pt x="76" y="0"/>
                    <a:pt x="72" y="2"/>
                  </a:cubicBezTo>
                  <a:cubicBezTo>
                    <a:pt x="69" y="5"/>
                    <a:pt x="64" y="4"/>
                    <a:pt x="61" y="3"/>
                  </a:cubicBezTo>
                  <a:cubicBezTo>
                    <a:pt x="59" y="5"/>
                    <a:pt x="56" y="10"/>
                    <a:pt x="55" y="15"/>
                  </a:cubicBezTo>
                  <a:cubicBezTo>
                    <a:pt x="54" y="18"/>
                    <a:pt x="56" y="22"/>
                    <a:pt x="55" y="25"/>
                  </a:cubicBezTo>
                  <a:cubicBezTo>
                    <a:pt x="54" y="27"/>
                    <a:pt x="50" y="25"/>
                    <a:pt x="49" y="27"/>
                  </a:cubicBezTo>
                  <a:cubicBezTo>
                    <a:pt x="47" y="29"/>
                    <a:pt x="50" y="33"/>
                    <a:pt x="48" y="33"/>
                  </a:cubicBezTo>
                  <a:cubicBezTo>
                    <a:pt x="43" y="33"/>
                    <a:pt x="39" y="28"/>
                    <a:pt x="35" y="28"/>
                  </a:cubicBezTo>
                  <a:cubicBezTo>
                    <a:pt x="32" y="28"/>
                    <a:pt x="29" y="33"/>
                    <a:pt x="27" y="32"/>
                  </a:cubicBezTo>
                  <a:cubicBezTo>
                    <a:pt x="23" y="30"/>
                    <a:pt x="19" y="31"/>
                    <a:pt x="17" y="30"/>
                  </a:cubicBezTo>
                  <a:cubicBezTo>
                    <a:pt x="13" y="25"/>
                    <a:pt x="12" y="16"/>
                    <a:pt x="4" y="14"/>
                  </a:cubicBezTo>
                  <a:cubicBezTo>
                    <a:pt x="2" y="14"/>
                    <a:pt x="5" y="19"/>
                    <a:pt x="4" y="21"/>
                  </a:cubicBezTo>
                  <a:cubicBezTo>
                    <a:pt x="3" y="22"/>
                    <a:pt x="1" y="22"/>
                    <a:pt x="0" y="23"/>
                  </a:cubicBezTo>
                  <a:cubicBezTo>
                    <a:pt x="3" y="26"/>
                    <a:pt x="6" y="31"/>
                    <a:pt x="10" y="33"/>
                  </a:cubicBezTo>
                  <a:cubicBezTo>
                    <a:pt x="14" y="35"/>
                    <a:pt x="19" y="34"/>
                    <a:pt x="22" y="36"/>
                  </a:cubicBezTo>
                  <a:cubicBezTo>
                    <a:pt x="26" y="38"/>
                    <a:pt x="29" y="41"/>
                    <a:pt x="31" y="45"/>
                  </a:cubicBezTo>
                  <a:cubicBezTo>
                    <a:pt x="33" y="48"/>
                    <a:pt x="31" y="51"/>
                    <a:pt x="31" y="54"/>
                  </a:cubicBezTo>
                  <a:cubicBezTo>
                    <a:pt x="32" y="55"/>
                    <a:pt x="34" y="56"/>
                    <a:pt x="34" y="58"/>
                  </a:cubicBezTo>
                  <a:cubicBezTo>
                    <a:pt x="35" y="59"/>
                    <a:pt x="34" y="59"/>
                    <a:pt x="34" y="60"/>
                  </a:cubicBezTo>
                  <a:cubicBezTo>
                    <a:pt x="34" y="63"/>
                    <a:pt x="37" y="66"/>
                    <a:pt x="37" y="69"/>
                  </a:cubicBezTo>
                  <a:cubicBezTo>
                    <a:pt x="37" y="73"/>
                    <a:pt x="34" y="76"/>
                    <a:pt x="35" y="79"/>
                  </a:cubicBezTo>
                  <a:cubicBezTo>
                    <a:pt x="35" y="83"/>
                    <a:pt x="38" y="87"/>
                    <a:pt x="40" y="9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5" name="Freeform 145"/>
            <p:cNvSpPr>
              <a:spLocks noChangeAspect="1"/>
            </p:cNvSpPr>
            <p:nvPr/>
          </p:nvSpPr>
          <p:spPr bwMode="auto">
            <a:xfrm>
              <a:off x="4781550" y="2025650"/>
              <a:ext cx="271463" cy="522288"/>
            </a:xfrm>
            <a:custGeom>
              <a:avLst/>
              <a:gdLst>
                <a:gd name="T0" fmla="*/ 9492 w 143"/>
                <a:gd name="T1" fmla="*/ 371701 h 274"/>
                <a:gd name="T2" fmla="*/ 26577 w 143"/>
                <a:gd name="T3" fmla="*/ 345015 h 274"/>
                <a:gd name="T4" fmla="*/ 30373 w 143"/>
                <a:gd name="T5" fmla="*/ 308798 h 274"/>
                <a:gd name="T6" fmla="*/ 17085 w 143"/>
                <a:gd name="T7" fmla="*/ 280206 h 274"/>
                <a:gd name="T8" fmla="*/ 30373 w 143"/>
                <a:gd name="T9" fmla="*/ 198241 h 274"/>
                <a:gd name="T10" fmla="*/ 53154 w 143"/>
                <a:gd name="T11" fmla="*/ 182991 h 274"/>
                <a:gd name="T12" fmla="*/ 66442 w 143"/>
                <a:gd name="T13" fmla="*/ 118182 h 274"/>
                <a:gd name="T14" fmla="*/ 98714 w 143"/>
                <a:gd name="T15" fmla="*/ 85777 h 274"/>
                <a:gd name="T16" fmla="*/ 125291 w 143"/>
                <a:gd name="T17" fmla="*/ 41936 h 274"/>
                <a:gd name="T18" fmla="*/ 140477 w 143"/>
                <a:gd name="T19" fmla="*/ 20968 h 274"/>
                <a:gd name="T20" fmla="*/ 180343 w 143"/>
                <a:gd name="T21" fmla="*/ 28592 h 274"/>
                <a:gd name="T22" fmla="*/ 195529 w 143"/>
                <a:gd name="T23" fmla="*/ 3812 h 274"/>
                <a:gd name="T24" fmla="*/ 237293 w 143"/>
                <a:gd name="T25" fmla="*/ 28592 h 274"/>
                <a:gd name="T26" fmla="*/ 254378 w 143"/>
                <a:gd name="T27" fmla="*/ 62903 h 274"/>
                <a:gd name="T28" fmla="*/ 260073 w 143"/>
                <a:gd name="T29" fmla="*/ 74340 h 274"/>
                <a:gd name="T30" fmla="*/ 261971 w 143"/>
                <a:gd name="T31" fmla="*/ 110557 h 274"/>
                <a:gd name="T32" fmla="*/ 254378 w 143"/>
                <a:gd name="T33" fmla="*/ 133431 h 274"/>
                <a:gd name="T34" fmla="*/ 235394 w 143"/>
                <a:gd name="T35" fmla="*/ 144868 h 274"/>
                <a:gd name="T36" fmla="*/ 220208 w 143"/>
                <a:gd name="T37" fmla="*/ 156305 h 274"/>
                <a:gd name="T38" fmla="*/ 222106 w 143"/>
                <a:gd name="T39" fmla="*/ 184898 h 274"/>
                <a:gd name="T40" fmla="*/ 195529 w 143"/>
                <a:gd name="T41" fmla="*/ 213490 h 274"/>
                <a:gd name="T42" fmla="*/ 161359 w 143"/>
                <a:gd name="T43" fmla="*/ 232552 h 274"/>
                <a:gd name="T44" fmla="*/ 146172 w 143"/>
                <a:gd name="T45" fmla="*/ 255426 h 274"/>
                <a:gd name="T46" fmla="*/ 138579 w 143"/>
                <a:gd name="T47" fmla="*/ 266862 h 274"/>
                <a:gd name="T48" fmla="*/ 129087 w 143"/>
                <a:gd name="T49" fmla="*/ 291643 h 274"/>
                <a:gd name="T50" fmla="*/ 142376 w 143"/>
                <a:gd name="T51" fmla="*/ 339297 h 274"/>
                <a:gd name="T52" fmla="*/ 176546 w 143"/>
                <a:gd name="T53" fmla="*/ 360264 h 274"/>
                <a:gd name="T54" fmla="*/ 148071 w 143"/>
                <a:gd name="T55" fmla="*/ 371701 h 274"/>
                <a:gd name="T56" fmla="*/ 163257 w 143"/>
                <a:gd name="T57" fmla="*/ 377420 h 274"/>
                <a:gd name="T58" fmla="*/ 146172 w 143"/>
                <a:gd name="T59" fmla="*/ 388857 h 274"/>
                <a:gd name="T60" fmla="*/ 127189 w 143"/>
                <a:gd name="T61" fmla="*/ 407918 h 274"/>
                <a:gd name="T62" fmla="*/ 119596 w 143"/>
                <a:gd name="T63" fmla="*/ 472728 h 274"/>
                <a:gd name="T64" fmla="*/ 87324 w 143"/>
                <a:gd name="T65" fmla="*/ 491789 h 274"/>
                <a:gd name="T66" fmla="*/ 81629 w 143"/>
                <a:gd name="T67" fmla="*/ 516570 h 274"/>
                <a:gd name="T68" fmla="*/ 45560 w 143"/>
                <a:gd name="T69" fmla="*/ 520382 h 274"/>
                <a:gd name="T70" fmla="*/ 49357 w 143"/>
                <a:gd name="T71" fmla="*/ 507039 h 274"/>
                <a:gd name="T72" fmla="*/ 45560 w 143"/>
                <a:gd name="T73" fmla="*/ 489883 h 274"/>
                <a:gd name="T74" fmla="*/ 45560 w 143"/>
                <a:gd name="T75" fmla="*/ 480352 h 274"/>
                <a:gd name="T76" fmla="*/ 18983 w 143"/>
                <a:gd name="T77" fmla="*/ 451760 h 274"/>
                <a:gd name="T78" fmla="*/ 15187 w 143"/>
                <a:gd name="T79" fmla="*/ 415543 h 274"/>
                <a:gd name="T80" fmla="*/ 7593 w 143"/>
                <a:gd name="T81" fmla="*/ 394575 h 274"/>
                <a:gd name="T82" fmla="*/ 9492 w 143"/>
                <a:gd name="T83" fmla="*/ 386951 h 2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3"/>
                <a:gd name="T127" fmla="*/ 0 h 274"/>
                <a:gd name="T128" fmla="*/ 143 w 143"/>
                <a:gd name="T129" fmla="*/ 274 h 2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3" h="274">
                  <a:moveTo>
                    <a:pt x="5" y="203"/>
                  </a:moveTo>
                  <a:cubicBezTo>
                    <a:pt x="5" y="200"/>
                    <a:pt x="5" y="197"/>
                    <a:pt x="5" y="195"/>
                  </a:cubicBezTo>
                  <a:cubicBezTo>
                    <a:pt x="6" y="192"/>
                    <a:pt x="7" y="189"/>
                    <a:pt x="9" y="186"/>
                  </a:cubicBezTo>
                  <a:cubicBezTo>
                    <a:pt x="10" y="184"/>
                    <a:pt x="14" y="184"/>
                    <a:pt x="14" y="181"/>
                  </a:cubicBezTo>
                  <a:cubicBezTo>
                    <a:pt x="15" y="176"/>
                    <a:pt x="12" y="170"/>
                    <a:pt x="13" y="164"/>
                  </a:cubicBezTo>
                  <a:cubicBezTo>
                    <a:pt x="13" y="163"/>
                    <a:pt x="16" y="163"/>
                    <a:pt x="16" y="162"/>
                  </a:cubicBezTo>
                  <a:cubicBezTo>
                    <a:pt x="17" y="161"/>
                    <a:pt x="18" y="159"/>
                    <a:pt x="17" y="158"/>
                  </a:cubicBezTo>
                  <a:cubicBezTo>
                    <a:pt x="15" y="154"/>
                    <a:pt x="9" y="151"/>
                    <a:pt x="9" y="147"/>
                  </a:cubicBezTo>
                  <a:cubicBezTo>
                    <a:pt x="9" y="136"/>
                    <a:pt x="9" y="125"/>
                    <a:pt x="10" y="113"/>
                  </a:cubicBezTo>
                  <a:cubicBezTo>
                    <a:pt x="10" y="110"/>
                    <a:pt x="13" y="106"/>
                    <a:pt x="16" y="104"/>
                  </a:cubicBezTo>
                  <a:cubicBezTo>
                    <a:pt x="21" y="102"/>
                    <a:pt x="27" y="107"/>
                    <a:pt x="31" y="104"/>
                  </a:cubicBezTo>
                  <a:cubicBezTo>
                    <a:pt x="33" y="102"/>
                    <a:pt x="28" y="99"/>
                    <a:pt x="28" y="96"/>
                  </a:cubicBezTo>
                  <a:cubicBezTo>
                    <a:pt x="28" y="86"/>
                    <a:pt x="32" y="77"/>
                    <a:pt x="33" y="68"/>
                  </a:cubicBezTo>
                  <a:cubicBezTo>
                    <a:pt x="34" y="66"/>
                    <a:pt x="33" y="64"/>
                    <a:pt x="35" y="62"/>
                  </a:cubicBezTo>
                  <a:cubicBezTo>
                    <a:pt x="37" y="60"/>
                    <a:pt x="43" y="62"/>
                    <a:pt x="44" y="59"/>
                  </a:cubicBezTo>
                  <a:cubicBezTo>
                    <a:pt x="45" y="54"/>
                    <a:pt x="48" y="49"/>
                    <a:pt x="52" y="45"/>
                  </a:cubicBezTo>
                  <a:cubicBezTo>
                    <a:pt x="54" y="43"/>
                    <a:pt x="51" y="40"/>
                    <a:pt x="52" y="37"/>
                  </a:cubicBezTo>
                  <a:cubicBezTo>
                    <a:pt x="56" y="31"/>
                    <a:pt x="60" y="25"/>
                    <a:pt x="66" y="22"/>
                  </a:cubicBezTo>
                  <a:cubicBezTo>
                    <a:pt x="68" y="21"/>
                    <a:pt x="71" y="27"/>
                    <a:pt x="72" y="25"/>
                  </a:cubicBezTo>
                  <a:cubicBezTo>
                    <a:pt x="75" y="21"/>
                    <a:pt x="72" y="15"/>
                    <a:pt x="74" y="11"/>
                  </a:cubicBezTo>
                  <a:cubicBezTo>
                    <a:pt x="76" y="9"/>
                    <a:pt x="80" y="9"/>
                    <a:pt x="82" y="10"/>
                  </a:cubicBezTo>
                  <a:cubicBezTo>
                    <a:pt x="87" y="11"/>
                    <a:pt x="91" y="18"/>
                    <a:pt x="95" y="15"/>
                  </a:cubicBezTo>
                  <a:cubicBezTo>
                    <a:pt x="99" y="13"/>
                    <a:pt x="94" y="6"/>
                    <a:pt x="96" y="2"/>
                  </a:cubicBezTo>
                  <a:cubicBezTo>
                    <a:pt x="97" y="0"/>
                    <a:pt x="101" y="2"/>
                    <a:pt x="103" y="2"/>
                  </a:cubicBezTo>
                  <a:cubicBezTo>
                    <a:pt x="106" y="5"/>
                    <a:pt x="109" y="10"/>
                    <a:pt x="113" y="12"/>
                  </a:cubicBezTo>
                  <a:cubicBezTo>
                    <a:pt x="117" y="14"/>
                    <a:pt x="122" y="13"/>
                    <a:pt x="125" y="15"/>
                  </a:cubicBezTo>
                  <a:cubicBezTo>
                    <a:pt x="129" y="17"/>
                    <a:pt x="132" y="20"/>
                    <a:pt x="134" y="24"/>
                  </a:cubicBezTo>
                  <a:cubicBezTo>
                    <a:pt x="136" y="27"/>
                    <a:pt x="134" y="30"/>
                    <a:pt x="134" y="33"/>
                  </a:cubicBezTo>
                  <a:cubicBezTo>
                    <a:pt x="135" y="34"/>
                    <a:pt x="137" y="35"/>
                    <a:pt x="137" y="37"/>
                  </a:cubicBezTo>
                  <a:cubicBezTo>
                    <a:pt x="138" y="38"/>
                    <a:pt x="137" y="38"/>
                    <a:pt x="137" y="39"/>
                  </a:cubicBezTo>
                  <a:cubicBezTo>
                    <a:pt x="137" y="42"/>
                    <a:pt x="140" y="45"/>
                    <a:pt x="140" y="48"/>
                  </a:cubicBezTo>
                  <a:cubicBezTo>
                    <a:pt x="140" y="52"/>
                    <a:pt x="137" y="55"/>
                    <a:pt x="138" y="58"/>
                  </a:cubicBezTo>
                  <a:cubicBezTo>
                    <a:pt x="138" y="62"/>
                    <a:pt x="141" y="66"/>
                    <a:pt x="143" y="70"/>
                  </a:cubicBezTo>
                  <a:cubicBezTo>
                    <a:pt x="140" y="70"/>
                    <a:pt x="137" y="70"/>
                    <a:pt x="134" y="70"/>
                  </a:cubicBezTo>
                  <a:cubicBezTo>
                    <a:pt x="130" y="70"/>
                    <a:pt x="127" y="67"/>
                    <a:pt x="124" y="69"/>
                  </a:cubicBezTo>
                  <a:cubicBezTo>
                    <a:pt x="122" y="70"/>
                    <a:pt x="126" y="74"/>
                    <a:pt x="124" y="76"/>
                  </a:cubicBezTo>
                  <a:cubicBezTo>
                    <a:pt x="122" y="78"/>
                    <a:pt x="118" y="76"/>
                    <a:pt x="116" y="78"/>
                  </a:cubicBezTo>
                  <a:cubicBezTo>
                    <a:pt x="115" y="79"/>
                    <a:pt x="117" y="81"/>
                    <a:pt x="116" y="82"/>
                  </a:cubicBezTo>
                  <a:cubicBezTo>
                    <a:pt x="114" y="84"/>
                    <a:pt x="108" y="86"/>
                    <a:pt x="109" y="89"/>
                  </a:cubicBezTo>
                  <a:cubicBezTo>
                    <a:pt x="109" y="93"/>
                    <a:pt x="117" y="94"/>
                    <a:pt x="117" y="97"/>
                  </a:cubicBezTo>
                  <a:cubicBezTo>
                    <a:pt x="117" y="101"/>
                    <a:pt x="110" y="100"/>
                    <a:pt x="109" y="102"/>
                  </a:cubicBezTo>
                  <a:cubicBezTo>
                    <a:pt x="108" y="106"/>
                    <a:pt x="107" y="110"/>
                    <a:pt x="103" y="112"/>
                  </a:cubicBezTo>
                  <a:cubicBezTo>
                    <a:pt x="99" y="113"/>
                    <a:pt x="95" y="116"/>
                    <a:pt x="91" y="118"/>
                  </a:cubicBezTo>
                  <a:cubicBezTo>
                    <a:pt x="89" y="119"/>
                    <a:pt x="87" y="120"/>
                    <a:pt x="85" y="122"/>
                  </a:cubicBezTo>
                  <a:cubicBezTo>
                    <a:pt x="82" y="124"/>
                    <a:pt x="78" y="127"/>
                    <a:pt x="76" y="130"/>
                  </a:cubicBezTo>
                  <a:cubicBezTo>
                    <a:pt x="75" y="131"/>
                    <a:pt x="77" y="133"/>
                    <a:pt x="77" y="134"/>
                  </a:cubicBezTo>
                  <a:cubicBezTo>
                    <a:pt x="75" y="135"/>
                    <a:pt x="71" y="135"/>
                    <a:pt x="71" y="137"/>
                  </a:cubicBezTo>
                  <a:cubicBezTo>
                    <a:pt x="71" y="139"/>
                    <a:pt x="73" y="138"/>
                    <a:pt x="73" y="140"/>
                  </a:cubicBezTo>
                  <a:cubicBezTo>
                    <a:pt x="74" y="145"/>
                    <a:pt x="73" y="149"/>
                    <a:pt x="71" y="153"/>
                  </a:cubicBezTo>
                  <a:cubicBezTo>
                    <a:pt x="70" y="154"/>
                    <a:pt x="69" y="151"/>
                    <a:pt x="68" y="153"/>
                  </a:cubicBezTo>
                  <a:cubicBezTo>
                    <a:pt x="67" y="155"/>
                    <a:pt x="68" y="158"/>
                    <a:pt x="69" y="161"/>
                  </a:cubicBezTo>
                  <a:cubicBezTo>
                    <a:pt x="70" y="167"/>
                    <a:pt x="71" y="173"/>
                    <a:pt x="75" y="178"/>
                  </a:cubicBezTo>
                  <a:cubicBezTo>
                    <a:pt x="77" y="180"/>
                    <a:pt x="82" y="176"/>
                    <a:pt x="85" y="178"/>
                  </a:cubicBezTo>
                  <a:cubicBezTo>
                    <a:pt x="89" y="181"/>
                    <a:pt x="93" y="184"/>
                    <a:pt x="93" y="189"/>
                  </a:cubicBezTo>
                  <a:cubicBezTo>
                    <a:pt x="93" y="193"/>
                    <a:pt x="88" y="195"/>
                    <a:pt x="85" y="196"/>
                  </a:cubicBezTo>
                  <a:cubicBezTo>
                    <a:pt x="83" y="197"/>
                    <a:pt x="80" y="194"/>
                    <a:pt x="78" y="195"/>
                  </a:cubicBezTo>
                  <a:cubicBezTo>
                    <a:pt x="77" y="196"/>
                    <a:pt x="74" y="200"/>
                    <a:pt x="76" y="200"/>
                  </a:cubicBezTo>
                  <a:cubicBezTo>
                    <a:pt x="79" y="202"/>
                    <a:pt x="83" y="196"/>
                    <a:pt x="86" y="198"/>
                  </a:cubicBezTo>
                  <a:cubicBezTo>
                    <a:pt x="88" y="200"/>
                    <a:pt x="84" y="204"/>
                    <a:pt x="81" y="205"/>
                  </a:cubicBezTo>
                  <a:cubicBezTo>
                    <a:pt x="80" y="206"/>
                    <a:pt x="79" y="204"/>
                    <a:pt x="77" y="204"/>
                  </a:cubicBezTo>
                  <a:cubicBezTo>
                    <a:pt x="76" y="205"/>
                    <a:pt x="76" y="206"/>
                    <a:pt x="75" y="207"/>
                  </a:cubicBezTo>
                  <a:cubicBezTo>
                    <a:pt x="72" y="209"/>
                    <a:pt x="68" y="210"/>
                    <a:pt x="67" y="214"/>
                  </a:cubicBezTo>
                  <a:cubicBezTo>
                    <a:pt x="66" y="217"/>
                    <a:pt x="68" y="222"/>
                    <a:pt x="68" y="226"/>
                  </a:cubicBezTo>
                  <a:cubicBezTo>
                    <a:pt x="67" y="233"/>
                    <a:pt x="65" y="241"/>
                    <a:pt x="63" y="248"/>
                  </a:cubicBezTo>
                  <a:cubicBezTo>
                    <a:pt x="62" y="251"/>
                    <a:pt x="60" y="256"/>
                    <a:pt x="57" y="258"/>
                  </a:cubicBezTo>
                  <a:cubicBezTo>
                    <a:pt x="54" y="260"/>
                    <a:pt x="49" y="257"/>
                    <a:pt x="46" y="258"/>
                  </a:cubicBezTo>
                  <a:cubicBezTo>
                    <a:pt x="43" y="259"/>
                    <a:pt x="40" y="261"/>
                    <a:pt x="40" y="263"/>
                  </a:cubicBezTo>
                  <a:cubicBezTo>
                    <a:pt x="39" y="266"/>
                    <a:pt x="45" y="268"/>
                    <a:pt x="43" y="271"/>
                  </a:cubicBezTo>
                  <a:cubicBezTo>
                    <a:pt x="42" y="273"/>
                    <a:pt x="37" y="272"/>
                    <a:pt x="33" y="272"/>
                  </a:cubicBezTo>
                  <a:cubicBezTo>
                    <a:pt x="30" y="273"/>
                    <a:pt x="27" y="274"/>
                    <a:pt x="24" y="273"/>
                  </a:cubicBezTo>
                  <a:cubicBezTo>
                    <a:pt x="23" y="273"/>
                    <a:pt x="24" y="271"/>
                    <a:pt x="24" y="270"/>
                  </a:cubicBezTo>
                  <a:cubicBezTo>
                    <a:pt x="25" y="269"/>
                    <a:pt x="27" y="267"/>
                    <a:pt x="26" y="266"/>
                  </a:cubicBezTo>
                  <a:cubicBezTo>
                    <a:pt x="25" y="263"/>
                    <a:pt x="19" y="261"/>
                    <a:pt x="18" y="257"/>
                  </a:cubicBezTo>
                  <a:cubicBezTo>
                    <a:pt x="18" y="256"/>
                    <a:pt x="23" y="259"/>
                    <a:pt x="24" y="257"/>
                  </a:cubicBezTo>
                  <a:cubicBezTo>
                    <a:pt x="25" y="255"/>
                    <a:pt x="20" y="254"/>
                    <a:pt x="20" y="252"/>
                  </a:cubicBezTo>
                  <a:cubicBezTo>
                    <a:pt x="20" y="251"/>
                    <a:pt x="25" y="253"/>
                    <a:pt x="24" y="252"/>
                  </a:cubicBezTo>
                  <a:cubicBezTo>
                    <a:pt x="22" y="246"/>
                    <a:pt x="18" y="240"/>
                    <a:pt x="14" y="236"/>
                  </a:cubicBezTo>
                  <a:cubicBezTo>
                    <a:pt x="13" y="235"/>
                    <a:pt x="10" y="239"/>
                    <a:pt x="10" y="237"/>
                  </a:cubicBezTo>
                  <a:cubicBezTo>
                    <a:pt x="8" y="233"/>
                    <a:pt x="9" y="229"/>
                    <a:pt x="9" y="225"/>
                  </a:cubicBezTo>
                  <a:cubicBezTo>
                    <a:pt x="9" y="222"/>
                    <a:pt x="9" y="220"/>
                    <a:pt x="8" y="218"/>
                  </a:cubicBezTo>
                  <a:cubicBezTo>
                    <a:pt x="8" y="217"/>
                    <a:pt x="5" y="217"/>
                    <a:pt x="5" y="216"/>
                  </a:cubicBezTo>
                  <a:cubicBezTo>
                    <a:pt x="4" y="213"/>
                    <a:pt x="5" y="210"/>
                    <a:pt x="4" y="207"/>
                  </a:cubicBezTo>
                  <a:cubicBezTo>
                    <a:pt x="3" y="206"/>
                    <a:pt x="0" y="205"/>
                    <a:pt x="1" y="204"/>
                  </a:cubicBezTo>
                  <a:cubicBezTo>
                    <a:pt x="1" y="202"/>
                    <a:pt x="4" y="203"/>
                    <a:pt x="5" y="20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6" name="Freeform 146"/>
            <p:cNvSpPr>
              <a:spLocks noChangeAspect="1"/>
            </p:cNvSpPr>
            <p:nvPr/>
          </p:nvSpPr>
          <p:spPr bwMode="auto">
            <a:xfrm>
              <a:off x="4643438" y="1943100"/>
              <a:ext cx="547687" cy="508000"/>
            </a:xfrm>
            <a:custGeom>
              <a:avLst/>
              <a:gdLst>
                <a:gd name="T0" fmla="*/ 133582 w 287"/>
                <a:gd name="T1" fmla="*/ 449019 h 267"/>
                <a:gd name="T2" fmla="*/ 124041 w 287"/>
                <a:gd name="T3" fmla="*/ 466142 h 267"/>
                <a:gd name="T4" fmla="*/ 74424 w 287"/>
                <a:gd name="T5" fmla="*/ 502292 h 267"/>
                <a:gd name="T6" fmla="*/ 11450 w 287"/>
                <a:gd name="T7" fmla="*/ 475655 h 267"/>
                <a:gd name="T8" fmla="*/ 24808 w 287"/>
                <a:gd name="T9" fmla="*/ 450921 h 267"/>
                <a:gd name="T10" fmla="*/ 24808 w 287"/>
                <a:gd name="T11" fmla="*/ 437603 h 267"/>
                <a:gd name="T12" fmla="*/ 17175 w 287"/>
                <a:gd name="T13" fmla="*/ 435700 h 267"/>
                <a:gd name="T14" fmla="*/ 9542 w 287"/>
                <a:gd name="T15" fmla="*/ 397648 h 267"/>
                <a:gd name="T16" fmla="*/ 13358 w 287"/>
                <a:gd name="T17" fmla="*/ 369109 h 267"/>
                <a:gd name="T18" fmla="*/ 1908 w 287"/>
                <a:gd name="T19" fmla="*/ 353888 h 267"/>
                <a:gd name="T20" fmla="*/ 47708 w 287"/>
                <a:gd name="T21" fmla="*/ 351985 h 267"/>
                <a:gd name="T22" fmla="*/ 57250 w 287"/>
                <a:gd name="T23" fmla="*/ 338667 h 267"/>
                <a:gd name="T24" fmla="*/ 72516 w 287"/>
                <a:gd name="T25" fmla="*/ 334861 h 267"/>
                <a:gd name="T26" fmla="*/ 85874 w 287"/>
                <a:gd name="T27" fmla="*/ 310127 h 267"/>
                <a:gd name="T28" fmla="*/ 103049 w 287"/>
                <a:gd name="T29" fmla="*/ 304419 h 267"/>
                <a:gd name="T30" fmla="*/ 135491 w 287"/>
                <a:gd name="T31" fmla="*/ 289198 h 267"/>
                <a:gd name="T32" fmla="*/ 103049 w 287"/>
                <a:gd name="T33" fmla="*/ 291101 h 267"/>
                <a:gd name="T34" fmla="*/ 148849 w 287"/>
                <a:gd name="T35" fmla="*/ 266367 h 267"/>
                <a:gd name="T36" fmla="*/ 164115 w 287"/>
                <a:gd name="T37" fmla="*/ 235925 h 267"/>
                <a:gd name="T38" fmla="*/ 171749 w 287"/>
                <a:gd name="T39" fmla="*/ 205483 h 267"/>
                <a:gd name="T40" fmla="*/ 177473 w 287"/>
                <a:gd name="T41" fmla="*/ 188360 h 267"/>
                <a:gd name="T42" fmla="*/ 202282 w 287"/>
                <a:gd name="T43" fmla="*/ 169333 h 267"/>
                <a:gd name="T44" fmla="*/ 217548 w 287"/>
                <a:gd name="T45" fmla="*/ 152210 h 267"/>
                <a:gd name="T46" fmla="*/ 209915 w 287"/>
                <a:gd name="T47" fmla="*/ 140794 h 267"/>
                <a:gd name="T48" fmla="*/ 261439 w 287"/>
                <a:gd name="T49" fmla="*/ 114157 h 267"/>
                <a:gd name="T50" fmla="*/ 225181 w 287"/>
                <a:gd name="T51" fmla="*/ 89423 h 267"/>
                <a:gd name="T52" fmla="*/ 246173 w 287"/>
                <a:gd name="T53" fmla="*/ 106547 h 267"/>
                <a:gd name="T54" fmla="*/ 255714 w 287"/>
                <a:gd name="T55" fmla="*/ 93228 h 267"/>
                <a:gd name="T56" fmla="*/ 274798 w 287"/>
                <a:gd name="T57" fmla="*/ 68494 h 267"/>
                <a:gd name="T58" fmla="*/ 299606 w 287"/>
                <a:gd name="T59" fmla="*/ 76105 h 267"/>
                <a:gd name="T60" fmla="*/ 307239 w 287"/>
                <a:gd name="T61" fmla="*/ 68494 h 267"/>
                <a:gd name="T62" fmla="*/ 316781 w 287"/>
                <a:gd name="T63" fmla="*/ 74202 h 267"/>
                <a:gd name="T64" fmla="*/ 354947 w 287"/>
                <a:gd name="T65" fmla="*/ 66592 h 267"/>
                <a:gd name="T66" fmla="*/ 356855 w 287"/>
                <a:gd name="T67" fmla="*/ 36150 h 267"/>
                <a:gd name="T68" fmla="*/ 387388 w 287"/>
                <a:gd name="T69" fmla="*/ 38052 h 267"/>
                <a:gd name="T70" fmla="*/ 408380 w 287"/>
                <a:gd name="T71" fmla="*/ 5708 h 267"/>
                <a:gd name="T72" fmla="*/ 435096 w 287"/>
                <a:gd name="T73" fmla="*/ 15221 h 267"/>
                <a:gd name="T74" fmla="*/ 442729 w 287"/>
                <a:gd name="T75" fmla="*/ 19026 h 267"/>
                <a:gd name="T76" fmla="*/ 461813 w 287"/>
                <a:gd name="T77" fmla="*/ 28539 h 267"/>
                <a:gd name="T78" fmla="*/ 480896 w 287"/>
                <a:gd name="T79" fmla="*/ 1903 h 267"/>
                <a:gd name="T80" fmla="*/ 484712 w 287"/>
                <a:gd name="T81" fmla="*/ 22831 h 267"/>
                <a:gd name="T82" fmla="*/ 499979 w 287"/>
                <a:gd name="T83" fmla="*/ 13318 h 267"/>
                <a:gd name="T84" fmla="*/ 543870 w 287"/>
                <a:gd name="T85" fmla="*/ 36150 h 267"/>
                <a:gd name="T86" fmla="*/ 522879 w 287"/>
                <a:gd name="T87" fmla="*/ 53273 h 267"/>
                <a:gd name="T88" fmla="*/ 547687 w 287"/>
                <a:gd name="T89" fmla="*/ 62787 h 267"/>
                <a:gd name="T90" fmla="*/ 526696 w 287"/>
                <a:gd name="T91" fmla="*/ 72300 h 267"/>
                <a:gd name="T92" fmla="*/ 503796 w 287"/>
                <a:gd name="T93" fmla="*/ 87521 h 267"/>
                <a:gd name="T94" fmla="*/ 471354 w 287"/>
                <a:gd name="T95" fmla="*/ 47566 h 267"/>
                <a:gd name="T96" fmla="*/ 438913 w 287"/>
                <a:gd name="T97" fmla="*/ 91326 h 267"/>
                <a:gd name="T98" fmla="*/ 400747 w 287"/>
                <a:gd name="T99" fmla="*/ 97034 h 267"/>
                <a:gd name="T100" fmla="*/ 341589 w 287"/>
                <a:gd name="T101" fmla="*/ 70397 h 267"/>
                <a:gd name="T102" fmla="*/ 320597 w 287"/>
                <a:gd name="T103" fmla="*/ 87521 h 267"/>
                <a:gd name="T104" fmla="*/ 278614 w 287"/>
                <a:gd name="T105" fmla="*/ 104644 h 267"/>
                <a:gd name="T106" fmla="*/ 236631 w 287"/>
                <a:gd name="T107" fmla="*/ 154112 h 267"/>
                <a:gd name="T108" fmla="*/ 204190 w 287"/>
                <a:gd name="T109" fmla="*/ 201678 h 267"/>
                <a:gd name="T110" fmla="*/ 196557 w 287"/>
                <a:gd name="T111" fmla="*/ 281588 h 267"/>
                <a:gd name="T112" fmla="*/ 154574 w 287"/>
                <a:gd name="T113" fmla="*/ 363401 h 267"/>
                <a:gd name="T114" fmla="*/ 162207 w 287"/>
                <a:gd name="T115" fmla="*/ 395745 h 267"/>
                <a:gd name="T116" fmla="*/ 146940 w 287"/>
                <a:gd name="T117" fmla="*/ 454726 h 26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7"/>
                <a:gd name="T178" fmla="*/ 0 h 267"/>
                <a:gd name="T179" fmla="*/ 287 w 287"/>
                <a:gd name="T180" fmla="*/ 267 h 26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7" h="267">
                  <a:moveTo>
                    <a:pt x="77" y="247"/>
                  </a:moveTo>
                  <a:cubicBezTo>
                    <a:pt x="76" y="246"/>
                    <a:pt x="71" y="246"/>
                    <a:pt x="70" y="244"/>
                  </a:cubicBezTo>
                  <a:cubicBezTo>
                    <a:pt x="68" y="242"/>
                    <a:pt x="70" y="239"/>
                    <a:pt x="70" y="236"/>
                  </a:cubicBezTo>
                  <a:cubicBezTo>
                    <a:pt x="69" y="234"/>
                    <a:pt x="69" y="230"/>
                    <a:pt x="66" y="230"/>
                  </a:cubicBezTo>
                  <a:cubicBezTo>
                    <a:pt x="64" y="231"/>
                    <a:pt x="65" y="235"/>
                    <a:pt x="65" y="237"/>
                  </a:cubicBezTo>
                  <a:cubicBezTo>
                    <a:pt x="65" y="240"/>
                    <a:pt x="66" y="243"/>
                    <a:pt x="65" y="245"/>
                  </a:cubicBezTo>
                  <a:cubicBezTo>
                    <a:pt x="64" y="247"/>
                    <a:pt x="62" y="249"/>
                    <a:pt x="60" y="249"/>
                  </a:cubicBezTo>
                  <a:cubicBezTo>
                    <a:pt x="58" y="250"/>
                    <a:pt x="57" y="247"/>
                    <a:pt x="55" y="248"/>
                  </a:cubicBezTo>
                  <a:cubicBezTo>
                    <a:pt x="49" y="252"/>
                    <a:pt x="45" y="260"/>
                    <a:pt x="39" y="264"/>
                  </a:cubicBezTo>
                  <a:cubicBezTo>
                    <a:pt x="36" y="266"/>
                    <a:pt x="32" y="267"/>
                    <a:pt x="29" y="266"/>
                  </a:cubicBezTo>
                  <a:cubicBezTo>
                    <a:pt x="23" y="264"/>
                    <a:pt x="17" y="261"/>
                    <a:pt x="11" y="258"/>
                  </a:cubicBezTo>
                  <a:cubicBezTo>
                    <a:pt x="9" y="256"/>
                    <a:pt x="6" y="253"/>
                    <a:pt x="6" y="250"/>
                  </a:cubicBezTo>
                  <a:cubicBezTo>
                    <a:pt x="7" y="248"/>
                    <a:pt x="12" y="250"/>
                    <a:pt x="14" y="249"/>
                  </a:cubicBezTo>
                  <a:cubicBezTo>
                    <a:pt x="16" y="247"/>
                    <a:pt x="16" y="244"/>
                    <a:pt x="16" y="242"/>
                  </a:cubicBezTo>
                  <a:cubicBezTo>
                    <a:pt x="16" y="240"/>
                    <a:pt x="15" y="237"/>
                    <a:pt x="13" y="237"/>
                  </a:cubicBezTo>
                  <a:cubicBezTo>
                    <a:pt x="10" y="236"/>
                    <a:pt x="7" y="241"/>
                    <a:pt x="5" y="240"/>
                  </a:cubicBezTo>
                  <a:cubicBezTo>
                    <a:pt x="3" y="239"/>
                    <a:pt x="7" y="236"/>
                    <a:pt x="8" y="235"/>
                  </a:cubicBezTo>
                  <a:cubicBezTo>
                    <a:pt x="10" y="233"/>
                    <a:pt x="11" y="232"/>
                    <a:pt x="13" y="230"/>
                  </a:cubicBezTo>
                  <a:cubicBezTo>
                    <a:pt x="15" y="227"/>
                    <a:pt x="17" y="224"/>
                    <a:pt x="19" y="221"/>
                  </a:cubicBezTo>
                  <a:cubicBezTo>
                    <a:pt x="19" y="220"/>
                    <a:pt x="17" y="220"/>
                    <a:pt x="17" y="221"/>
                  </a:cubicBezTo>
                  <a:cubicBezTo>
                    <a:pt x="14" y="223"/>
                    <a:pt x="13" y="228"/>
                    <a:pt x="9" y="229"/>
                  </a:cubicBezTo>
                  <a:cubicBezTo>
                    <a:pt x="6" y="229"/>
                    <a:pt x="6" y="224"/>
                    <a:pt x="5" y="222"/>
                  </a:cubicBezTo>
                  <a:cubicBezTo>
                    <a:pt x="3" y="220"/>
                    <a:pt x="0" y="218"/>
                    <a:pt x="0" y="215"/>
                  </a:cubicBezTo>
                  <a:cubicBezTo>
                    <a:pt x="0" y="213"/>
                    <a:pt x="4" y="212"/>
                    <a:pt x="5" y="209"/>
                  </a:cubicBezTo>
                  <a:cubicBezTo>
                    <a:pt x="5" y="207"/>
                    <a:pt x="5" y="204"/>
                    <a:pt x="5" y="202"/>
                  </a:cubicBezTo>
                  <a:cubicBezTo>
                    <a:pt x="4" y="200"/>
                    <a:pt x="0" y="200"/>
                    <a:pt x="0" y="199"/>
                  </a:cubicBezTo>
                  <a:cubicBezTo>
                    <a:pt x="1" y="196"/>
                    <a:pt x="4" y="195"/>
                    <a:pt x="7" y="194"/>
                  </a:cubicBezTo>
                  <a:cubicBezTo>
                    <a:pt x="9" y="193"/>
                    <a:pt x="15" y="195"/>
                    <a:pt x="13" y="194"/>
                  </a:cubicBezTo>
                  <a:cubicBezTo>
                    <a:pt x="10" y="192"/>
                    <a:pt x="6" y="193"/>
                    <a:pt x="3" y="191"/>
                  </a:cubicBezTo>
                  <a:cubicBezTo>
                    <a:pt x="2" y="190"/>
                    <a:pt x="0" y="187"/>
                    <a:pt x="1" y="186"/>
                  </a:cubicBezTo>
                  <a:cubicBezTo>
                    <a:pt x="3" y="184"/>
                    <a:pt x="5" y="187"/>
                    <a:pt x="8" y="187"/>
                  </a:cubicBezTo>
                  <a:cubicBezTo>
                    <a:pt x="11" y="187"/>
                    <a:pt x="14" y="186"/>
                    <a:pt x="17" y="185"/>
                  </a:cubicBezTo>
                  <a:cubicBezTo>
                    <a:pt x="20" y="185"/>
                    <a:pt x="26" y="187"/>
                    <a:pt x="25" y="185"/>
                  </a:cubicBezTo>
                  <a:cubicBezTo>
                    <a:pt x="24" y="181"/>
                    <a:pt x="17" y="183"/>
                    <a:pt x="15" y="180"/>
                  </a:cubicBezTo>
                  <a:cubicBezTo>
                    <a:pt x="14" y="178"/>
                    <a:pt x="19" y="179"/>
                    <a:pt x="21" y="178"/>
                  </a:cubicBezTo>
                  <a:cubicBezTo>
                    <a:pt x="24" y="178"/>
                    <a:pt x="29" y="181"/>
                    <a:pt x="30" y="178"/>
                  </a:cubicBezTo>
                  <a:cubicBezTo>
                    <a:pt x="32" y="176"/>
                    <a:pt x="23" y="176"/>
                    <a:pt x="24" y="173"/>
                  </a:cubicBezTo>
                  <a:cubicBezTo>
                    <a:pt x="24" y="171"/>
                    <a:pt x="29" y="171"/>
                    <a:pt x="32" y="172"/>
                  </a:cubicBezTo>
                  <a:cubicBezTo>
                    <a:pt x="34" y="172"/>
                    <a:pt x="35" y="176"/>
                    <a:pt x="38" y="176"/>
                  </a:cubicBezTo>
                  <a:cubicBezTo>
                    <a:pt x="40" y="175"/>
                    <a:pt x="41" y="172"/>
                    <a:pt x="41" y="170"/>
                  </a:cubicBezTo>
                  <a:cubicBezTo>
                    <a:pt x="41" y="169"/>
                    <a:pt x="38" y="168"/>
                    <a:pt x="38" y="166"/>
                  </a:cubicBezTo>
                  <a:cubicBezTo>
                    <a:pt x="40" y="164"/>
                    <a:pt x="43" y="165"/>
                    <a:pt x="45" y="163"/>
                  </a:cubicBezTo>
                  <a:cubicBezTo>
                    <a:pt x="46" y="162"/>
                    <a:pt x="45" y="158"/>
                    <a:pt x="46" y="158"/>
                  </a:cubicBezTo>
                  <a:cubicBezTo>
                    <a:pt x="49" y="158"/>
                    <a:pt x="49" y="164"/>
                    <a:pt x="52" y="164"/>
                  </a:cubicBezTo>
                  <a:cubicBezTo>
                    <a:pt x="54" y="165"/>
                    <a:pt x="53" y="160"/>
                    <a:pt x="54" y="160"/>
                  </a:cubicBezTo>
                  <a:cubicBezTo>
                    <a:pt x="56" y="159"/>
                    <a:pt x="58" y="162"/>
                    <a:pt x="60" y="162"/>
                  </a:cubicBezTo>
                  <a:cubicBezTo>
                    <a:pt x="61" y="163"/>
                    <a:pt x="63" y="162"/>
                    <a:pt x="64" y="161"/>
                  </a:cubicBezTo>
                  <a:cubicBezTo>
                    <a:pt x="67" y="159"/>
                    <a:pt x="69" y="155"/>
                    <a:pt x="71" y="152"/>
                  </a:cubicBezTo>
                  <a:cubicBezTo>
                    <a:pt x="71" y="151"/>
                    <a:pt x="69" y="150"/>
                    <a:pt x="69" y="151"/>
                  </a:cubicBezTo>
                  <a:cubicBezTo>
                    <a:pt x="65" y="153"/>
                    <a:pt x="63" y="158"/>
                    <a:pt x="59" y="159"/>
                  </a:cubicBezTo>
                  <a:cubicBezTo>
                    <a:pt x="56" y="159"/>
                    <a:pt x="54" y="155"/>
                    <a:pt x="54" y="153"/>
                  </a:cubicBezTo>
                  <a:cubicBezTo>
                    <a:pt x="55" y="149"/>
                    <a:pt x="59" y="146"/>
                    <a:pt x="62" y="143"/>
                  </a:cubicBezTo>
                  <a:cubicBezTo>
                    <a:pt x="65" y="141"/>
                    <a:pt x="67" y="140"/>
                    <a:pt x="70" y="139"/>
                  </a:cubicBezTo>
                  <a:cubicBezTo>
                    <a:pt x="73" y="138"/>
                    <a:pt x="77" y="142"/>
                    <a:pt x="78" y="140"/>
                  </a:cubicBezTo>
                  <a:cubicBezTo>
                    <a:pt x="80" y="137"/>
                    <a:pt x="74" y="132"/>
                    <a:pt x="76" y="130"/>
                  </a:cubicBezTo>
                  <a:cubicBezTo>
                    <a:pt x="78" y="127"/>
                    <a:pt x="83" y="130"/>
                    <a:pt x="86" y="128"/>
                  </a:cubicBezTo>
                  <a:cubicBezTo>
                    <a:pt x="88" y="127"/>
                    <a:pt x="86" y="125"/>
                    <a:pt x="86" y="124"/>
                  </a:cubicBezTo>
                  <a:cubicBezTo>
                    <a:pt x="86" y="121"/>
                    <a:pt x="85" y="118"/>
                    <a:pt x="86" y="116"/>
                  </a:cubicBezTo>
                  <a:cubicBezTo>
                    <a:pt x="88" y="114"/>
                    <a:pt x="92" y="116"/>
                    <a:pt x="93" y="113"/>
                  </a:cubicBezTo>
                  <a:cubicBezTo>
                    <a:pt x="94" y="111"/>
                    <a:pt x="89" y="110"/>
                    <a:pt x="90" y="108"/>
                  </a:cubicBezTo>
                  <a:cubicBezTo>
                    <a:pt x="92" y="106"/>
                    <a:pt x="97" y="109"/>
                    <a:pt x="100" y="106"/>
                  </a:cubicBezTo>
                  <a:cubicBezTo>
                    <a:pt x="101" y="105"/>
                    <a:pt x="95" y="107"/>
                    <a:pt x="94" y="105"/>
                  </a:cubicBezTo>
                  <a:cubicBezTo>
                    <a:pt x="92" y="103"/>
                    <a:pt x="92" y="100"/>
                    <a:pt x="93" y="99"/>
                  </a:cubicBezTo>
                  <a:cubicBezTo>
                    <a:pt x="95" y="97"/>
                    <a:pt x="98" y="100"/>
                    <a:pt x="99" y="99"/>
                  </a:cubicBezTo>
                  <a:cubicBezTo>
                    <a:pt x="100" y="97"/>
                    <a:pt x="98" y="94"/>
                    <a:pt x="99" y="93"/>
                  </a:cubicBezTo>
                  <a:cubicBezTo>
                    <a:pt x="100" y="90"/>
                    <a:pt x="103" y="89"/>
                    <a:pt x="106" y="89"/>
                  </a:cubicBezTo>
                  <a:cubicBezTo>
                    <a:pt x="110" y="88"/>
                    <a:pt x="117" y="92"/>
                    <a:pt x="117" y="88"/>
                  </a:cubicBezTo>
                  <a:cubicBezTo>
                    <a:pt x="118" y="85"/>
                    <a:pt x="108" y="88"/>
                    <a:pt x="107" y="85"/>
                  </a:cubicBezTo>
                  <a:cubicBezTo>
                    <a:pt x="106" y="82"/>
                    <a:pt x="111" y="81"/>
                    <a:pt x="114" y="80"/>
                  </a:cubicBezTo>
                  <a:cubicBezTo>
                    <a:pt x="116" y="80"/>
                    <a:pt x="119" y="83"/>
                    <a:pt x="120" y="81"/>
                  </a:cubicBezTo>
                  <a:cubicBezTo>
                    <a:pt x="121" y="79"/>
                    <a:pt x="119" y="76"/>
                    <a:pt x="117" y="74"/>
                  </a:cubicBezTo>
                  <a:cubicBezTo>
                    <a:pt x="115" y="73"/>
                    <a:pt x="109" y="76"/>
                    <a:pt x="110" y="74"/>
                  </a:cubicBezTo>
                  <a:cubicBezTo>
                    <a:pt x="112" y="71"/>
                    <a:pt x="117" y="72"/>
                    <a:pt x="120" y="70"/>
                  </a:cubicBezTo>
                  <a:cubicBezTo>
                    <a:pt x="122" y="67"/>
                    <a:pt x="122" y="63"/>
                    <a:pt x="125" y="61"/>
                  </a:cubicBezTo>
                  <a:cubicBezTo>
                    <a:pt x="128" y="59"/>
                    <a:pt x="134" y="62"/>
                    <a:pt x="137" y="60"/>
                  </a:cubicBezTo>
                  <a:cubicBezTo>
                    <a:pt x="139" y="59"/>
                    <a:pt x="133" y="58"/>
                    <a:pt x="131" y="58"/>
                  </a:cubicBezTo>
                  <a:cubicBezTo>
                    <a:pt x="125" y="58"/>
                    <a:pt x="117" y="63"/>
                    <a:pt x="112" y="59"/>
                  </a:cubicBezTo>
                  <a:cubicBezTo>
                    <a:pt x="109" y="56"/>
                    <a:pt x="115" y="50"/>
                    <a:pt x="118" y="47"/>
                  </a:cubicBezTo>
                  <a:cubicBezTo>
                    <a:pt x="120" y="46"/>
                    <a:pt x="118" y="52"/>
                    <a:pt x="120" y="52"/>
                  </a:cubicBezTo>
                  <a:cubicBezTo>
                    <a:pt x="123" y="53"/>
                    <a:pt x="126" y="48"/>
                    <a:pt x="129" y="50"/>
                  </a:cubicBezTo>
                  <a:cubicBezTo>
                    <a:pt x="131" y="51"/>
                    <a:pt x="127" y="55"/>
                    <a:pt x="129" y="56"/>
                  </a:cubicBezTo>
                  <a:cubicBezTo>
                    <a:pt x="131" y="58"/>
                    <a:pt x="135" y="56"/>
                    <a:pt x="137" y="54"/>
                  </a:cubicBezTo>
                  <a:cubicBezTo>
                    <a:pt x="138" y="53"/>
                    <a:pt x="139" y="51"/>
                    <a:pt x="139" y="50"/>
                  </a:cubicBezTo>
                  <a:cubicBezTo>
                    <a:pt x="138" y="49"/>
                    <a:pt x="135" y="51"/>
                    <a:pt x="134" y="49"/>
                  </a:cubicBezTo>
                  <a:cubicBezTo>
                    <a:pt x="134" y="48"/>
                    <a:pt x="135" y="46"/>
                    <a:pt x="136" y="46"/>
                  </a:cubicBezTo>
                  <a:cubicBezTo>
                    <a:pt x="138" y="45"/>
                    <a:pt x="141" y="47"/>
                    <a:pt x="143" y="45"/>
                  </a:cubicBezTo>
                  <a:cubicBezTo>
                    <a:pt x="145" y="43"/>
                    <a:pt x="141" y="38"/>
                    <a:pt x="144" y="36"/>
                  </a:cubicBezTo>
                  <a:cubicBezTo>
                    <a:pt x="146" y="35"/>
                    <a:pt x="147" y="42"/>
                    <a:pt x="149" y="41"/>
                  </a:cubicBezTo>
                  <a:cubicBezTo>
                    <a:pt x="151" y="41"/>
                    <a:pt x="149" y="36"/>
                    <a:pt x="150" y="36"/>
                  </a:cubicBezTo>
                  <a:cubicBezTo>
                    <a:pt x="153" y="36"/>
                    <a:pt x="155" y="42"/>
                    <a:pt x="157" y="40"/>
                  </a:cubicBezTo>
                  <a:cubicBezTo>
                    <a:pt x="159" y="38"/>
                    <a:pt x="155" y="34"/>
                    <a:pt x="157" y="31"/>
                  </a:cubicBezTo>
                  <a:cubicBezTo>
                    <a:pt x="157" y="30"/>
                    <a:pt x="161" y="30"/>
                    <a:pt x="162" y="31"/>
                  </a:cubicBezTo>
                  <a:cubicBezTo>
                    <a:pt x="163" y="32"/>
                    <a:pt x="159" y="37"/>
                    <a:pt x="161" y="36"/>
                  </a:cubicBezTo>
                  <a:cubicBezTo>
                    <a:pt x="164" y="33"/>
                    <a:pt x="165" y="27"/>
                    <a:pt x="169" y="26"/>
                  </a:cubicBezTo>
                  <a:cubicBezTo>
                    <a:pt x="171" y="25"/>
                    <a:pt x="168" y="31"/>
                    <a:pt x="168" y="33"/>
                  </a:cubicBezTo>
                  <a:cubicBezTo>
                    <a:pt x="167" y="35"/>
                    <a:pt x="164" y="40"/>
                    <a:pt x="166" y="39"/>
                  </a:cubicBezTo>
                  <a:cubicBezTo>
                    <a:pt x="169" y="36"/>
                    <a:pt x="169" y="31"/>
                    <a:pt x="173" y="29"/>
                  </a:cubicBezTo>
                  <a:cubicBezTo>
                    <a:pt x="175" y="27"/>
                    <a:pt x="178" y="26"/>
                    <a:pt x="180" y="27"/>
                  </a:cubicBezTo>
                  <a:cubicBezTo>
                    <a:pt x="183" y="28"/>
                    <a:pt x="183" y="36"/>
                    <a:pt x="186" y="35"/>
                  </a:cubicBezTo>
                  <a:cubicBezTo>
                    <a:pt x="189" y="34"/>
                    <a:pt x="187" y="28"/>
                    <a:pt x="186" y="25"/>
                  </a:cubicBezTo>
                  <a:cubicBezTo>
                    <a:pt x="186" y="23"/>
                    <a:pt x="182" y="22"/>
                    <a:pt x="182" y="19"/>
                  </a:cubicBezTo>
                  <a:cubicBezTo>
                    <a:pt x="182" y="18"/>
                    <a:pt x="185" y="18"/>
                    <a:pt x="187" y="19"/>
                  </a:cubicBezTo>
                  <a:cubicBezTo>
                    <a:pt x="189" y="19"/>
                    <a:pt x="191" y="22"/>
                    <a:pt x="194" y="23"/>
                  </a:cubicBezTo>
                  <a:cubicBezTo>
                    <a:pt x="197" y="25"/>
                    <a:pt x="200" y="28"/>
                    <a:pt x="203" y="27"/>
                  </a:cubicBezTo>
                  <a:cubicBezTo>
                    <a:pt x="205" y="26"/>
                    <a:pt x="202" y="22"/>
                    <a:pt x="203" y="20"/>
                  </a:cubicBezTo>
                  <a:cubicBezTo>
                    <a:pt x="204" y="17"/>
                    <a:pt x="206" y="15"/>
                    <a:pt x="208" y="14"/>
                  </a:cubicBezTo>
                  <a:cubicBezTo>
                    <a:pt x="210" y="12"/>
                    <a:pt x="213" y="11"/>
                    <a:pt x="215" y="9"/>
                  </a:cubicBezTo>
                  <a:cubicBezTo>
                    <a:pt x="216" y="7"/>
                    <a:pt x="212" y="3"/>
                    <a:pt x="214" y="3"/>
                  </a:cubicBezTo>
                  <a:cubicBezTo>
                    <a:pt x="217" y="3"/>
                    <a:pt x="218" y="8"/>
                    <a:pt x="221" y="8"/>
                  </a:cubicBezTo>
                  <a:cubicBezTo>
                    <a:pt x="224" y="8"/>
                    <a:pt x="223" y="6"/>
                    <a:pt x="226" y="6"/>
                  </a:cubicBezTo>
                  <a:cubicBezTo>
                    <a:pt x="228" y="6"/>
                    <a:pt x="229" y="6"/>
                    <a:pt x="228" y="8"/>
                  </a:cubicBezTo>
                  <a:cubicBezTo>
                    <a:pt x="227" y="11"/>
                    <a:pt x="222" y="11"/>
                    <a:pt x="221" y="14"/>
                  </a:cubicBezTo>
                  <a:cubicBezTo>
                    <a:pt x="220" y="17"/>
                    <a:pt x="218" y="25"/>
                    <a:pt x="221" y="23"/>
                  </a:cubicBezTo>
                  <a:cubicBezTo>
                    <a:pt x="227" y="22"/>
                    <a:pt x="228" y="14"/>
                    <a:pt x="232" y="10"/>
                  </a:cubicBezTo>
                  <a:cubicBezTo>
                    <a:pt x="233" y="9"/>
                    <a:pt x="236" y="4"/>
                    <a:pt x="237" y="6"/>
                  </a:cubicBezTo>
                  <a:cubicBezTo>
                    <a:pt x="239" y="9"/>
                    <a:pt x="235" y="14"/>
                    <a:pt x="237" y="17"/>
                  </a:cubicBezTo>
                  <a:cubicBezTo>
                    <a:pt x="238" y="19"/>
                    <a:pt x="241" y="17"/>
                    <a:pt x="242" y="15"/>
                  </a:cubicBezTo>
                  <a:cubicBezTo>
                    <a:pt x="244" y="13"/>
                    <a:pt x="244" y="10"/>
                    <a:pt x="244" y="8"/>
                  </a:cubicBezTo>
                  <a:cubicBezTo>
                    <a:pt x="245" y="6"/>
                    <a:pt x="242" y="5"/>
                    <a:pt x="243" y="4"/>
                  </a:cubicBezTo>
                  <a:cubicBezTo>
                    <a:pt x="246" y="2"/>
                    <a:pt x="249" y="0"/>
                    <a:pt x="252" y="1"/>
                  </a:cubicBezTo>
                  <a:cubicBezTo>
                    <a:pt x="255" y="2"/>
                    <a:pt x="257" y="5"/>
                    <a:pt x="256" y="7"/>
                  </a:cubicBezTo>
                  <a:cubicBezTo>
                    <a:pt x="255" y="9"/>
                    <a:pt x="251" y="6"/>
                    <a:pt x="251" y="7"/>
                  </a:cubicBezTo>
                  <a:cubicBezTo>
                    <a:pt x="250" y="9"/>
                    <a:pt x="255" y="10"/>
                    <a:pt x="254" y="12"/>
                  </a:cubicBezTo>
                  <a:cubicBezTo>
                    <a:pt x="254" y="14"/>
                    <a:pt x="248" y="15"/>
                    <a:pt x="250" y="16"/>
                  </a:cubicBezTo>
                  <a:cubicBezTo>
                    <a:pt x="252" y="17"/>
                    <a:pt x="255" y="15"/>
                    <a:pt x="257" y="14"/>
                  </a:cubicBezTo>
                  <a:cubicBezTo>
                    <a:pt x="259" y="12"/>
                    <a:pt x="259" y="7"/>
                    <a:pt x="262" y="7"/>
                  </a:cubicBezTo>
                  <a:cubicBezTo>
                    <a:pt x="264" y="6"/>
                    <a:pt x="266" y="9"/>
                    <a:pt x="268" y="10"/>
                  </a:cubicBezTo>
                  <a:cubicBezTo>
                    <a:pt x="270" y="11"/>
                    <a:pt x="272" y="10"/>
                    <a:pt x="275" y="11"/>
                  </a:cubicBezTo>
                  <a:cubicBezTo>
                    <a:pt x="278" y="13"/>
                    <a:pt x="285" y="14"/>
                    <a:pt x="285" y="19"/>
                  </a:cubicBezTo>
                  <a:cubicBezTo>
                    <a:pt x="286" y="22"/>
                    <a:pt x="280" y="23"/>
                    <a:pt x="276" y="23"/>
                  </a:cubicBezTo>
                  <a:cubicBezTo>
                    <a:pt x="271" y="24"/>
                    <a:pt x="263" y="17"/>
                    <a:pt x="261" y="22"/>
                  </a:cubicBezTo>
                  <a:cubicBezTo>
                    <a:pt x="258" y="26"/>
                    <a:pt x="270" y="25"/>
                    <a:pt x="274" y="28"/>
                  </a:cubicBezTo>
                  <a:cubicBezTo>
                    <a:pt x="275" y="28"/>
                    <a:pt x="273" y="31"/>
                    <a:pt x="274" y="31"/>
                  </a:cubicBezTo>
                  <a:cubicBezTo>
                    <a:pt x="276" y="32"/>
                    <a:pt x="279" y="29"/>
                    <a:pt x="281" y="30"/>
                  </a:cubicBezTo>
                  <a:cubicBezTo>
                    <a:pt x="283" y="30"/>
                    <a:pt x="285" y="32"/>
                    <a:pt x="287" y="33"/>
                  </a:cubicBezTo>
                  <a:cubicBezTo>
                    <a:pt x="286" y="34"/>
                    <a:pt x="286" y="36"/>
                    <a:pt x="284" y="36"/>
                  </a:cubicBezTo>
                  <a:cubicBezTo>
                    <a:pt x="282" y="36"/>
                    <a:pt x="280" y="33"/>
                    <a:pt x="278" y="33"/>
                  </a:cubicBezTo>
                  <a:cubicBezTo>
                    <a:pt x="276" y="33"/>
                    <a:pt x="277" y="38"/>
                    <a:pt x="276" y="38"/>
                  </a:cubicBezTo>
                  <a:cubicBezTo>
                    <a:pt x="273" y="39"/>
                    <a:pt x="271" y="40"/>
                    <a:pt x="269" y="41"/>
                  </a:cubicBezTo>
                  <a:cubicBezTo>
                    <a:pt x="268" y="43"/>
                    <a:pt x="269" y="46"/>
                    <a:pt x="268" y="47"/>
                  </a:cubicBezTo>
                  <a:cubicBezTo>
                    <a:pt x="267" y="48"/>
                    <a:pt x="265" y="46"/>
                    <a:pt x="264" y="46"/>
                  </a:cubicBezTo>
                  <a:cubicBezTo>
                    <a:pt x="265" y="42"/>
                    <a:pt x="268" y="39"/>
                    <a:pt x="267" y="35"/>
                  </a:cubicBezTo>
                  <a:cubicBezTo>
                    <a:pt x="267" y="32"/>
                    <a:pt x="262" y="32"/>
                    <a:pt x="259" y="30"/>
                  </a:cubicBezTo>
                  <a:cubicBezTo>
                    <a:pt x="255" y="29"/>
                    <a:pt x="251" y="23"/>
                    <a:pt x="247" y="25"/>
                  </a:cubicBezTo>
                  <a:cubicBezTo>
                    <a:pt x="244" y="28"/>
                    <a:pt x="239" y="27"/>
                    <a:pt x="236" y="26"/>
                  </a:cubicBezTo>
                  <a:cubicBezTo>
                    <a:pt x="234" y="28"/>
                    <a:pt x="231" y="33"/>
                    <a:pt x="230" y="38"/>
                  </a:cubicBezTo>
                  <a:cubicBezTo>
                    <a:pt x="229" y="41"/>
                    <a:pt x="231" y="45"/>
                    <a:pt x="230" y="48"/>
                  </a:cubicBezTo>
                  <a:cubicBezTo>
                    <a:pt x="229" y="50"/>
                    <a:pt x="225" y="48"/>
                    <a:pt x="224" y="50"/>
                  </a:cubicBezTo>
                  <a:cubicBezTo>
                    <a:pt x="222" y="52"/>
                    <a:pt x="225" y="56"/>
                    <a:pt x="223" y="56"/>
                  </a:cubicBezTo>
                  <a:cubicBezTo>
                    <a:pt x="218" y="56"/>
                    <a:pt x="214" y="51"/>
                    <a:pt x="210" y="51"/>
                  </a:cubicBezTo>
                  <a:cubicBezTo>
                    <a:pt x="207" y="51"/>
                    <a:pt x="204" y="56"/>
                    <a:pt x="202" y="55"/>
                  </a:cubicBezTo>
                  <a:cubicBezTo>
                    <a:pt x="198" y="53"/>
                    <a:pt x="194" y="54"/>
                    <a:pt x="192" y="53"/>
                  </a:cubicBezTo>
                  <a:cubicBezTo>
                    <a:pt x="188" y="48"/>
                    <a:pt x="187" y="39"/>
                    <a:pt x="179" y="37"/>
                  </a:cubicBezTo>
                  <a:cubicBezTo>
                    <a:pt x="177" y="37"/>
                    <a:pt x="180" y="42"/>
                    <a:pt x="179" y="44"/>
                  </a:cubicBezTo>
                  <a:cubicBezTo>
                    <a:pt x="178" y="45"/>
                    <a:pt x="176" y="45"/>
                    <a:pt x="175" y="46"/>
                  </a:cubicBezTo>
                  <a:cubicBezTo>
                    <a:pt x="173" y="46"/>
                    <a:pt x="169" y="44"/>
                    <a:pt x="168" y="46"/>
                  </a:cubicBezTo>
                  <a:cubicBezTo>
                    <a:pt x="166" y="50"/>
                    <a:pt x="171" y="57"/>
                    <a:pt x="167" y="59"/>
                  </a:cubicBezTo>
                  <a:cubicBezTo>
                    <a:pt x="163" y="62"/>
                    <a:pt x="159" y="55"/>
                    <a:pt x="154" y="54"/>
                  </a:cubicBezTo>
                  <a:cubicBezTo>
                    <a:pt x="152" y="53"/>
                    <a:pt x="148" y="53"/>
                    <a:pt x="146" y="55"/>
                  </a:cubicBezTo>
                  <a:cubicBezTo>
                    <a:pt x="144" y="59"/>
                    <a:pt x="147" y="65"/>
                    <a:pt x="144" y="69"/>
                  </a:cubicBezTo>
                  <a:cubicBezTo>
                    <a:pt x="143" y="71"/>
                    <a:pt x="140" y="65"/>
                    <a:pt x="138" y="66"/>
                  </a:cubicBezTo>
                  <a:cubicBezTo>
                    <a:pt x="132" y="69"/>
                    <a:pt x="128" y="75"/>
                    <a:pt x="124" y="81"/>
                  </a:cubicBezTo>
                  <a:cubicBezTo>
                    <a:pt x="123" y="84"/>
                    <a:pt x="126" y="87"/>
                    <a:pt x="124" y="89"/>
                  </a:cubicBezTo>
                  <a:cubicBezTo>
                    <a:pt x="120" y="93"/>
                    <a:pt x="117" y="98"/>
                    <a:pt x="116" y="103"/>
                  </a:cubicBezTo>
                  <a:cubicBezTo>
                    <a:pt x="115" y="106"/>
                    <a:pt x="109" y="104"/>
                    <a:pt x="107" y="106"/>
                  </a:cubicBezTo>
                  <a:cubicBezTo>
                    <a:pt x="105" y="108"/>
                    <a:pt x="106" y="110"/>
                    <a:pt x="105" y="112"/>
                  </a:cubicBezTo>
                  <a:cubicBezTo>
                    <a:pt x="104" y="121"/>
                    <a:pt x="100" y="130"/>
                    <a:pt x="100" y="140"/>
                  </a:cubicBezTo>
                  <a:cubicBezTo>
                    <a:pt x="100" y="143"/>
                    <a:pt x="105" y="146"/>
                    <a:pt x="103" y="148"/>
                  </a:cubicBezTo>
                  <a:cubicBezTo>
                    <a:pt x="99" y="151"/>
                    <a:pt x="93" y="146"/>
                    <a:pt x="88" y="148"/>
                  </a:cubicBezTo>
                  <a:cubicBezTo>
                    <a:pt x="85" y="150"/>
                    <a:pt x="82" y="154"/>
                    <a:pt x="82" y="157"/>
                  </a:cubicBezTo>
                  <a:cubicBezTo>
                    <a:pt x="81" y="169"/>
                    <a:pt x="81" y="180"/>
                    <a:pt x="81" y="191"/>
                  </a:cubicBezTo>
                  <a:cubicBezTo>
                    <a:pt x="81" y="195"/>
                    <a:pt x="87" y="198"/>
                    <a:pt x="89" y="202"/>
                  </a:cubicBezTo>
                  <a:cubicBezTo>
                    <a:pt x="90" y="203"/>
                    <a:pt x="89" y="205"/>
                    <a:pt x="88" y="206"/>
                  </a:cubicBezTo>
                  <a:cubicBezTo>
                    <a:pt x="88" y="207"/>
                    <a:pt x="85" y="207"/>
                    <a:pt x="85" y="208"/>
                  </a:cubicBezTo>
                  <a:cubicBezTo>
                    <a:pt x="84" y="214"/>
                    <a:pt x="87" y="220"/>
                    <a:pt x="86" y="225"/>
                  </a:cubicBezTo>
                  <a:cubicBezTo>
                    <a:pt x="86" y="228"/>
                    <a:pt x="82" y="228"/>
                    <a:pt x="81" y="230"/>
                  </a:cubicBezTo>
                  <a:cubicBezTo>
                    <a:pt x="79" y="233"/>
                    <a:pt x="78" y="236"/>
                    <a:pt x="77" y="239"/>
                  </a:cubicBezTo>
                  <a:cubicBezTo>
                    <a:pt x="77" y="241"/>
                    <a:pt x="77" y="244"/>
                    <a:pt x="77" y="24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7" name="Freeform 147"/>
            <p:cNvSpPr>
              <a:spLocks noChangeAspect="1"/>
            </p:cNvSpPr>
            <p:nvPr/>
          </p:nvSpPr>
          <p:spPr bwMode="auto">
            <a:xfrm>
              <a:off x="4670425" y="2559050"/>
              <a:ext cx="206375" cy="255588"/>
            </a:xfrm>
            <a:custGeom>
              <a:avLst/>
              <a:gdLst>
                <a:gd name="T0" fmla="*/ 179623 w 108"/>
                <a:gd name="T1" fmla="*/ 38147 h 134"/>
                <a:gd name="T2" fmla="*/ 170068 w 108"/>
                <a:gd name="T3" fmla="*/ 28611 h 134"/>
                <a:gd name="T4" fmla="*/ 147138 w 108"/>
                <a:gd name="T5" fmla="*/ 20981 h 134"/>
                <a:gd name="T6" fmla="*/ 124207 w 108"/>
                <a:gd name="T7" fmla="*/ 30518 h 134"/>
                <a:gd name="T8" fmla="*/ 118475 w 108"/>
                <a:gd name="T9" fmla="*/ 17166 h 134"/>
                <a:gd name="T10" fmla="*/ 99366 w 108"/>
                <a:gd name="T11" fmla="*/ 17166 h 134"/>
                <a:gd name="T12" fmla="*/ 91722 w 108"/>
                <a:gd name="T13" fmla="*/ 7629 h 134"/>
                <a:gd name="T14" fmla="*/ 74524 w 108"/>
                <a:gd name="T15" fmla="*/ 3815 h 134"/>
                <a:gd name="T16" fmla="*/ 61148 w 108"/>
                <a:gd name="T17" fmla="*/ 0 h 134"/>
                <a:gd name="T18" fmla="*/ 66881 w 108"/>
                <a:gd name="T19" fmla="*/ 15259 h 134"/>
                <a:gd name="T20" fmla="*/ 66881 w 108"/>
                <a:gd name="T21" fmla="*/ 28611 h 134"/>
                <a:gd name="T22" fmla="*/ 68792 w 108"/>
                <a:gd name="T23" fmla="*/ 32425 h 134"/>
                <a:gd name="T24" fmla="*/ 59237 w 108"/>
                <a:gd name="T25" fmla="*/ 36240 h 134"/>
                <a:gd name="T26" fmla="*/ 53505 w 108"/>
                <a:gd name="T27" fmla="*/ 41962 h 134"/>
                <a:gd name="T28" fmla="*/ 45861 w 108"/>
                <a:gd name="T29" fmla="*/ 49592 h 134"/>
                <a:gd name="T30" fmla="*/ 36307 w 108"/>
                <a:gd name="T31" fmla="*/ 41962 h 134"/>
                <a:gd name="T32" fmla="*/ 30574 w 108"/>
                <a:gd name="T33" fmla="*/ 51499 h 134"/>
                <a:gd name="T34" fmla="*/ 26752 w 108"/>
                <a:gd name="T35" fmla="*/ 66758 h 134"/>
                <a:gd name="T36" fmla="*/ 24841 w 108"/>
                <a:gd name="T37" fmla="*/ 87739 h 134"/>
                <a:gd name="T38" fmla="*/ 17198 w 108"/>
                <a:gd name="T39" fmla="*/ 101091 h 134"/>
                <a:gd name="T40" fmla="*/ 1911 w 108"/>
                <a:gd name="T41" fmla="*/ 102998 h 134"/>
                <a:gd name="T42" fmla="*/ 3822 w 108"/>
                <a:gd name="T43" fmla="*/ 125887 h 134"/>
                <a:gd name="T44" fmla="*/ 1911 w 108"/>
                <a:gd name="T45" fmla="*/ 137331 h 134"/>
                <a:gd name="T46" fmla="*/ 5733 w 108"/>
                <a:gd name="T47" fmla="*/ 146868 h 134"/>
                <a:gd name="T48" fmla="*/ 11465 w 108"/>
                <a:gd name="T49" fmla="*/ 152590 h 134"/>
                <a:gd name="T50" fmla="*/ 5733 w 108"/>
                <a:gd name="T51" fmla="*/ 164034 h 134"/>
                <a:gd name="T52" fmla="*/ 13376 w 108"/>
                <a:gd name="T53" fmla="*/ 173571 h 134"/>
                <a:gd name="T54" fmla="*/ 15287 w 108"/>
                <a:gd name="T55" fmla="*/ 183108 h 134"/>
                <a:gd name="T56" fmla="*/ 28663 w 108"/>
                <a:gd name="T57" fmla="*/ 192645 h 134"/>
                <a:gd name="T58" fmla="*/ 42039 w 108"/>
                <a:gd name="T59" fmla="*/ 196459 h 134"/>
                <a:gd name="T60" fmla="*/ 47772 w 108"/>
                <a:gd name="T61" fmla="*/ 204089 h 134"/>
                <a:gd name="T62" fmla="*/ 40128 w 108"/>
                <a:gd name="T63" fmla="*/ 226977 h 134"/>
                <a:gd name="T64" fmla="*/ 40128 w 108"/>
                <a:gd name="T65" fmla="*/ 247959 h 134"/>
                <a:gd name="T66" fmla="*/ 55416 w 108"/>
                <a:gd name="T67" fmla="*/ 246051 h 134"/>
                <a:gd name="T68" fmla="*/ 61148 w 108"/>
                <a:gd name="T69" fmla="*/ 238422 h 134"/>
                <a:gd name="T70" fmla="*/ 78346 w 108"/>
                <a:gd name="T71" fmla="*/ 242236 h 134"/>
                <a:gd name="T72" fmla="*/ 85990 w 108"/>
                <a:gd name="T73" fmla="*/ 253681 h 134"/>
                <a:gd name="T74" fmla="*/ 101277 w 108"/>
                <a:gd name="T75" fmla="*/ 255588 h 134"/>
                <a:gd name="T76" fmla="*/ 114653 w 108"/>
                <a:gd name="T77" fmla="*/ 247959 h 134"/>
                <a:gd name="T78" fmla="*/ 131851 w 108"/>
                <a:gd name="T79" fmla="*/ 246051 h 134"/>
                <a:gd name="T80" fmla="*/ 162425 w 108"/>
                <a:gd name="T81" fmla="*/ 236514 h 134"/>
                <a:gd name="T82" fmla="*/ 171979 w 108"/>
                <a:gd name="T83" fmla="*/ 219348 h 134"/>
                <a:gd name="T84" fmla="*/ 181534 w 108"/>
                <a:gd name="T85" fmla="*/ 211718 h 134"/>
                <a:gd name="T86" fmla="*/ 168157 w 108"/>
                <a:gd name="T87" fmla="*/ 192645 h 134"/>
                <a:gd name="T88" fmla="*/ 149049 w 108"/>
                <a:gd name="T89" fmla="*/ 171664 h 134"/>
                <a:gd name="T90" fmla="*/ 139494 w 108"/>
                <a:gd name="T91" fmla="*/ 154497 h 134"/>
                <a:gd name="T92" fmla="*/ 152870 w 108"/>
                <a:gd name="T93" fmla="*/ 150682 h 134"/>
                <a:gd name="T94" fmla="*/ 179623 w 108"/>
                <a:gd name="T95" fmla="*/ 141146 h 134"/>
                <a:gd name="T96" fmla="*/ 192999 w 108"/>
                <a:gd name="T97" fmla="*/ 129701 h 134"/>
                <a:gd name="T98" fmla="*/ 204464 w 108"/>
                <a:gd name="T99" fmla="*/ 129701 h 134"/>
                <a:gd name="T100" fmla="*/ 198731 w 108"/>
                <a:gd name="T101" fmla="*/ 116350 h 134"/>
                <a:gd name="T102" fmla="*/ 198731 w 108"/>
                <a:gd name="T103" fmla="*/ 97276 h 134"/>
                <a:gd name="T104" fmla="*/ 194910 w 108"/>
                <a:gd name="T105" fmla="*/ 82017 h 134"/>
                <a:gd name="T106" fmla="*/ 191088 w 108"/>
                <a:gd name="T107" fmla="*/ 53406 h 13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8"/>
                <a:gd name="T163" fmla="*/ 0 h 134"/>
                <a:gd name="T164" fmla="*/ 108 w 108"/>
                <a:gd name="T165" fmla="*/ 134 h 13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8" h="134">
                  <a:moveTo>
                    <a:pt x="98" y="21"/>
                  </a:moveTo>
                  <a:cubicBezTo>
                    <a:pt x="97" y="21"/>
                    <a:pt x="94" y="21"/>
                    <a:pt x="94" y="20"/>
                  </a:cubicBezTo>
                  <a:cubicBezTo>
                    <a:pt x="94" y="19"/>
                    <a:pt x="98" y="19"/>
                    <a:pt x="97" y="18"/>
                  </a:cubicBezTo>
                  <a:cubicBezTo>
                    <a:pt x="95" y="16"/>
                    <a:pt x="92" y="17"/>
                    <a:pt x="89" y="15"/>
                  </a:cubicBezTo>
                  <a:cubicBezTo>
                    <a:pt x="87" y="14"/>
                    <a:pt x="86" y="12"/>
                    <a:pt x="84" y="11"/>
                  </a:cubicBezTo>
                  <a:cubicBezTo>
                    <a:pt x="82" y="11"/>
                    <a:pt x="79" y="11"/>
                    <a:pt x="77" y="11"/>
                  </a:cubicBezTo>
                  <a:cubicBezTo>
                    <a:pt x="75" y="12"/>
                    <a:pt x="73" y="13"/>
                    <a:pt x="71" y="13"/>
                  </a:cubicBezTo>
                  <a:cubicBezTo>
                    <a:pt x="69" y="14"/>
                    <a:pt x="67" y="15"/>
                    <a:pt x="65" y="16"/>
                  </a:cubicBezTo>
                  <a:cubicBezTo>
                    <a:pt x="62" y="16"/>
                    <a:pt x="58" y="19"/>
                    <a:pt x="57" y="16"/>
                  </a:cubicBezTo>
                  <a:cubicBezTo>
                    <a:pt x="56" y="13"/>
                    <a:pt x="62" y="12"/>
                    <a:pt x="62" y="9"/>
                  </a:cubicBezTo>
                  <a:cubicBezTo>
                    <a:pt x="62" y="7"/>
                    <a:pt x="59" y="11"/>
                    <a:pt x="57" y="11"/>
                  </a:cubicBezTo>
                  <a:cubicBezTo>
                    <a:pt x="55" y="11"/>
                    <a:pt x="54" y="10"/>
                    <a:pt x="52" y="9"/>
                  </a:cubicBezTo>
                  <a:cubicBezTo>
                    <a:pt x="50" y="9"/>
                    <a:pt x="48" y="11"/>
                    <a:pt x="46" y="9"/>
                  </a:cubicBezTo>
                  <a:cubicBezTo>
                    <a:pt x="45" y="8"/>
                    <a:pt x="49" y="6"/>
                    <a:pt x="48" y="4"/>
                  </a:cubicBezTo>
                  <a:cubicBezTo>
                    <a:pt x="47" y="3"/>
                    <a:pt x="45" y="3"/>
                    <a:pt x="44" y="3"/>
                  </a:cubicBezTo>
                  <a:cubicBezTo>
                    <a:pt x="42" y="3"/>
                    <a:pt x="41" y="3"/>
                    <a:pt x="39" y="2"/>
                  </a:cubicBezTo>
                  <a:cubicBezTo>
                    <a:pt x="38" y="2"/>
                    <a:pt x="37" y="1"/>
                    <a:pt x="36" y="1"/>
                  </a:cubicBezTo>
                  <a:cubicBezTo>
                    <a:pt x="34" y="1"/>
                    <a:pt x="33" y="1"/>
                    <a:pt x="32" y="0"/>
                  </a:cubicBezTo>
                  <a:cubicBezTo>
                    <a:pt x="32" y="1"/>
                    <a:pt x="32" y="3"/>
                    <a:pt x="32" y="3"/>
                  </a:cubicBezTo>
                  <a:cubicBezTo>
                    <a:pt x="33" y="5"/>
                    <a:pt x="35" y="6"/>
                    <a:pt x="35" y="8"/>
                  </a:cubicBezTo>
                  <a:cubicBezTo>
                    <a:pt x="34" y="10"/>
                    <a:pt x="30" y="9"/>
                    <a:pt x="30" y="11"/>
                  </a:cubicBezTo>
                  <a:cubicBezTo>
                    <a:pt x="30" y="13"/>
                    <a:pt x="34" y="13"/>
                    <a:pt x="35" y="15"/>
                  </a:cubicBezTo>
                  <a:cubicBezTo>
                    <a:pt x="35" y="16"/>
                    <a:pt x="31" y="14"/>
                    <a:pt x="32" y="15"/>
                  </a:cubicBezTo>
                  <a:cubicBezTo>
                    <a:pt x="33" y="16"/>
                    <a:pt x="35" y="16"/>
                    <a:pt x="36" y="17"/>
                  </a:cubicBezTo>
                  <a:cubicBezTo>
                    <a:pt x="37" y="18"/>
                    <a:pt x="37" y="20"/>
                    <a:pt x="37" y="20"/>
                  </a:cubicBezTo>
                  <a:cubicBezTo>
                    <a:pt x="35" y="21"/>
                    <a:pt x="32" y="18"/>
                    <a:pt x="31" y="19"/>
                  </a:cubicBezTo>
                  <a:cubicBezTo>
                    <a:pt x="29" y="21"/>
                    <a:pt x="33" y="24"/>
                    <a:pt x="32" y="25"/>
                  </a:cubicBezTo>
                  <a:cubicBezTo>
                    <a:pt x="31" y="26"/>
                    <a:pt x="29" y="21"/>
                    <a:pt x="28" y="22"/>
                  </a:cubicBezTo>
                  <a:cubicBezTo>
                    <a:pt x="27" y="23"/>
                    <a:pt x="29" y="26"/>
                    <a:pt x="28" y="27"/>
                  </a:cubicBezTo>
                  <a:cubicBezTo>
                    <a:pt x="27" y="28"/>
                    <a:pt x="25" y="27"/>
                    <a:pt x="24" y="26"/>
                  </a:cubicBezTo>
                  <a:cubicBezTo>
                    <a:pt x="23" y="25"/>
                    <a:pt x="25" y="23"/>
                    <a:pt x="24" y="23"/>
                  </a:cubicBezTo>
                  <a:cubicBezTo>
                    <a:pt x="23" y="21"/>
                    <a:pt x="20" y="22"/>
                    <a:pt x="19" y="22"/>
                  </a:cubicBezTo>
                  <a:cubicBezTo>
                    <a:pt x="17" y="23"/>
                    <a:pt x="15" y="24"/>
                    <a:pt x="14" y="26"/>
                  </a:cubicBezTo>
                  <a:cubicBezTo>
                    <a:pt x="14" y="26"/>
                    <a:pt x="16" y="26"/>
                    <a:pt x="16" y="27"/>
                  </a:cubicBezTo>
                  <a:cubicBezTo>
                    <a:pt x="16" y="28"/>
                    <a:pt x="15" y="30"/>
                    <a:pt x="15" y="31"/>
                  </a:cubicBezTo>
                  <a:cubicBezTo>
                    <a:pt x="15" y="32"/>
                    <a:pt x="15" y="33"/>
                    <a:pt x="14" y="35"/>
                  </a:cubicBezTo>
                  <a:cubicBezTo>
                    <a:pt x="14" y="37"/>
                    <a:pt x="12" y="38"/>
                    <a:pt x="12" y="40"/>
                  </a:cubicBezTo>
                  <a:cubicBezTo>
                    <a:pt x="12" y="42"/>
                    <a:pt x="13" y="44"/>
                    <a:pt x="13" y="46"/>
                  </a:cubicBezTo>
                  <a:cubicBezTo>
                    <a:pt x="12" y="47"/>
                    <a:pt x="10" y="48"/>
                    <a:pt x="9" y="49"/>
                  </a:cubicBezTo>
                  <a:cubicBezTo>
                    <a:pt x="9" y="51"/>
                    <a:pt x="10" y="52"/>
                    <a:pt x="9" y="53"/>
                  </a:cubicBezTo>
                  <a:cubicBezTo>
                    <a:pt x="8" y="54"/>
                    <a:pt x="6" y="54"/>
                    <a:pt x="5" y="54"/>
                  </a:cubicBezTo>
                  <a:cubicBezTo>
                    <a:pt x="4" y="55"/>
                    <a:pt x="1" y="53"/>
                    <a:pt x="1" y="54"/>
                  </a:cubicBezTo>
                  <a:cubicBezTo>
                    <a:pt x="0" y="57"/>
                    <a:pt x="3" y="59"/>
                    <a:pt x="3" y="62"/>
                  </a:cubicBezTo>
                  <a:cubicBezTo>
                    <a:pt x="3" y="63"/>
                    <a:pt x="3" y="65"/>
                    <a:pt x="2" y="66"/>
                  </a:cubicBezTo>
                  <a:cubicBezTo>
                    <a:pt x="2" y="67"/>
                    <a:pt x="1" y="68"/>
                    <a:pt x="1" y="69"/>
                  </a:cubicBezTo>
                  <a:cubicBezTo>
                    <a:pt x="0" y="70"/>
                    <a:pt x="1" y="71"/>
                    <a:pt x="1" y="72"/>
                  </a:cubicBezTo>
                  <a:cubicBezTo>
                    <a:pt x="2" y="73"/>
                    <a:pt x="3" y="74"/>
                    <a:pt x="4" y="75"/>
                  </a:cubicBezTo>
                  <a:cubicBezTo>
                    <a:pt x="4" y="75"/>
                    <a:pt x="3" y="76"/>
                    <a:pt x="3" y="77"/>
                  </a:cubicBezTo>
                  <a:cubicBezTo>
                    <a:pt x="4" y="77"/>
                    <a:pt x="5" y="77"/>
                    <a:pt x="5" y="77"/>
                  </a:cubicBezTo>
                  <a:cubicBezTo>
                    <a:pt x="6" y="78"/>
                    <a:pt x="6" y="79"/>
                    <a:pt x="6" y="80"/>
                  </a:cubicBezTo>
                  <a:cubicBezTo>
                    <a:pt x="5" y="82"/>
                    <a:pt x="3" y="82"/>
                    <a:pt x="2" y="83"/>
                  </a:cubicBezTo>
                  <a:cubicBezTo>
                    <a:pt x="2" y="84"/>
                    <a:pt x="3" y="85"/>
                    <a:pt x="3" y="86"/>
                  </a:cubicBezTo>
                  <a:cubicBezTo>
                    <a:pt x="4" y="87"/>
                    <a:pt x="5" y="88"/>
                    <a:pt x="6" y="89"/>
                  </a:cubicBezTo>
                  <a:cubicBezTo>
                    <a:pt x="7" y="89"/>
                    <a:pt x="7" y="90"/>
                    <a:pt x="7" y="91"/>
                  </a:cubicBezTo>
                  <a:cubicBezTo>
                    <a:pt x="7" y="92"/>
                    <a:pt x="6" y="93"/>
                    <a:pt x="6" y="95"/>
                  </a:cubicBezTo>
                  <a:cubicBezTo>
                    <a:pt x="7" y="95"/>
                    <a:pt x="7" y="96"/>
                    <a:pt x="8" y="96"/>
                  </a:cubicBezTo>
                  <a:cubicBezTo>
                    <a:pt x="9" y="97"/>
                    <a:pt x="10" y="98"/>
                    <a:pt x="11" y="99"/>
                  </a:cubicBezTo>
                  <a:cubicBezTo>
                    <a:pt x="12" y="100"/>
                    <a:pt x="13" y="100"/>
                    <a:pt x="15" y="101"/>
                  </a:cubicBezTo>
                  <a:cubicBezTo>
                    <a:pt x="16" y="101"/>
                    <a:pt x="17" y="100"/>
                    <a:pt x="18" y="100"/>
                  </a:cubicBezTo>
                  <a:cubicBezTo>
                    <a:pt x="20" y="101"/>
                    <a:pt x="21" y="102"/>
                    <a:pt x="22" y="103"/>
                  </a:cubicBezTo>
                  <a:cubicBezTo>
                    <a:pt x="24" y="103"/>
                    <a:pt x="27" y="103"/>
                    <a:pt x="28" y="104"/>
                  </a:cubicBezTo>
                  <a:cubicBezTo>
                    <a:pt x="28" y="106"/>
                    <a:pt x="26" y="106"/>
                    <a:pt x="25" y="107"/>
                  </a:cubicBezTo>
                  <a:cubicBezTo>
                    <a:pt x="24" y="109"/>
                    <a:pt x="24" y="111"/>
                    <a:pt x="23" y="113"/>
                  </a:cubicBezTo>
                  <a:cubicBezTo>
                    <a:pt x="22" y="115"/>
                    <a:pt x="21" y="117"/>
                    <a:pt x="21" y="119"/>
                  </a:cubicBezTo>
                  <a:cubicBezTo>
                    <a:pt x="21" y="120"/>
                    <a:pt x="21" y="122"/>
                    <a:pt x="21" y="124"/>
                  </a:cubicBezTo>
                  <a:cubicBezTo>
                    <a:pt x="21" y="126"/>
                    <a:pt x="21" y="128"/>
                    <a:pt x="21" y="130"/>
                  </a:cubicBezTo>
                  <a:cubicBezTo>
                    <a:pt x="22" y="130"/>
                    <a:pt x="24" y="131"/>
                    <a:pt x="26" y="131"/>
                  </a:cubicBezTo>
                  <a:cubicBezTo>
                    <a:pt x="27" y="130"/>
                    <a:pt x="28" y="129"/>
                    <a:pt x="29" y="129"/>
                  </a:cubicBezTo>
                  <a:cubicBezTo>
                    <a:pt x="30" y="128"/>
                    <a:pt x="31" y="129"/>
                    <a:pt x="32" y="128"/>
                  </a:cubicBezTo>
                  <a:cubicBezTo>
                    <a:pt x="33" y="127"/>
                    <a:pt x="31" y="125"/>
                    <a:pt x="32" y="125"/>
                  </a:cubicBezTo>
                  <a:cubicBezTo>
                    <a:pt x="33" y="125"/>
                    <a:pt x="35" y="127"/>
                    <a:pt x="36" y="127"/>
                  </a:cubicBezTo>
                  <a:cubicBezTo>
                    <a:pt x="38" y="127"/>
                    <a:pt x="39" y="127"/>
                    <a:pt x="41" y="127"/>
                  </a:cubicBezTo>
                  <a:cubicBezTo>
                    <a:pt x="42" y="128"/>
                    <a:pt x="43" y="129"/>
                    <a:pt x="44" y="130"/>
                  </a:cubicBezTo>
                  <a:cubicBezTo>
                    <a:pt x="44" y="131"/>
                    <a:pt x="44" y="132"/>
                    <a:pt x="45" y="133"/>
                  </a:cubicBezTo>
                  <a:cubicBezTo>
                    <a:pt x="46" y="132"/>
                    <a:pt x="46" y="129"/>
                    <a:pt x="47" y="129"/>
                  </a:cubicBezTo>
                  <a:cubicBezTo>
                    <a:pt x="50" y="130"/>
                    <a:pt x="51" y="134"/>
                    <a:pt x="53" y="134"/>
                  </a:cubicBezTo>
                  <a:cubicBezTo>
                    <a:pt x="55" y="134"/>
                    <a:pt x="53" y="130"/>
                    <a:pt x="55" y="130"/>
                  </a:cubicBezTo>
                  <a:cubicBezTo>
                    <a:pt x="56" y="129"/>
                    <a:pt x="58" y="130"/>
                    <a:pt x="60" y="130"/>
                  </a:cubicBezTo>
                  <a:cubicBezTo>
                    <a:pt x="62" y="131"/>
                    <a:pt x="63" y="133"/>
                    <a:pt x="65" y="132"/>
                  </a:cubicBezTo>
                  <a:cubicBezTo>
                    <a:pt x="66" y="132"/>
                    <a:pt x="67" y="130"/>
                    <a:pt x="69" y="129"/>
                  </a:cubicBezTo>
                  <a:cubicBezTo>
                    <a:pt x="71" y="128"/>
                    <a:pt x="74" y="128"/>
                    <a:pt x="77" y="127"/>
                  </a:cubicBezTo>
                  <a:cubicBezTo>
                    <a:pt x="79" y="126"/>
                    <a:pt x="83" y="126"/>
                    <a:pt x="85" y="124"/>
                  </a:cubicBezTo>
                  <a:cubicBezTo>
                    <a:pt x="86" y="122"/>
                    <a:pt x="82" y="120"/>
                    <a:pt x="83" y="118"/>
                  </a:cubicBezTo>
                  <a:cubicBezTo>
                    <a:pt x="84" y="116"/>
                    <a:pt x="88" y="117"/>
                    <a:pt x="90" y="115"/>
                  </a:cubicBezTo>
                  <a:cubicBezTo>
                    <a:pt x="91" y="114"/>
                    <a:pt x="89" y="112"/>
                    <a:pt x="90" y="111"/>
                  </a:cubicBezTo>
                  <a:cubicBezTo>
                    <a:pt x="91" y="111"/>
                    <a:pt x="94" y="112"/>
                    <a:pt x="95" y="111"/>
                  </a:cubicBezTo>
                  <a:cubicBezTo>
                    <a:pt x="95" y="111"/>
                    <a:pt x="95" y="109"/>
                    <a:pt x="95" y="108"/>
                  </a:cubicBezTo>
                  <a:cubicBezTo>
                    <a:pt x="93" y="106"/>
                    <a:pt x="91" y="103"/>
                    <a:pt x="88" y="101"/>
                  </a:cubicBezTo>
                  <a:cubicBezTo>
                    <a:pt x="86" y="100"/>
                    <a:pt x="84" y="99"/>
                    <a:pt x="82" y="97"/>
                  </a:cubicBezTo>
                  <a:cubicBezTo>
                    <a:pt x="80" y="95"/>
                    <a:pt x="79" y="93"/>
                    <a:pt x="78" y="90"/>
                  </a:cubicBezTo>
                  <a:cubicBezTo>
                    <a:pt x="77" y="89"/>
                    <a:pt x="79" y="87"/>
                    <a:pt x="78" y="86"/>
                  </a:cubicBezTo>
                  <a:cubicBezTo>
                    <a:pt x="77" y="84"/>
                    <a:pt x="74" y="83"/>
                    <a:pt x="73" y="81"/>
                  </a:cubicBezTo>
                  <a:cubicBezTo>
                    <a:pt x="73" y="80"/>
                    <a:pt x="75" y="81"/>
                    <a:pt x="76" y="80"/>
                  </a:cubicBezTo>
                  <a:cubicBezTo>
                    <a:pt x="78" y="80"/>
                    <a:pt x="79" y="79"/>
                    <a:pt x="80" y="79"/>
                  </a:cubicBezTo>
                  <a:cubicBezTo>
                    <a:pt x="82" y="78"/>
                    <a:pt x="85" y="77"/>
                    <a:pt x="87" y="77"/>
                  </a:cubicBezTo>
                  <a:cubicBezTo>
                    <a:pt x="89" y="76"/>
                    <a:pt x="91" y="75"/>
                    <a:pt x="94" y="74"/>
                  </a:cubicBezTo>
                  <a:cubicBezTo>
                    <a:pt x="96" y="73"/>
                    <a:pt x="98" y="72"/>
                    <a:pt x="100" y="71"/>
                  </a:cubicBezTo>
                  <a:cubicBezTo>
                    <a:pt x="101" y="70"/>
                    <a:pt x="100" y="67"/>
                    <a:pt x="101" y="68"/>
                  </a:cubicBezTo>
                  <a:cubicBezTo>
                    <a:pt x="103" y="68"/>
                    <a:pt x="103" y="72"/>
                    <a:pt x="105" y="72"/>
                  </a:cubicBezTo>
                  <a:cubicBezTo>
                    <a:pt x="107" y="73"/>
                    <a:pt x="106" y="70"/>
                    <a:pt x="107" y="68"/>
                  </a:cubicBezTo>
                  <a:cubicBezTo>
                    <a:pt x="107" y="67"/>
                    <a:pt x="108" y="66"/>
                    <a:pt x="107" y="65"/>
                  </a:cubicBezTo>
                  <a:cubicBezTo>
                    <a:pt x="107" y="63"/>
                    <a:pt x="105" y="62"/>
                    <a:pt x="104" y="61"/>
                  </a:cubicBezTo>
                  <a:cubicBezTo>
                    <a:pt x="103" y="59"/>
                    <a:pt x="102" y="57"/>
                    <a:pt x="102" y="56"/>
                  </a:cubicBezTo>
                  <a:cubicBezTo>
                    <a:pt x="102" y="54"/>
                    <a:pt x="104" y="53"/>
                    <a:pt x="104" y="51"/>
                  </a:cubicBezTo>
                  <a:cubicBezTo>
                    <a:pt x="104" y="49"/>
                    <a:pt x="102" y="48"/>
                    <a:pt x="101" y="46"/>
                  </a:cubicBezTo>
                  <a:cubicBezTo>
                    <a:pt x="101" y="45"/>
                    <a:pt x="103" y="44"/>
                    <a:pt x="102" y="43"/>
                  </a:cubicBezTo>
                  <a:cubicBezTo>
                    <a:pt x="101" y="40"/>
                    <a:pt x="98" y="39"/>
                    <a:pt x="97" y="36"/>
                  </a:cubicBezTo>
                  <a:cubicBezTo>
                    <a:pt x="97" y="33"/>
                    <a:pt x="100" y="31"/>
                    <a:pt x="100" y="28"/>
                  </a:cubicBezTo>
                  <a:cubicBezTo>
                    <a:pt x="100" y="26"/>
                    <a:pt x="99" y="24"/>
                    <a:pt x="98" y="2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8" name="Freeform 148"/>
            <p:cNvSpPr>
              <a:spLocks noChangeAspect="1"/>
            </p:cNvSpPr>
            <p:nvPr/>
          </p:nvSpPr>
          <p:spPr bwMode="auto">
            <a:xfrm>
              <a:off x="4594225" y="2676525"/>
              <a:ext cx="87313" cy="61913"/>
            </a:xfrm>
            <a:custGeom>
              <a:avLst/>
              <a:gdLst>
                <a:gd name="T0" fmla="*/ 0 w 46"/>
                <a:gd name="T1" fmla="*/ 13133 h 33"/>
                <a:gd name="T2" fmla="*/ 9491 w 46"/>
                <a:gd name="T3" fmla="*/ 5628 h 33"/>
                <a:gd name="T4" fmla="*/ 17083 w 46"/>
                <a:gd name="T5" fmla="*/ 3752 h 33"/>
                <a:gd name="T6" fmla="*/ 24675 w 46"/>
                <a:gd name="T7" fmla="*/ 7505 h 33"/>
                <a:gd name="T8" fmla="*/ 32268 w 46"/>
                <a:gd name="T9" fmla="*/ 7505 h 33"/>
                <a:gd name="T10" fmla="*/ 34166 w 46"/>
                <a:gd name="T11" fmla="*/ 5628 h 33"/>
                <a:gd name="T12" fmla="*/ 39860 w 46"/>
                <a:gd name="T13" fmla="*/ 1876 h 33"/>
                <a:gd name="T14" fmla="*/ 43657 w 46"/>
                <a:gd name="T15" fmla="*/ 0 h 33"/>
                <a:gd name="T16" fmla="*/ 53147 w 46"/>
                <a:gd name="T17" fmla="*/ 0 h 33"/>
                <a:gd name="T18" fmla="*/ 58841 w 46"/>
                <a:gd name="T19" fmla="*/ 3752 h 33"/>
                <a:gd name="T20" fmla="*/ 60739 w 46"/>
                <a:gd name="T21" fmla="*/ 7505 h 33"/>
                <a:gd name="T22" fmla="*/ 66434 w 46"/>
                <a:gd name="T23" fmla="*/ 7505 h 33"/>
                <a:gd name="T24" fmla="*/ 72128 w 46"/>
                <a:gd name="T25" fmla="*/ 11257 h 33"/>
                <a:gd name="T26" fmla="*/ 70230 w 46"/>
                <a:gd name="T27" fmla="*/ 20638 h 33"/>
                <a:gd name="T28" fmla="*/ 77822 w 46"/>
                <a:gd name="T29" fmla="*/ 20638 h 33"/>
                <a:gd name="T30" fmla="*/ 83517 w 46"/>
                <a:gd name="T31" fmla="*/ 26266 h 33"/>
                <a:gd name="T32" fmla="*/ 81619 w 46"/>
                <a:gd name="T33" fmla="*/ 30018 h 33"/>
                <a:gd name="T34" fmla="*/ 85415 w 46"/>
                <a:gd name="T35" fmla="*/ 30018 h 33"/>
                <a:gd name="T36" fmla="*/ 87313 w 46"/>
                <a:gd name="T37" fmla="*/ 35647 h 33"/>
                <a:gd name="T38" fmla="*/ 79721 w 46"/>
                <a:gd name="T39" fmla="*/ 41275 h 33"/>
                <a:gd name="T40" fmla="*/ 75924 w 46"/>
                <a:gd name="T41" fmla="*/ 43151 h 33"/>
                <a:gd name="T42" fmla="*/ 72128 w 46"/>
                <a:gd name="T43" fmla="*/ 48780 h 33"/>
                <a:gd name="T44" fmla="*/ 74026 w 46"/>
                <a:gd name="T45" fmla="*/ 54408 h 33"/>
                <a:gd name="T46" fmla="*/ 75924 w 46"/>
                <a:gd name="T47" fmla="*/ 61913 h 33"/>
                <a:gd name="T48" fmla="*/ 70230 w 46"/>
                <a:gd name="T49" fmla="*/ 61913 h 33"/>
                <a:gd name="T50" fmla="*/ 62638 w 46"/>
                <a:gd name="T51" fmla="*/ 58161 h 33"/>
                <a:gd name="T52" fmla="*/ 55045 w 46"/>
                <a:gd name="T53" fmla="*/ 52532 h 33"/>
                <a:gd name="T54" fmla="*/ 51249 w 46"/>
                <a:gd name="T55" fmla="*/ 46904 h 33"/>
                <a:gd name="T56" fmla="*/ 47453 w 46"/>
                <a:gd name="T57" fmla="*/ 46904 h 33"/>
                <a:gd name="T58" fmla="*/ 39860 w 46"/>
                <a:gd name="T59" fmla="*/ 46904 h 33"/>
                <a:gd name="T60" fmla="*/ 37962 w 46"/>
                <a:gd name="T61" fmla="*/ 41275 h 33"/>
                <a:gd name="T62" fmla="*/ 34166 w 46"/>
                <a:gd name="T63" fmla="*/ 35647 h 33"/>
                <a:gd name="T64" fmla="*/ 26574 w 46"/>
                <a:gd name="T65" fmla="*/ 35647 h 33"/>
                <a:gd name="T66" fmla="*/ 24675 w 46"/>
                <a:gd name="T67" fmla="*/ 31895 h 33"/>
                <a:gd name="T68" fmla="*/ 17083 w 46"/>
                <a:gd name="T69" fmla="*/ 30018 h 33"/>
                <a:gd name="T70" fmla="*/ 13287 w 46"/>
                <a:gd name="T71" fmla="*/ 24390 h 33"/>
                <a:gd name="T72" fmla="*/ 7592 w 46"/>
                <a:gd name="T73" fmla="*/ 22514 h 33"/>
                <a:gd name="T74" fmla="*/ 3796 w 46"/>
                <a:gd name="T75" fmla="*/ 20638 h 33"/>
                <a:gd name="T76" fmla="*/ 0 w 46"/>
                <a:gd name="T77" fmla="*/ 13133 h 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6"/>
                <a:gd name="T118" fmla="*/ 0 h 33"/>
                <a:gd name="T119" fmla="*/ 46 w 46"/>
                <a:gd name="T120" fmla="*/ 33 h 3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6" h="33">
                  <a:moveTo>
                    <a:pt x="0" y="7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6" y="3"/>
                    <a:pt x="7" y="2"/>
                    <a:pt x="9" y="2"/>
                  </a:cubicBezTo>
                  <a:cubicBezTo>
                    <a:pt x="10" y="2"/>
                    <a:pt x="12" y="3"/>
                    <a:pt x="13" y="4"/>
                  </a:cubicBezTo>
                  <a:cubicBezTo>
                    <a:pt x="15" y="4"/>
                    <a:pt x="16" y="4"/>
                    <a:pt x="17" y="4"/>
                  </a:cubicBezTo>
                  <a:cubicBezTo>
                    <a:pt x="17" y="4"/>
                    <a:pt x="18" y="3"/>
                    <a:pt x="18" y="3"/>
                  </a:cubicBezTo>
                  <a:cubicBezTo>
                    <a:pt x="19" y="2"/>
                    <a:pt x="20" y="2"/>
                    <a:pt x="21" y="1"/>
                  </a:cubicBezTo>
                  <a:cubicBezTo>
                    <a:pt x="21" y="1"/>
                    <a:pt x="22" y="0"/>
                    <a:pt x="23" y="0"/>
                  </a:cubicBezTo>
                  <a:cubicBezTo>
                    <a:pt x="25" y="0"/>
                    <a:pt x="26" y="0"/>
                    <a:pt x="28" y="0"/>
                  </a:cubicBezTo>
                  <a:cubicBezTo>
                    <a:pt x="29" y="0"/>
                    <a:pt x="31" y="1"/>
                    <a:pt x="31" y="2"/>
                  </a:cubicBezTo>
                  <a:cubicBezTo>
                    <a:pt x="32" y="2"/>
                    <a:pt x="31" y="4"/>
                    <a:pt x="32" y="4"/>
                  </a:cubicBezTo>
                  <a:cubicBezTo>
                    <a:pt x="33" y="5"/>
                    <a:pt x="34" y="3"/>
                    <a:pt x="35" y="4"/>
                  </a:cubicBezTo>
                  <a:cubicBezTo>
                    <a:pt x="36" y="4"/>
                    <a:pt x="38" y="5"/>
                    <a:pt x="38" y="6"/>
                  </a:cubicBezTo>
                  <a:cubicBezTo>
                    <a:pt x="39" y="7"/>
                    <a:pt x="37" y="9"/>
                    <a:pt x="37" y="11"/>
                  </a:cubicBezTo>
                  <a:cubicBezTo>
                    <a:pt x="38" y="12"/>
                    <a:pt x="40" y="11"/>
                    <a:pt x="41" y="11"/>
                  </a:cubicBezTo>
                  <a:cubicBezTo>
                    <a:pt x="42" y="12"/>
                    <a:pt x="43" y="13"/>
                    <a:pt x="44" y="14"/>
                  </a:cubicBezTo>
                  <a:cubicBezTo>
                    <a:pt x="44" y="14"/>
                    <a:pt x="43" y="15"/>
                    <a:pt x="43" y="16"/>
                  </a:cubicBezTo>
                  <a:cubicBezTo>
                    <a:pt x="44" y="16"/>
                    <a:pt x="45" y="16"/>
                    <a:pt x="45" y="16"/>
                  </a:cubicBezTo>
                  <a:cubicBezTo>
                    <a:pt x="46" y="17"/>
                    <a:pt x="46" y="18"/>
                    <a:pt x="46" y="19"/>
                  </a:cubicBezTo>
                  <a:cubicBezTo>
                    <a:pt x="45" y="21"/>
                    <a:pt x="43" y="21"/>
                    <a:pt x="42" y="22"/>
                  </a:cubicBezTo>
                  <a:cubicBezTo>
                    <a:pt x="41" y="22"/>
                    <a:pt x="40" y="22"/>
                    <a:pt x="40" y="23"/>
                  </a:cubicBezTo>
                  <a:cubicBezTo>
                    <a:pt x="39" y="24"/>
                    <a:pt x="38" y="25"/>
                    <a:pt x="38" y="26"/>
                  </a:cubicBezTo>
                  <a:cubicBezTo>
                    <a:pt x="38" y="27"/>
                    <a:pt x="39" y="28"/>
                    <a:pt x="39" y="29"/>
                  </a:cubicBezTo>
                  <a:cubicBezTo>
                    <a:pt x="39" y="30"/>
                    <a:pt x="40" y="32"/>
                    <a:pt x="40" y="33"/>
                  </a:cubicBezTo>
                  <a:cubicBezTo>
                    <a:pt x="39" y="33"/>
                    <a:pt x="38" y="33"/>
                    <a:pt x="37" y="33"/>
                  </a:cubicBezTo>
                  <a:cubicBezTo>
                    <a:pt x="36" y="32"/>
                    <a:pt x="34" y="32"/>
                    <a:pt x="33" y="31"/>
                  </a:cubicBezTo>
                  <a:cubicBezTo>
                    <a:pt x="32" y="30"/>
                    <a:pt x="30" y="29"/>
                    <a:pt x="29" y="28"/>
                  </a:cubicBezTo>
                  <a:cubicBezTo>
                    <a:pt x="28" y="27"/>
                    <a:pt x="28" y="25"/>
                    <a:pt x="27" y="25"/>
                  </a:cubicBezTo>
                  <a:cubicBezTo>
                    <a:pt x="26" y="24"/>
                    <a:pt x="25" y="25"/>
                    <a:pt x="25" y="25"/>
                  </a:cubicBezTo>
                  <a:cubicBezTo>
                    <a:pt x="23" y="25"/>
                    <a:pt x="22" y="26"/>
                    <a:pt x="21" y="25"/>
                  </a:cubicBezTo>
                  <a:cubicBezTo>
                    <a:pt x="20" y="25"/>
                    <a:pt x="21" y="23"/>
                    <a:pt x="20" y="22"/>
                  </a:cubicBezTo>
                  <a:cubicBezTo>
                    <a:pt x="20" y="21"/>
                    <a:pt x="20" y="19"/>
                    <a:pt x="18" y="19"/>
                  </a:cubicBezTo>
                  <a:cubicBezTo>
                    <a:pt x="17" y="18"/>
                    <a:pt x="16" y="19"/>
                    <a:pt x="14" y="19"/>
                  </a:cubicBezTo>
                  <a:cubicBezTo>
                    <a:pt x="14" y="18"/>
                    <a:pt x="13" y="17"/>
                    <a:pt x="13" y="17"/>
                  </a:cubicBezTo>
                  <a:cubicBezTo>
                    <a:pt x="12" y="16"/>
                    <a:pt x="10" y="17"/>
                    <a:pt x="9" y="16"/>
                  </a:cubicBezTo>
                  <a:cubicBezTo>
                    <a:pt x="8" y="15"/>
                    <a:pt x="8" y="13"/>
                    <a:pt x="7" y="13"/>
                  </a:cubicBezTo>
                  <a:cubicBezTo>
                    <a:pt x="6" y="12"/>
                    <a:pt x="5" y="12"/>
                    <a:pt x="4" y="12"/>
                  </a:cubicBezTo>
                  <a:cubicBezTo>
                    <a:pt x="3" y="12"/>
                    <a:pt x="2" y="12"/>
                    <a:pt x="2" y="11"/>
                  </a:cubicBezTo>
                  <a:cubicBezTo>
                    <a:pt x="1" y="10"/>
                    <a:pt x="0" y="8"/>
                    <a:pt x="0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49" name="Freeform 149"/>
            <p:cNvSpPr>
              <a:spLocks noChangeAspect="1"/>
            </p:cNvSpPr>
            <p:nvPr/>
          </p:nvSpPr>
          <p:spPr bwMode="auto">
            <a:xfrm>
              <a:off x="4632325" y="2609850"/>
              <a:ext cx="66675" cy="88900"/>
            </a:xfrm>
            <a:custGeom>
              <a:avLst/>
              <a:gdLst>
                <a:gd name="T0" fmla="*/ 1905 w 35"/>
                <a:gd name="T1" fmla="*/ 68094 h 47"/>
                <a:gd name="T2" fmla="*/ 0 w 35"/>
                <a:gd name="T3" fmla="*/ 58636 h 47"/>
                <a:gd name="T4" fmla="*/ 0 w 35"/>
                <a:gd name="T5" fmla="*/ 51070 h 47"/>
                <a:gd name="T6" fmla="*/ 0 w 35"/>
                <a:gd name="T7" fmla="*/ 43504 h 47"/>
                <a:gd name="T8" fmla="*/ 5715 w 35"/>
                <a:gd name="T9" fmla="*/ 34047 h 47"/>
                <a:gd name="T10" fmla="*/ 7620 w 35"/>
                <a:gd name="T11" fmla="*/ 22698 h 47"/>
                <a:gd name="T12" fmla="*/ 11430 w 35"/>
                <a:gd name="T13" fmla="*/ 17023 h 47"/>
                <a:gd name="T14" fmla="*/ 19050 w 35"/>
                <a:gd name="T15" fmla="*/ 15132 h 47"/>
                <a:gd name="T16" fmla="*/ 24765 w 35"/>
                <a:gd name="T17" fmla="*/ 9457 h 47"/>
                <a:gd name="T18" fmla="*/ 36195 w 35"/>
                <a:gd name="T19" fmla="*/ 1891 h 47"/>
                <a:gd name="T20" fmla="*/ 43815 w 35"/>
                <a:gd name="T21" fmla="*/ 3783 h 47"/>
                <a:gd name="T22" fmla="*/ 47625 w 35"/>
                <a:gd name="T23" fmla="*/ 1891 h 47"/>
                <a:gd name="T24" fmla="*/ 57150 w 35"/>
                <a:gd name="T25" fmla="*/ 0 h 47"/>
                <a:gd name="T26" fmla="*/ 59055 w 35"/>
                <a:gd name="T27" fmla="*/ 3783 h 47"/>
                <a:gd name="T28" fmla="*/ 62865 w 35"/>
                <a:gd name="T29" fmla="*/ 5674 h 47"/>
                <a:gd name="T30" fmla="*/ 66675 w 35"/>
                <a:gd name="T31" fmla="*/ 9457 h 47"/>
                <a:gd name="T32" fmla="*/ 64770 w 35"/>
                <a:gd name="T33" fmla="*/ 17023 h 47"/>
                <a:gd name="T34" fmla="*/ 60960 w 35"/>
                <a:gd name="T35" fmla="*/ 26481 h 47"/>
                <a:gd name="T36" fmla="*/ 62865 w 35"/>
                <a:gd name="T37" fmla="*/ 37830 h 47"/>
                <a:gd name="T38" fmla="*/ 55245 w 35"/>
                <a:gd name="T39" fmla="*/ 43504 h 47"/>
                <a:gd name="T40" fmla="*/ 55245 w 35"/>
                <a:gd name="T41" fmla="*/ 51070 h 47"/>
                <a:gd name="T42" fmla="*/ 47625 w 35"/>
                <a:gd name="T43" fmla="*/ 52962 h 47"/>
                <a:gd name="T44" fmla="*/ 40005 w 35"/>
                <a:gd name="T45" fmla="*/ 52962 h 47"/>
                <a:gd name="T46" fmla="*/ 43815 w 35"/>
                <a:gd name="T47" fmla="*/ 68094 h 47"/>
                <a:gd name="T48" fmla="*/ 41910 w 35"/>
                <a:gd name="T49" fmla="*/ 75660 h 47"/>
                <a:gd name="T50" fmla="*/ 40005 w 35"/>
                <a:gd name="T51" fmla="*/ 81334 h 47"/>
                <a:gd name="T52" fmla="*/ 40005 w 35"/>
                <a:gd name="T53" fmla="*/ 87009 h 47"/>
                <a:gd name="T54" fmla="*/ 32385 w 35"/>
                <a:gd name="T55" fmla="*/ 87009 h 47"/>
                <a:gd name="T56" fmla="*/ 34290 w 35"/>
                <a:gd name="T57" fmla="*/ 77551 h 47"/>
                <a:gd name="T58" fmla="*/ 28575 w 35"/>
                <a:gd name="T59" fmla="*/ 73768 h 47"/>
                <a:gd name="T60" fmla="*/ 22860 w 35"/>
                <a:gd name="T61" fmla="*/ 73768 h 47"/>
                <a:gd name="T62" fmla="*/ 20955 w 35"/>
                <a:gd name="T63" fmla="*/ 69985 h 47"/>
                <a:gd name="T64" fmla="*/ 15240 w 35"/>
                <a:gd name="T65" fmla="*/ 66202 h 47"/>
                <a:gd name="T66" fmla="*/ 5715 w 35"/>
                <a:gd name="T67" fmla="*/ 66202 h 47"/>
                <a:gd name="T68" fmla="*/ 1905 w 35"/>
                <a:gd name="T69" fmla="*/ 68094 h 4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"/>
                <a:gd name="T106" fmla="*/ 0 h 47"/>
                <a:gd name="T107" fmla="*/ 35 w 35"/>
                <a:gd name="T108" fmla="*/ 47 h 4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" h="47">
                  <a:moveTo>
                    <a:pt x="1" y="36"/>
                  </a:moveTo>
                  <a:cubicBezTo>
                    <a:pt x="1" y="34"/>
                    <a:pt x="0" y="32"/>
                    <a:pt x="0" y="31"/>
                  </a:cubicBezTo>
                  <a:cubicBezTo>
                    <a:pt x="0" y="29"/>
                    <a:pt x="0" y="28"/>
                    <a:pt x="0" y="27"/>
                  </a:cubicBezTo>
                  <a:cubicBezTo>
                    <a:pt x="0" y="26"/>
                    <a:pt x="0" y="25"/>
                    <a:pt x="0" y="23"/>
                  </a:cubicBezTo>
                  <a:cubicBezTo>
                    <a:pt x="1" y="21"/>
                    <a:pt x="2" y="20"/>
                    <a:pt x="3" y="18"/>
                  </a:cubicBezTo>
                  <a:cubicBezTo>
                    <a:pt x="4" y="16"/>
                    <a:pt x="4" y="14"/>
                    <a:pt x="4" y="12"/>
                  </a:cubicBezTo>
                  <a:cubicBezTo>
                    <a:pt x="5" y="11"/>
                    <a:pt x="5" y="10"/>
                    <a:pt x="6" y="9"/>
                  </a:cubicBezTo>
                  <a:cubicBezTo>
                    <a:pt x="8" y="8"/>
                    <a:pt x="9" y="9"/>
                    <a:pt x="10" y="8"/>
                  </a:cubicBezTo>
                  <a:cubicBezTo>
                    <a:pt x="12" y="7"/>
                    <a:pt x="12" y="6"/>
                    <a:pt x="13" y="5"/>
                  </a:cubicBezTo>
                  <a:cubicBezTo>
                    <a:pt x="15" y="3"/>
                    <a:pt x="17" y="2"/>
                    <a:pt x="19" y="1"/>
                  </a:cubicBezTo>
                  <a:cubicBezTo>
                    <a:pt x="20" y="1"/>
                    <a:pt x="22" y="2"/>
                    <a:pt x="23" y="2"/>
                  </a:cubicBezTo>
                  <a:cubicBezTo>
                    <a:pt x="24" y="2"/>
                    <a:pt x="24" y="1"/>
                    <a:pt x="25" y="1"/>
                  </a:cubicBezTo>
                  <a:cubicBezTo>
                    <a:pt x="27" y="0"/>
                    <a:pt x="28" y="0"/>
                    <a:pt x="30" y="0"/>
                  </a:cubicBezTo>
                  <a:cubicBezTo>
                    <a:pt x="31" y="0"/>
                    <a:pt x="30" y="2"/>
                    <a:pt x="31" y="2"/>
                  </a:cubicBezTo>
                  <a:cubicBezTo>
                    <a:pt x="31" y="3"/>
                    <a:pt x="33" y="2"/>
                    <a:pt x="33" y="3"/>
                  </a:cubicBezTo>
                  <a:cubicBezTo>
                    <a:pt x="34" y="3"/>
                    <a:pt x="34" y="4"/>
                    <a:pt x="35" y="5"/>
                  </a:cubicBezTo>
                  <a:cubicBezTo>
                    <a:pt x="35" y="6"/>
                    <a:pt x="35" y="7"/>
                    <a:pt x="34" y="9"/>
                  </a:cubicBezTo>
                  <a:cubicBezTo>
                    <a:pt x="34" y="11"/>
                    <a:pt x="32" y="12"/>
                    <a:pt x="32" y="14"/>
                  </a:cubicBezTo>
                  <a:cubicBezTo>
                    <a:pt x="32" y="16"/>
                    <a:pt x="33" y="18"/>
                    <a:pt x="33" y="20"/>
                  </a:cubicBezTo>
                  <a:cubicBezTo>
                    <a:pt x="32" y="21"/>
                    <a:pt x="30" y="22"/>
                    <a:pt x="29" y="23"/>
                  </a:cubicBezTo>
                  <a:cubicBezTo>
                    <a:pt x="29" y="25"/>
                    <a:pt x="30" y="26"/>
                    <a:pt x="29" y="27"/>
                  </a:cubicBezTo>
                  <a:cubicBezTo>
                    <a:pt x="28" y="28"/>
                    <a:pt x="26" y="28"/>
                    <a:pt x="25" y="28"/>
                  </a:cubicBezTo>
                  <a:cubicBezTo>
                    <a:pt x="24" y="29"/>
                    <a:pt x="21" y="27"/>
                    <a:pt x="21" y="28"/>
                  </a:cubicBezTo>
                  <a:cubicBezTo>
                    <a:pt x="20" y="31"/>
                    <a:pt x="23" y="33"/>
                    <a:pt x="23" y="36"/>
                  </a:cubicBezTo>
                  <a:cubicBezTo>
                    <a:pt x="23" y="37"/>
                    <a:pt x="23" y="39"/>
                    <a:pt x="22" y="40"/>
                  </a:cubicBezTo>
                  <a:cubicBezTo>
                    <a:pt x="22" y="41"/>
                    <a:pt x="21" y="42"/>
                    <a:pt x="21" y="43"/>
                  </a:cubicBezTo>
                  <a:cubicBezTo>
                    <a:pt x="20" y="44"/>
                    <a:pt x="21" y="45"/>
                    <a:pt x="21" y="46"/>
                  </a:cubicBezTo>
                  <a:cubicBezTo>
                    <a:pt x="20" y="46"/>
                    <a:pt x="18" y="47"/>
                    <a:pt x="17" y="46"/>
                  </a:cubicBezTo>
                  <a:cubicBezTo>
                    <a:pt x="17" y="44"/>
                    <a:pt x="19" y="42"/>
                    <a:pt x="18" y="41"/>
                  </a:cubicBezTo>
                  <a:cubicBezTo>
                    <a:pt x="18" y="40"/>
                    <a:pt x="16" y="39"/>
                    <a:pt x="15" y="39"/>
                  </a:cubicBezTo>
                  <a:cubicBezTo>
                    <a:pt x="14" y="38"/>
                    <a:pt x="13" y="40"/>
                    <a:pt x="12" y="39"/>
                  </a:cubicBezTo>
                  <a:cubicBezTo>
                    <a:pt x="11" y="39"/>
                    <a:pt x="12" y="37"/>
                    <a:pt x="11" y="37"/>
                  </a:cubicBezTo>
                  <a:cubicBezTo>
                    <a:pt x="11" y="36"/>
                    <a:pt x="9" y="35"/>
                    <a:pt x="8" y="35"/>
                  </a:cubicBezTo>
                  <a:cubicBezTo>
                    <a:pt x="6" y="35"/>
                    <a:pt x="5" y="35"/>
                    <a:pt x="3" y="35"/>
                  </a:cubicBezTo>
                  <a:cubicBezTo>
                    <a:pt x="2" y="35"/>
                    <a:pt x="1" y="36"/>
                    <a:pt x="1" y="3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0" name="Freeform 150"/>
            <p:cNvSpPr>
              <a:spLocks noChangeAspect="1"/>
            </p:cNvSpPr>
            <p:nvPr/>
          </p:nvSpPr>
          <p:spPr bwMode="auto">
            <a:xfrm>
              <a:off x="4295775" y="2540000"/>
              <a:ext cx="106363" cy="138113"/>
            </a:xfrm>
            <a:custGeom>
              <a:avLst/>
              <a:gdLst>
                <a:gd name="T0" fmla="*/ 100665 w 56"/>
                <a:gd name="T1" fmla="*/ 61384 h 72"/>
                <a:gd name="T2" fmla="*/ 106363 w 56"/>
                <a:gd name="T3" fmla="*/ 86321 h 72"/>
                <a:gd name="T4" fmla="*/ 96866 w 56"/>
                <a:gd name="T5" fmla="*/ 109339 h 72"/>
                <a:gd name="T6" fmla="*/ 79772 w 56"/>
                <a:gd name="T7" fmla="*/ 111258 h 72"/>
                <a:gd name="T8" fmla="*/ 55081 w 56"/>
                <a:gd name="T9" fmla="*/ 124685 h 72"/>
                <a:gd name="T10" fmla="*/ 26591 w 56"/>
                <a:gd name="T11" fmla="*/ 134277 h 72"/>
                <a:gd name="T12" fmla="*/ 24691 w 56"/>
                <a:gd name="T13" fmla="*/ 128522 h 72"/>
                <a:gd name="T14" fmla="*/ 18993 w 56"/>
                <a:gd name="T15" fmla="*/ 124685 h 72"/>
                <a:gd name="T16" fmla="*/ 9497 w 56"/>
                <a:gd name="T17" fmla="*/ 117012 h 72"/>
                <a:gd name="T18" fmla="*/ 3799 w 56"/>
                <a:gd name="T19" fmla="*/ 113176 h 72"/>
                <a:gd name="T20" fmla="*/ 18993 w 56"/>
                <a:gd name="T21" fmla="*/ 107421 h 72"/>
                <a:gd name="T22" fmla="*/ 32289 w 56"/>
                <a:gd name="T23" fmla="*/ 97830 h 72"/>
                <a:gd name="T24" fmla="*/ 36087 w 56"/>
                <a:gd name="T25" fmla="*/ 92075 h 72"/>
                <a:gd name="T26" fmla="*/ 22792 w 56"/>
                <a:gd name="T27" fmla="*/ 93994 h 72"/>
                <a:gd name="T28" fmla="*/ 32289 w 56"/>
                <a:gd name="T29" fmla="*/ 80566 h 72"/>
                <a:gd name="T30" fmla="*/ 36087 w 56"/>
                <a:gd name="T31" fmla="*/ 70975 h 72"/>
                <a:gd name="T32" fmla="*/ 28490 w 56"/>
                <a:gd name="T33" fmla="*/ 67138 h 72"/>
                <a:gd name="T34" fmla="*/ 22792 w 56"/>
                <a:gd name="T35" fmla="*/ 74811 h 72"/>
                <a:gd name="T36" fmla="*/ 15195 w 56"/>
                <a:gd name="T37" fmla="*/ 61384 h 72"/>
                <a:gd name="T38" fmla="*/ 24691 w 56"/>
                <a:gd name="T39" fmla="*/ 51792 h 72"/>
                <a:gd name="T40" fmla="*/ 20893 w 56"/>
                <a:gd name="T41" fmla="*/ 46038 h 72"/>
                <a:gd name="T42" fmla="*/ 22792 w 56"/>
                <a:gd name="T43" fmla="*/ 36446 h 72"/>
                <a:gd name="T44" fmla="*/ 37987 w 56"/>
                <a:gd name="T45" fmla="*/ 42201 h 72"/>
                <a:gd name="T46" fmla="*/ 49383 w 56"/>
                <a:gd name="T47" fmla="*/ 40283 h 72"/>
                <a:gd name="T48" fmla="*/ 56980 w 56"/>
                <a:gd name="T49" fmla="*/ 28774 h 72"/>
                <a:gd name="T50" fmla="*/ 45584 w 56"/>
                <a:gd name="T51" fmla="*/ 21101 h 72"/>
                <a:gd name="T52" fmla="*/ 56980 w 56"/>
                <a:gd name="T53" fmla="*/ 7673 h 72"/>
                <a:gd name="T54" fmla="*/ 75974 w 56"/>
                <a:gd name="T55" fmla="*/ 0 h 72"/>
                <a:gd name="T56" fmla="*/ 77873 w 56"/>
                <a:gd name="T57" fmla="*/ 15346 h 72"/>
                <a:gd name="T58" fmla="*/ 64578 w 56"/>
                <a:gd name="T59" fmla="*/ 21101 h 72"/>
                <a:gd name="T60" fmla="*/ 56980 w 56"/>
                <a:gd name="T61" fmla="*/ 30692 h 72"/>
                <a:gd name="T62" fmla="*/ 77873 w 56"/>
                <a:gd name="T63" fmla="*/ 44119 h 72"/>
                <a:gd name="T64" fmla="*/ 79772 w 56"/>
                <a:gd name="T65" fmla="*/ 34528 h 72"/>
                <a:gd name="T66" fmla="*/ 91168 w 56"/>
                <a:gd name="T67" fmla="*/ 42201 h 72"/>
                <a:gd name="T68" fmla="*/ 102564 w 56"/>
                <a:gd name="T69" fmla="*/ 53711 h 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6"/>
                <a:gd name="T106" fmla="*/ 0 h 72"/>
                <a:gd name="T107" fmla="*/ 56 w 56"/>
                <a:gd name="T108" fmla="*/ 72 h 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6" h="72">
                  <a:moveTo>
                    <a:pt x="54" y="28"/>
                  </a:moveTo>
                  <a:cubicBezTo>
                    <a:pt x="54" y="29"/>
                    <a:pt x="53" y="30"/>
                    <a:pt x="53" y="32"/>
                  </a:cubicBezTo>
                  <a:cubicBezTo>
                    <a:pt x="54" y="33"/>
                    <a:pt x="55" y="34"/>
                    <a:pt x="55" y="36"/>
                  </a:cubicBezTo>
                  <a:cubicBezTo>
                    <a:pt x="56" y="39"/>
                    <a:pt x="56" y="42"/>
                    <a:pt x="56" y="45"/>
                  </a:cubicBezTo>
                  <a:cubicBezTo>
                    <a:pt x="55" y="47"/>
                    <a:pt x="54" y="48"/>
                    <a:pt x="54" y="50"/>
                  </a:cubicBezTo>
                  <a:cubicBezTo>
                    <a:pt x="53" y="53"/>
                    <a:pt x="53" y="56"/>
                    <a:pt x="51" y="57"/>
                  </a:cubicBezTo>
                  <a:cubicBezTo>
                    <a:pt x="50" y="58"/>
                    <a:pt x="47" y="57"/>
                    <a:pt x="46" y="57"/>
                  </a:cubicBezTo>
                  <a:cubicBezTo>
                    <a:pt x="44" y="57"/>
                    <a:pt x="43" y="58"/>
                    <a:pt x="42" y="58"/>
                  </a:cubicBezTo>
                  <a:cubicBezTo>
                    <a:pt x="40" y="59"/>
                    <a:pt x="39" y="60"/>
                    <a:pt x="37" y="60"/>
                  </a:cubicBezTo>
                  <a:cubicBezTo>
                    <a:pt x="34" y="62"/>
                    <a:pt x="32" y="63"/>
                    <a:pt x="29" y="65"/>
                  </a:cubicBezTo>
                  <a:cubicBezTo>
                    <a:pt x="26" y="66"/>
                    <a:pt x="24" y="68"/>
                    <a:pt x="21" y="69"/>
                  </a:cubicBezTo>
                  <a:cubicBezTo>
                    <a:pt x="19" y="70"/>
                    <a:pt x="16" y="69"/>
                    <a:pt x="14" y="70"/>
                  </a:cubicBezTo>
                  <a:cubicBezTo>
                    <a:pt x="13" y="70"/>
                    <a:pt x="11" y="72"/>
                    <a:pt x="10" y="71"/>
                  </a:cubicBezTo>
                  <a:cubicBezTo>
                    <a:pt x="9" y="69"/>
                    <a:pt x="14" y="68"/>
                    <a:pt x="13" y="67"/>
                  </a:cubicBezTo>
                  <a:cubicBezTo>
                    <a:pt x="11" y="66"/>
                    <a:pt x="8" y="70"/>
                    <a:pt x="7" y="69"/>
                  </a:cubicBezTo>
                  <a:cubicBezTo>
                    <a:pt x="6" y="67"/>
                    <a:pt x="11" y="66"/>
                    <a:pt x="10" y="65"/>
                  </a:cubicBezTo>
                  <a:cubicBezTo>
                    <a:pt x="9" y="63"/>
                    <a:pt x="5" y="66"/>
                    <a:pt x="3" y="65"/>
                  </a:cubicBezTo>
                  <a:cubicBezTo>
                    <a:pt x="2" y="64"/>
                    <a:pt x="4" y="62"/>
                    <a:pt x="5" y="61"/>
                  </a:cubicBezTo>
                  <a:cubicBezTo>
                    <a:pt x="7" y="60"/>
                    <a:pt x="12" y="60"/>
                    <a:pt x="10" y="59"/>
                  </a:cubicBezTo>
                  <a:cubicBezTo>
                    <a:pt x="8" y="58"/>
                    <a:pt x="4" y="61"/>
                    <a:pt x="2" y="59"/>
                  </a:cubicBezTo>
                  <a:cubicBezTo>
                    <a:pt x="0" y="58"/>
                    <a:pt x="5" y="57"/>
                    <a:pt x="7" y="56"/>
                  </a:cubicBezTo>
                  <a:cubicBezTo>
                    <a:pt x="8" y="56"/>
                    <a:pt x="9" y="57"/>
                    <a:pt x="10" y="56"/>
                  </a:cubicBezTo>
                  <a:cubicBezTo>
                    <a:pt x="11" y="55"/>
                    <a:pt x="10" y="53"/>
                    <a:pt x="11" y="52"/>
                  </a:cubicBezTo>
                  <a:cubicBezTo>
                    <a:pt x="13" y="51"/>
                    <a:pt x="15" y="51"/>
                    <a:pt x="17" y="51"/>
                  </a:cubicBezTo>
                  <a:cubicBezTo>
                    <a:pt x="19" y="50"/>
                    <a:pt x="21" y="51"/>
                    <a:pt x="23" y="49"/>
                  </a:cubicBezTo>
                  <a:cubicBezTo>
                    <a:pt x="23" y="48"/>
                    <a:pt x="20" y="48"/>
                    <a:pt x="19" y="48"/>
                  </a:cubicBezTo>
                  <a:cubicBezTo>
                    <a:pt x="18" y="48"/>
                    <a:pt x="17" y="49"/>
                    <a:pt x="15" y="49"/>
                  </a:cubicBezTo>
                  <a:cubicBezTo>
                    <a:pt x="14" y="50"/>
                    <a:pt x="12" y="51"/>
                    <a:pt x="12" y="49"/>
                  </a:cubicBezTo>
                  <a:cubicBezTo>
                    <a:pt x="12" y="48"/>
                    <a:pt x="14" y="47"/>
                    <a:pt x="15" y="46"/>
                  </a:cubicBezTo>
                  <a:cubicBezTo>
                    <a:pt x="16" y="44"/>
                    <a:pt x="16" y="43"/>
                    <a:pt x="17" y="42"/>
                  </a:cubicBezTo>
                  <a:cubicBezTo>
                    <a:pt x="18" y="41"/>
                    <a:pt x="20" y="41"/>
                    <a:pt x="21" y="40"/>
                  </a:cubicBezTo>
                  <a:cubicBezTo>
                    <a:pt x="21" y="39"/>
                    <a:pt x="19" y="38"/>
                    <a:pt x="19" y="37"/>
                  </a:cubicBezTo>
                  <a:cubicBezTo>
                    <a:pt x="18" y="36"/>
                    <a:pt x="17" y="35"/>
                    <a:pt x="16" y="34"/>
                  </a:cubicBezTo>
                  <a:cubicBezTo>
                    <a:pt x="16" y="34"/>
                    <a:pt x="14" y="35"/>
                    <a:pt x="15" y="35"/>
                  </a:cubicBezTo>
                  <a:cubicBezTo>
                    <a:pt x="15" y="37"/>
                    <a:pt x="20" y="38"/>
                    <a:pt x="19" y="39"/>
                  </a:cubicBezTo>
                  <a:cubicBezTo>
                    <a:pt x="17" y="41"/>
                    <a:pt x="14" y="39"/>
                    <a:pt x="12" y="39"/>
                  </a:cubicBezTo>
                  <a:cubicBezTo>
                    <a:pt x="11" y="38"/>
                    <a:pt x="9" y="37"/>
                    <a:pt x="9" y="36"/>
                  </a:cubicBezTo>
                  <a:cubicBezTo>
                    <a:pt x="8" y="35"/>
                    <a:pt x="8" y="33"/>
                    <a:pt x="8" y="32"/>
                  </a:cubicBezTo>
                  <a:cubicBezTo>
                    <a:pt x="9" y="31"/>
                    <a:pt x="12" y="30"/>
                    <a:pt x="13" y="29"/>
                  </a:cubicBezTo>
                  <a:cubicBezTo>
                    <a:pt x="14" y="28"/>
                    <a:pt x="14" y="27"/>
                    <a:pt x="13" y="27"/>
                  </a:cubicBezTo>
                  <a:cubicBezTo>
                    <a:pt x="12" y="26"/>
                    <a:pt x="10" y="28"/>
                    <a:pt x="10" y="27"/>
                  </a:cubicBezTo>
                  <a:cubicBezTo>
                    <a:pt x="9" y="26"/>
                    <a:pt x="11" y="25"/>
                    <a:pt x="11" y="24"/>
                  </a:cubicBezTo>
                  <a:cubicBezTo>
                    <a:pt x="11" y="22"/>
                    <a:pt x="9" y="21"/>
                    <a:pt x="9" y="20"/>
                  </a:cubicBezTo>
                  <a:cubicBezTo>
                    <a:pt x="10" y="19"/>
                    <a:pt x="11" y="19"/>
                    <a:pt x="12" y="19"/>
                  </a:cubicBezTo>
                  <a:cubicBezTo>
                    <a:pt x="14" y="19"/>
                    <a:pt x="17" y="19"/>
                    <a:pt x="19" y="19"/>
                  </a:cubicBezTo>
                  <a:cubicBezTo>
                    <a:pt x="19" y="20"/>
                    <a:pt x="19" y="21"/>
                    <a:pt x="20" y="22"/>
                  </a:cubicBezTo>
                  <a:cubicBezTo>
                    <a:pt x="21" y="22"/>
                    <a:pt x="21" y="20"/>
                    <a:pt x="22" y="20"/>
                  </a:cubicBezTo>
                  <a:cubicBezTo>
                    <a:pt x="24" y="20"/>
                    <a:pt x="25" y="22"/>
                    <a:pt x="26" y="21"/>
                  </a:cubicBezTo>
                  <a:cubicBezTo>
                    <a:pt x="27" y="21"/>
                    <a:pt x="27" y="19"/>
                    <a:pt x="27" y="18"/>
                  </a:cubicBezTo>
                  <a:cubicBezTo>
                    <a:pt x="28" y="17"/>
                    <a:pt x="30" y="16"/>
                    <a:pt x="30" y="15"/>
                  </a:cubicBezTo>
                  <a:cubicBezTo>
                    <a:pt x="29" y="13"/>
                    <a:pt x="26" y="15"/>
                    <a:pt x="24" y="14"/>
                  </a:cubicBezTo>
                  <a:cubicBezTo>
                    <a:pt x="23" y="13"/>
                    <a:pt x="24" y="12"/>
                    <a:pt x="24" y="11"/>
                  </a:cubicBezTo>
                  <a:cubicBezTo>
                    <a:pt x="26" y="9"/>
                    <a:pt x="28" y="9"/>
                    <a:pt x="30" y="8"/>
                  </a:cubicBezTo>
                  <a:cubicBezTo>
                    <a:pt x="30" y="7"/>
                    <a:pt x="29" y="5"/>
                    <a:pt x="30" y="4"/>
                  </a:cubicBezTo>
                  <a:cubicBezTo>
                    <a:pt x="32" y="3"/>
                    <a:pt x="35" y="4"/>
                    <a:pt x="38" y="3"/>
                  </a:cubicBezTo>
                  <a:cubicBezTo>
                    <a:pt x="39" y="3"/>
                    <a:pt x="39" y="0"/>
                    <a:pt x="40" y="0"/>
                  </a:cubicBezTo>
                  <a:cubicBezTo>
                    <a:pt x="42" y="0"/>
                    <a:pt x="43" y="2"/>
                    <a:pt x="45" y="3"/>
                  </a:cubicBezTo>
                  <a:cubicBezTo>
                    <a:pt x="43" y="4"/>
                    <a:pt x="42" y="6"/>
                    <a:pt x="41" y="8"/>
                  </a:cubicBezTo>
                  <a:cubicBezTo>
                    <a:pt x="40" y="9"/>
                    <a:pt x="39" y="11"/>
                    <a:pt x="38" y="11"/>
                  </a:cubicBezTo>
                  <a:cubicBezTo>
                    <a:pt x="37" y="12"/>
                    <a:pt x="35" y="10"/>
                    <a:pt x="34" y="11"/>
                  </a:cubicBezTo>
                  <a:cubicBezTo>
                    <a:pt x="33" y="12"/>
                    <a:pt x="35" y="13"/>
                    <a:pt x="35" y="14"/>
                  </a:cubicBezTo>
                  <a:cubicBezTo>
                    <a:pt x="34" y="15"/>
                    <a:pt x="30" y="15"/>
                    <a:pt x="30" y="16"/>
                  </a:cubicBezTo>
                  <a:cubicBezTo>
                    <a:pt x="31" y="19"/>
                    <a:pt x="33" y="20"/>
                    <a:pt x="35" y="22"/>
                  </a:cubicBezTo>
                  <a:cubicBezTo>
                    <a:pt x="37" y="23"/>
                    <a:pt x="39" y="23"/>
                    <a:pt x="41" y="23"/>
                  </a:cubicBezTo>
                  <a:cubicBezTo>
                    <a:pt x="42" y="23"/>
                    <a:pt x="43" y="22"/>
                    <a:pt x="43" y="21"/>
                  </a:cubicBezTo>
                  <a:cubicBezTo>
                    <a:pt x="44" y="20"/>
                    <a:pt x="42" y="19"/>
                    <a:pt x="42" y="18"/>
                  </a:cubicBezTo>
                  <a:cubicBezTo>
                    <a:pt x="43" y="18"/>
                    <a:pt x="44" y="18"/>
                    <a:pt x="45" y="18"/>
                  </a:cubicBezTo>
                  <a:cubicBezTo>
                    <a:pt x="47" y="19"/>
                    <a:pt x="47" y="21"/>
                    <a:pt x="48" y="22"/>
                  </a:cubicBezTo>
                  <a:cubicBezTo>
                    <a:pt x="50" y="23"/>
                    <a:pt x="51" y="24"/>
                    <a:pt x="52" y="25"/>
                  </a:cubicBezTo>
                  <a:cubicBezTo>
                    <a:pt x="53" y="25"/>
                    <a:pt x="53" y="27"/>
                    <a:pt x="54" y="2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1" name="Freeform 151"/>
            <p:cNvSpPr>
              <a:spLocks noChangeAspect="1"/>
            </p:cNvSpPr>
            <p:nvPr/>
          </p:nvSpPr>
          <p:spPr bwMode="auto">
            <a:xfrm>
              <a:off x="4352925" y="2546350"/>
              <a:ext cx="58738" cy="47625"/>
            </a:xfrm>
            <a:custGeom>
              <a:avLst/>
              <a:gdLst>
                <a:gd name="T0" fmla="*/ 45475 w 31"/>
                <a:gd name="T1" fmla="*/ 47625 h 25"/>
                <a:gd name="T2" fmla="*/ 49264 w 31"/>
                <a:gd name="T3" fmla="*/ 38100 h 25"/>
                <a:gd name="T4" fmla="*/ 56843 w 31"/>
                <a:gd name="T5" fmla="*/ 34290 h 25"/>
                <a:gd name="T6" fmla="*/ 56843 w 31"/>
                <a:gd name="T7" fmla="*/ 24765 h 25"/>
                <a:gd name="T8" fmla="*/ 54948 w 31"/>
                <a:gd name="T9" fmla="*/ 15240 h 25"/>
                <a:gd name="T10" fmla="*/ 51159 w 31"/>
                <a:gd name="T11" fmla="*/ 3810 h 25"/>
                <a:gd name="T12" fmla="*/ 41685 w 31"/>
                <a:gd name="T13" fmla="*/ 0 h 25"/>
                <a:gd name="T14" fmla="*/ 32211 w 31"/>
                <a:gd name="T15" fmla="*/ 1905 h 25"/>
                <a:gd name="T16" fmla="*/ 28422 w 31"/>
                <a:gd name="T17" fmla="*/ 0 h 25"/>
                <a:gd name="T18" fmla="*/ 20843 w 31"/>
                <a:gd name="T19" fmla="*/ 9525 h 25"/>
                <a:gd name="T20" fmla="*/ 15158 w 31"/>
                <a:gd name="T21" fmla="*/ 15240 h 25"/>
                <a:gd name="T22" fmla="*/ 7579 w 31"/>
                <a:gd name="T23" fmla="*/ 15240 h 25"/>
                <a:gd name="T24" fmla="*/ 9474 w 31"/>
                <a:gd name="T25" fmla="*/ 20955 h 25"/>
                <a:gd name="T26" fmla="*/ 0 w 31"/>
                <a:gd name="T27" fmla="*/ 24765 h 25"/>
                <a:gd name="T28" fmla="*/ 9474 w 31"/>
                <a:gd name="T29" fmla="*/ 36195 h 25"/>
                <a:gd name="T30" fmla="*/ 20843 w 31"/>
                <a:gd name="T31" fmla="*/ 38100 h 25"/>
                <a:gd name="T32" fmla="*/ 24632 w 31"/>
                <a:gd name="T33" fmla="*/ 34290 h 25"/>
                <a:gd name="T34" fmla="*/ 22737 w 31"/>
                <a:gd name="T35" fmla="*/ 28575 h 25"/>
                <a:gd name="T36" fmla="*/ 28422 w 31"/>
                <a:gd name="T37" fmla="*/ 28575 h 25"/>
                <a:gd name="T38" fmla="*/ 34106 w 31"/>
                <a:gd name="T39" fmla="*/ 36195 h 25"/>
                <a:gd name="T40" fmla="*/ 41685 w 31"/>
                <a:gd name="T41" fmla="*/ 41910 h 25"/>
                <a:gd name="T42" fmla="*/ 45475 w 31"/>
                <a:gd name="T43" fmla="*/ 47625 h 2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1"/>
                <a:gd name="T67" fmla="*/ 0 h 25"/>
                <a:gd name="T68" fmla="*/ 31 w 31"/>
                <a:gd name="T69" fmla="*/ 25 h 2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1" h="25">
                  <a:moveTo>
                    <a:pt x="24" y="25"/>
                  </a:moveTo>
                  <a:lnTo>
                    <a:pt x="26" y="20"/>
                  </a:lnTo>
                  <a:cubicBezTo>
                    <a:pt x="27" y="19"/>
                    <a:pt x="30" y="20"/>
                    <a:pt x="30" y="18"/>
                  </a:cubicBezTo>
                  <a:cubicBezTo>
                    <a:pt x="31" y="17"/>
                    <a:pt x="30" y="15"/>
                    <a:pt x="30" y="13"/>
                  </a:cubicBezTo>
                  <a:cubicBezTo>
                    <a:pt x="30" y="11"/>
                    <a:pt x="29" y="9"/>
                    <a:pt x="29" y="8"/>
                  </a:cubicBezTo>
                  <a:cubicBezTo>
                    <a:pt x="28" y="6"/>
                    <a:pt x="28" y="4"/>
                    <a:pt x="27" y="2"/>
                  </a:cubicBezTo>
                  <a:cubicBezTo>
                    <a:pt x="26" y="1"/>
                    <a:pt x="24" y="0"/>
                    <a:pt x="22" y="0"/>
                  </a:cubicBezTo>
                  <a:cubicBezTo>
                    <a:pt x="21" y="0"/>
                    <a:pt x="19" y="1"/>
                    <a:pt x="17" y="1"/>
                  </a:cubicBezTo>
                  <a:cubicBezTo>
                    <a:pt x="16" y="1"/>
                    <a:pt x="15" y="0"/>
                    <a:pt x="15" y="0"/>
                  </a:cubicBezTo>
                  <a:cubicBezTo>
                    <a:pt x="13" y="1"/>
                    <a:pt x="12" y="3"/>
                    <a:pt x="11" y="5"/>
                  </a:cubicBezTo>
                  <a:cubicBezTo>
                    <a:pt x="10" y="6"/>
                    <a:pt x="9" y="8"/>
                    <a:pt x="8" y="8"/>
                  </a:cubicBezTo>
                  <a:cubicBezTo>
                    <a:pt x="7" y="9"/>
                    <a:pt x="5" y="7"/>
                    <a:pt x="4" y="8"/>
                  </a:cubicBezTo>
                  <a:cubicBezTo>
                    <a:pt x="3" y="9"/>
                    <a:pt x="5" y="10"/>
                    <a:pt x="5" y="11"/>
                  </a:cubicBezTo>
                  <a:cubicBezTo>
                    <a:pt x="4" y="12"/>
                    <a:pt x="0" y="12"/>
                    <a:pt x="0" y="13"/>
                  </a:cubicBezTo>
                  <a:cubicBezTo>
                    <a:pt x="1" y="16"/>
                    <a:pt x="3" y="17"/>
                    <a:pt x="5" y="19"/>
                  </a:cubicBezTo>
                  <a:cubicBezTo>
                    <a:pt x="7" y="20"/>
                    <a:pt x="9" y="20"/>
                    <a:pt x="11" y="20"/>
                  </a:cubicBezTo>
                  <a:cubicBezTo>
                    <a:pt x="12" y="20"/>
                    <a:pt x="13" y="19"/>
                    <a:pt x="13" y="18"/>
                  </a:cubicBezTo>
                  <a:cubicBezTo>
                    <a:pt x="14" y="17"/>
                    <a:pt x="12" y="16"/>
                    <a:pt x="12" y="15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7" y="16"/>
                    <a:pt x="17" y="18"/>
                    <a:pt x="18" y="19"/>
                  </a:cubicBezTo>
                  <a:cubicBezTo>
                    <a:pt x="20" y="20"/>
                    <a:pt x="21" y="21"/>
                    <a:pt x="22" y="22"/>
                  </a:cubicBezTo>
                  <a:cubicBezTo>
                    <a:pt x="23" y="22"/>
                    <a:pt x="23" y="24"/>
                    <a:pt x="24" y="2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2" name="Freeform 152"/>
            <p:cNvSpPr>
              <a:spLocks noChangeAspect="1"/>
            </p:cNvSpPr>
            <p:nvPr/>
          </p:nvSpPr>
          <p:spPr bwMode="auto">
            <a:xfrm>
              <a:off x="5526088" y="3870325"/>
              <a:ext cx="247650" cy="373063"/>
            </a:xfrm>
            <a:custGeom>
              <a:avLst/>
              <a:gdLst>
                <a:gd name="T0" fmla="*/ 17145 w 130"/>
                <a:gd name="T1" fmla="*/ 220792 h 196"/>
                <a:gd name="T2" fmla="*/ 11430 w 130"/>
                <a:gd name="T3" fmla="*/ 237923 h 196"/>
                <a:gd name="T4" fmla="*/ 0 w 130"/>
                <a:gd name="T5" fmla="*/ 251247 h 196"/>
                <a:gd name="T6" fmla="*/ 0 w 130"/>
                <a:gd name="T7" fmla="*/ 354029 h 196"/>
                <a:gd name="T8" fmla="*/ 15240 w 130"/>
                <a:gd name="T9" fmla="*/ 373063 h 196"/>
                <a:gd name="T10" fmla="*/ 24765 w 130"/>
                <a:gd name="T11" fmla="*/ 350222 h 196"/>
                <a:gd name="T12" fmla="*/ 49530 w 130"/>
                <a:gd name="T13" fmla="*/ 325478 h 196"/>
                <a:gd name="T14" fmla="*/ 72390 w 130"/>
                <a:gd name="T15" fmla="*/ 300734 h 196"/>
                <a:gd name="T16" fmla="*/ 81915 w 130"/>
                <a:gd name="T17" fmla="*/ 295024 h 196"/>
                <a:gd name="T18" fmla="*/ 89535 w 130"/>
                <a:gd name="T19" fmla="*/ 283604 h 196"/>
                <a:gd name="T20" fmla="*/ 110490 w 130"/>
                <a:gd name="T21" fmla="*/ 272184 h 196"/>
                <a:gd name="T22" fmla="*/ 125730 w 130"/>
                <a:gd name="T23" fmla="*/ 264570 h 196"/>
                <a:gd name="T24" fmla="*/ 142875 w 130"/>
                <a:gd name="T25" fmla="*/ 243633 h 196"/>
                <a:gd name="T26" fmla="*/ 160020 w 130"/>
                <a:gd name="T27" fmla="*/ 220792 h 196"/>
                <a:gd name="T28" fmla="*/ 175260 w 130"/>
                <a:gd name="T29" fmla="*/ 194145 h 196"/>
                <a:gd name="T30" fmla="*/ 198120 w 130"/>
                <a:gd name="T31" fmla="*/ 159884 h 196"/>
                <a:gd name="T32" fmla="*/ 196215 w 130"/>
                <a:gd name="T33" fmla="*/ 152271 h 196"/>
                <a:gd name="T34" fmla="*/ 215265 w 130"/>
                <a:gd name="T35" fmla="*/ 119913 h 196"/>
                <a:gd name="T36" fmla="*/ 213360 w 130"/>
                <a:gd name="T37" fmla="*/ 112300 h 196"/>
                <a:gd name="T38" fmla="*/ 222885 w 130"/>
                <a:gd name="T39" fmla="*/ 104686 h 196"/>
                <a:gd name="T40" fmla="*/ 230505 w 130"/>
                <a:gd name="T41" fmla="*/ 85652 h 196"/>
                <a:gd name="T42" fmla="*/ 238125 w 130"/>
                <a:gd name="T43" fmla="*/ 68522 h 196"/>
                <a:gd name="T44" fmla="*/ 238125 w 130"/>
                <a:gd name="T45" fmla="*/ 47585 h 196"/>
                <a:gd name="T46" fmla="*/ 243840 w 130"/>
                <a:gd name="T47" fmla="*/ 36164 h 196"/>
                <a:gd name="T48" fmla="*/ 241935 w 130"/>
                <a:gd name="T49" fmla="*/ 19034 h 196"/>
                <a:gd name="T50" fmla="*/ 245745 w 130"/>
                <a:gd name="T51" fmla="*/ 3807 h 196"/>
                <a:gd name="T52" fmla="*/ 234315 w 130"/>
                <a:gd name="T53" fmla="*/ 0 h 196"/>
                <a:gd name="T54" fmla="*/ 228600 w 130"/>
                <a:gd name="T55" fmla="*/ 1903 h 196"/>
                <a:gd name="T56" fmla="*/ 220980 w 130"/>
                <a:gd name="T57" fmla="*/ 9517 h 196"/>
                <a:gd name="T58" fmla="*/ 201930 w 130"/>
                <a:gd name="T59" fmla="*/ 15227 h 196"/>
                <a:gd name="T60" fmla="*/ 190500 w 130"/>
                <a:gd name="T61" fmla="*/ 20937 h 196"/>
                <a:gd name="T62" fmla="*/ 179070 w 130"/>
                <a:gd name="T63" fmla="*/ 17130 h 196"/>
                <a:gd name="T64" fmla="*/ 169545 w 130"/>
                <a:gd name="T65" fmla="*/ 22841 h 196"/>
                <a:gd name="T66" fmla="*/ 152400 w 130"/>
                <a:gd name="T67" fmla="*/ 22841 h 196"/>
                <a:gd name="T68" fmla="*/ 139065 w 130"/>
                <a:gd name="T69" fmla="*/ 30454 h 196"/>
                <a:gd name="T70" fmla="*/ 121920 w 130"/>
                <a:gd name="T71" fmla="*/ 36164 h 196"/>
                <a:gd name="T72" fmla="*/ 112395 w 130"/>
                <a:gd name="T73" fmla="*/ 34261 h 196"/>
                <a:gd name="T74" fmla="*/ 93345 w 130"/>
                <a:gd name="T75" fmla="*/ 41874 h 196"/>
                <a:gd name="T76" fmla="*/ 74295 w 130"/>
                <a:gd name="T77" fmla="*/ 39971 h 196"/>
                <a:gd name="T78" fmla="*/ 64770 w 130"/>
                <a:gd name="T79" fmla="*/ 30454 h 196"/>
                <a:gd name="T80" fmla="*/ 64770 w 130"/>
                <a:gd name="T81" fmla="*/ 22841 h 196"/>
                <a:gd name="T82" fmla="*/ 55245 w 130"/>
                <a:gd name="T83" fmla="*/ 19034 h 196"/>
                <a:gd name="T84" fmla="*/ 49530 w 130"/>
                <a:gd name="T85" fmla="*/ 22841 h 196"/>
                <a:gd name="T86" fmla="*/ 43815 w 130"/>
                <a:gd name="T87" fmla="*/ 26647 h 196"/>
                <a:gd name="T88" fmla="*/ 34290 w 130"/>
                <a:gd name="T89" fmla="*/ 43778 h 196"/>
                <a:gd name="T90" fmla="*/ 49530 w 130"/>
                <a:gd name="T91" fmla="*/ 59005 h 196"/>
                <a:gd name="T92" fmla="*/ 53340 w 130"/>
                <a:gd name="T93" fmla="*/ 68522 h 196"/>
                <a:gd name="T94" fmla="*/ 64770 w 130"/>
                <a:gd name="T95" fmla="*/ 79942 h 196"/>
                <a:gd name="T96" fmla="*/ 142875 w 130"/>
                <a:gd name="T97" fmla="*/ 110396 h 196"/>
                <a:gd name="T98" fmla="*/ 165735 w 130"/>
                <a:gd name="T99" fmla="*/ 106589 h 196"/>
                <a:gd name="T100" fmla="*/ 95250 w 130"/>
                <a:gd name="T101" fmla="*/ 192242 h 196"/>
                <a:gd name="T102" fmla="*/ 68580 w 130"/>
                <a:gd name="T103" fmla="*/ 194145 h 196"/>
                <a:gd name="T104" fmla="*/ 41910 w 130"/>
                <a:gd name="T105" fmla="*/ 205565 h 196"/>
                <a:gd name="T106" fmla="*/ 17145 w 130"/>
                <a:gd name="T107" fmla="*/ 220792 h 19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30"/>
                <a:gd name="T163" fmla="*/ 0 h 196"/>
                <a:gd name="T164" fmla="*/ 130 w 130"/>
                <a:gd name="T165" fmla="*/ 196 h 19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30" h="196">
                  <a:moveTo>
                    <a:pt x="9" y="116"/>
                  </a:moveTo>
                  <a:cubicBezTo>
                    <a:pt x="8" y="119"/>
                    <a:pt x="9" y="123"/>
                    <a:pt x="6" y="125"/>
                  </a:cubicBezTo>
                  <a:lnTo>
                    <a:pt x="0" y="132"/>
                  </a:lnTo>
                  <a:lnTo>
                    <a:pt x="0" y="186"/>
                  </a:lnTo>
                  <a:lnTo>
                    <a:pt x="8" y="196"/>
                  </a:lnTo>
                  <a:cubicBezTo>
                    <a:pt x="9" y="192"/>
                    <a:pt x="11" y="188"/>
                    <a:pt x="13" y="184"/>
                  </a:cubicBezTo>
                  <a:cubicBezTo>
                    <a:pt x="17" y="179"/>
                    <a:pt x="21" y="175"/>
                    <a:pt x="26" y="171"/>
                  </a:cubicBezTo>
                  <a:cubicBezTo>
                    <a:pt x="30" y="166"/>
                    <a:pt x="34" y="162"/>
                    <a:pt x="38" y="158"/>
                  </a:cubicBezTo>
                  <a:cubicBezTo>
                    <a:pt x="39" y="157"/>
                    <a:pt x="41" y="156"/>
                    <a:pt x="43" y="155"/>
                  </a:cubicBezTo>
                  <a:cubicBezTo>
                    <a:pt x="45" y="153"/>
                    <a:pt x="46" y="150"/>
                    <a:pt x="47" y="149"/>
                  </a:cubicBezTo>
                  <a:cubicBezTo>
                    <a:pt x="51" y="146"/>
                    <a:pt x="54" y="145"/>
                    <a:pt x="58" y="143"/>
                  </a:cubicBezTo>
                  <a:cubicBezTo>
                    <a:pt x="61" y="141"/>
                    <a:pt x="64" y="141"/>
                    <a:pt x="66" y="139"/>
                  </a:cubicBezTo>
                  <a:cubicBezTo>
                    <a:pt x="70" y="136"/>
                    <a:pt x="72" y="132"/>
                    <a:pt x="75" y="128"/>
                  </a:cubicBezTo>
                  <a:cubicBezTo>
                    <a:pt x="78" y="124"/>
                    <a:pt x="81" y="120"/>
                    <a:pt x="84" y="116"/>
                  </a:cubicBezTo>
                  <a:cubicBezTo>
                    <a:pt x="87" y="111"/>
                    <a:pt x="90" y="106"/>
                    <a:pt x="92" y="102"/>
                  </a:cubicBezTo>
                  <a:cubicBezTo>
                    <a:pt x="96" y="96"/>
                    <a:pt x="100" y="90"/>
                    <a:pt x="104" y="84"/>
                  </a:cubicBezTo>
                  <a:cubicBezTo>
                    <a:pt x="104" y="83"/>
                    <a:pt x="103" y="81"/>
                    <a:pt x="103" y="80"/>
                  </a:cubicBezTo>
                  <a:cubicBezTo>
                    <a:pt x="106" y="74"/>
                    <a:pt x="110" y="69"/>
                    <a:pt x="113" y="63"/>
                  </a:cubicBezTo>
                  <a:cubicBezTo>
                    <a:pt x="113" y="62"/>
                    <a:pt x="112" y="60"/>
                    <a:pt x="112" y="59"/>
                  </a:cubicBezTo>
                  <a:cubicBezTo>
                    <a:pt x="113" y="58"/>
                    <a:pt x="116" y="57"/>
                    <a:pt x="117" y="55"/>
                  </a:cubicBezTo>
                  <a:cubicBezTo>
                    <a:pt x="119" y="52"/>
                    <a:pt x="120" y="48"/>
                    <a:pt x="121" y="45"/>
                  </a:cubicBezTo>
                  <a:cubicBezTo>
                    <a:pt x="122" y="42"/>
                    <a:pt x="124" y="39"/>
                    <a:pt x="125" y="36"/>
                  </a:cubicBezTo>
                  <a:cubicBezTo>
                    <a:pt x="125" y="32"/>
                    <a:pt x="124" y="28"/>
                    <a:pt x="125" y="25"/>
                  </a:cubicBezTo>
                  <a:cubicBezTo>
                    <a:pt x="125" y="23"/>
                    <a:pt x="128" y="21"/>
                    <a:pt x="128" y="19"/>
                  </a:cubicBezTo>
                  <a:cubicBezTo>
                    <a:pt x="128" y="16"/>
                    <a:pt x="127" y="13"/>
                    <a:pt x="127" y="10"/>
                  </a:cubicBezTo>
                  <a:cubicBezTo>
                    <a:pt x="127" y="7"/>
                    <a:pt x="130" y="5"/>
                    <a:pt x="129" y="2"/>
                  </a:cubicBezTo>
                  <a:cubicBezTo>
                    <a:pt x="128" y="0"/>
                    <a:pt x="125" y="0"/>
                    <a:pt x="123" y="0"/>
                  </a:cubicBezTo>
                  <a:cubicBezTo>
                    <a:pt x="121" y="0"/>
                    <a:pt x="120" y="1"/>
                    <a:pt x="120" y="1"/>
                  </a:cubicBezTo>
                  <a:cubicBezTo>
                    <a:pt x="118" y="2"/>
                    <a:pt x="117" y="4"/>
                    <a:pt x="116" y="5"/>
                  </a:cubicBezTo>
                  <a:cubicBezTo>
                    <a:pt x="113" y="7"/>
                    <a:pt x="109" y="7"/>
                    <a:pt x="106" y="8"/>
                  </a:cubicBezTo>
                  <a:cubicBezTo>
                    <a:pt x="104" y="9"/>
                    <a:pt x="103" y="10"/>
                    <a:pt x="100" y="11"/>
                  </a:cubicBezTo>
                  <a:cubicBezTo>
                    <a:pt x="98" y="11"/>
                    <a:pt x="96" y="9"/>
                    <a:pt x="94" y="9"/>
                  </a:cubicBezTo>
                  <a:cubicBezTo>
                    <a:pt x="92" y="9"/>
                    <a:pt x="91" y="12"/>
                    <a:pt x="89" y="12"/>
                  </a:cubicBezTo>
                  <a:cubicBezTo>
                    <a:pt x="86" y="13"/>
                    <a:pt x="83" y="11"/>
                    <a:pt x="80" y="12"/>
                  </a:cubicBezTo>
                  <a:cubicBezTo>
                    <a:pt x="77" y="13"/>
                    <a:pt x="75" y="15"/>
                    <a:pt x="73" y="16"/>
                  </a:cubicBezTo>
                  <a:cubicBezTo>
                    <a:pt x="70" y="18"/>
                    <a:pt x="67" y="19"/>
                    <a:pt x="64" y="19"/>
                  </a:cubicBezTo>
                  <a:cubicBezTo>
                    <a:pt x="63" y="19"/>
                    <a:pt x="61" y="18"/>
                    <a:pt x="59" y="18"/>
                  </a:cubicBezTo>
                  <a:cubicBezTo>
                    <a:pt x="56" y="19"/>
                    <a:pt x="53" y="22"/>
                    <a:pt x="49" y="22"/>
                  </a:cubicBezTo>
                  <a:cubicBezTo>
                    <a:pt x="46" y="23"/>
                    <a:pt x="42" y="22"/>
                    <a:pt x="39" y="21"/>
                  </a:cubicBezTo>
                  <a:cubicBezTo>
                    <a:pt x="37" y="20"/>
                    <a:pt x="35" y="18"/>
                    <a:pt x="34" y="16"/>
                  </a:cubicBezTo>
                  <a:cubicBezTo>
                    <a:pt x="33" y="15"/>
                    <a:pt x="35" y="13"/>
                    <a:pt x="34" y="12"/>
                  </a:cubicBezTo>
                  <a:cubicBezTo>
                    <a:pt x="32" y="11"/>
                    <a:pt x="31" y="11"/>
                    <a:pt x="29" y="10"/>
                  </a:cubicBezTo>
                  <a:cubicBezTo>
                    <a:pt x="28" y="11"/>
                    <a:pt x="27" y="11"/>
                    <a:pt x="26" y="12"/>
                  </a:cubicBezTo>
                  <a:cubicBezTo>
                    <a:pt x="25" y="13"/>
                    <a:pt x="24" y="14"/>
                    <a:pt x="23" y="14"/>
                  </a:cubicBezTo>
                  <a:cubicBezTo>
                    <a:pt x="21" y="17"/>
                    <a:pt x="17" y="20"/>
                    <a:pt x="18" y="23"/>
                  </a:cubicBezTo>
                  <a:cubicBezTo>
                    <a:pt x="19" y="27"/>
                    <a:pt x="24" y="28"/>
                    <a:pt x="26" y="31"/>
                  </a:cubicBezTo>
                  <a:cubicBezTo>
                    <a:pt x="27" y="32"/>
                    <a:pt x="27" y="34"/>
                    <a:pt x="28" y="36"/>
                  </a:cubicBezTo>
                  <a:cubicBezTo>
                    <a:pt x="30" y="38"/>
                    <a:pt x="31" y="41"/>
                    <a:pt x="34" y="42"/>
                  </a:cubicBezTo>
                  <a:lnTo>
                    <a:pt x="75" y="58"/>
                  </a:lnTo>
                  <a:cubicBezTo>
                    <a:pt x="79" y="59"/>
                    <a:pt x="90" y="53"/>
                    <a:pt x="87" y="56"/>
                  </a:cubicBezTo>
                  <a:lnTo>
                    <a:pt x="50" y="101"/>
                  </a:lnTo>
                  <a:cubicBezTo>
                    <a:pt x="47" y="105"/>
                    <a:pt x="40" y="101"/>
                    <a:pt x="36" y="102"/>
                  </a:cubicBezTo>
                  <a:cubicBezTo>
                    <a:pt x="31" y="103"/>
                    <a:pt x="27" y="106"/>
                    <a:pt x="22" y="108"/>
                  </a:cubicBezTo>
                  <a:cubicBezTo>
                    <a:pt x="18" y="110"/>
                    <a:pt x="13" y="114"/>
                    <a:pt x="9" y="11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3" name="Freeform 153"/>
            <p:cNvSpPr>
              <a:spLocks noChangeAspect="1"/>
            </p:cNvSpPr>
            <p:nvPr/>
          </p:nvSpPr>
          <p:spPr bwMode="auto">
            <a:xfrm>
              <a:off x="5183188" y="5003800"/>
              <a:ext cx="57150" cy="61913"/>
            </a:xfrm>
            <a:custGeom>
              <a:avLst/>
              <a:gdLst>
                <a:gd name="T0" fmla="*/ 36195 w 30"/>
                <a:gd name="T1" fmla="*/ 0 h 32"/>
                <a:gd name="T2" fmla="*/ 55245 w 30"/>
                <a:gd name="T3" fmla="*/ 17413 h 32"/>
                <a:gd name="T4" fmla="*/ 55245 w 30"/>
                <a:gd name="T5" fmla="*/ 29022 h 32"/>
                <a:gd name="T6" fmla="*/ 45720 w 30"/>
                <a:gd name="T7" fmla="*/ 44500 h 32"/>
                <a:gd name="T8" fmla="*/ 40005 w 30"/>
                <a:gd name="T9" fmla="*/ 46435 h 32"/>
                <a:gd name="T10" fmla="*/ 30480 w 30"/>
                <a:gd name="T11" fmla="*/ 46435 h 32"/>
                <a:gd name="T12" fmla="*/ 22860 w 30"/>
                <a:gd name="T13" fmla="*/ 59978 h 32"/>
                <a:gd name="T14" fmla="*/ 15240 w 30"/>
                <a:gd name="T15" fmla="*/ 59978 h 32"/>
                <a:gd name="T16" fmla="*/ 7620 w 30"/>
                <a:gd name="T17" fmla="*/ 50304 h 32"/>
                <a:gd name="T18" fmla="*/ 1905 w 30"/>
                <a:gd name="T19" fmla="*/ 40630 h 32"/>
                <a:gd name="T20" fmla="*/ 1905 w 30"/>
                <a:gd name="T21" fmla="*/ 29022 h 32"/>
                <a:gd name="T22" fmla="*/ 11430 w 30"/>
                <a:gd name="T23" fmla="*/ 23217 h 32"/>
                <a:gd name="T24" fmla="*/ 20955 w 30"/>
                <a:gd name="T25" fmla="*/ 9674 h 32"/>
                <a:gd name="T26" fmla="*/ 30480 w 30"/>
                <a:gd name="T27" fmla="*/ 5804 h 32"/>
                <a:gd name="T28" fmla="*/ 36195 w 30"/>
                <a:gd name="T29" fmla="*/ 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0"/>
                <a:gd name="T46" fmla="*/ 0 h 32"/>
                <a:gd name="T47" fmla="*/ 30 w 30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0" h="32">
                  <a:moveTo>
                    <a:pt x="19" y="0"/>
                  </a:moveTo>
                  <a:cubicBezTo>
                    <a:pt x="23" y="2"/>
                    <a:pt x="26" y="6"/>
                    <a:pt x="29" y="9"/>
                  </a:cubicBezTo>
                  <a:cubicBezTo>
                    <a:pt x="30" y="11"/>
                    <a:pt x="30" y="13"/>
                    <a:pt x="29" y="15"/>
                  </a:cubicBezTo>
                  <a:cubicBezTo>
                    <a:pt x="28" y="18"/>
                    <a:pt x="26" y="20"/>
                    <a:pt x="24" y="23"/>
                  </a:cubicBezTo>
                  <a:cubicBezTo>
                    <a:pt x="23" y="24"/>
                    <a:pt x="22" y="24"/>
                    <a:pt x="21" y="24"/>
                  </a:cubicBezTo>
                  <a:cubicBezTo>
                    <a:pt x="19" y="24"/>
                    <a:pt x="17" y="23"/>
                    <a:pt x="16" y="24"/>
                  </a:cubicBezTo>
                  <a:cubicBezTo>
                    <a:pt x="14" y="26"/>
                    <a:pt x="14" y="30"/>
                    <a:pt x="12" y="31"/>
                  </a:cubicBezTo>
                  <a:cubicBezTo>
                    <a:pt x="11" y="32"/>
                    <a:pt x="9" y="32"/>
                    <a:pt x="8" y="31"/>
                  </a:cubicBezTo>
                  <a:cubicBezTo>
                    <a:pt x="6" y="30"/>
                    <a:pt x="5" y="28"/>
                    <a:pt x="4" y="26"/>
                  </a:cubicBezTo>
                  <a:cubicBezTo>
                    <a:pt x="3" y="24"/>
                    <a:pt x="2" y="23"/>
                    <a:pt x="1" y="21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2" y="14"/>
                    <a:pt x="5" y="14"/>
                    <a:pt x="6" y="12"/>
                  </a:cubicBezTo>
                  <a:cubicBezTo>
                    <a:pt x="8" y="10"/>
                    <a:pt x="8" y="7"/>
                    <a:pt x="11" y="5"/>
                  </a:cubicBezTo>
                  <a:cubicBezTo>
                    <a:pt x="12" y="4"/>
                    <a:pt x="14" y="4"/>
                    <a:pt x="16" y="3"/>
                  </a:cubicBezTo>
                  <a:cubicBezTo>
                    <a:pt x="17" y="3"/>
                    <a:pt x="18" y="0"/>
                    <a:pt x="1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4" name="Freeform 154"/>
            <p:cNvSpPr>
              <a:spLocks noChangeAspect="1"/>
            </p:cNvSpPr>
            <p:nvPr/>
          </p:nvSpPr>
          <p:spPr bwMode="auto">
            <a:xfrm>
              <a:off x="4791075" y="3238500"/>
              <a:ext cx="9525" cy="7938"/>
            </a:xfrm>
            <a:custGeom>
              <a:avLst/>
              <a:gdLst>
                <a:gd name="T0" fmla="*/ 3810 w 5"/>
                <a:gd name="T1" fmla="*/ 0 h 4"/>
                <a:gd name="T2" fmla="*/ 9525 w 5"/>
                <a:gd name="T3" fmla="*/ 3969 h 4"/>
                <a:gd name="T4" fmla="*/ 3810 w 5"/>
                <a:gd name="T5" fmla="*/ 7938 h 4"/>
                <a:gd name="T6" fmla="*/ 0 w 5"/>
                <a:gd name="T7" fmla="*/ 3969 h 4"/>
                <a:gd name="T8" fmla="*/ 3810 w 5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2" y="0"/>
                  </a:moveTo>
                  <a:cubicBezTo>
                    <a:pt x="3" y="0"/>
                    <a:pt x="5" y="1"/>
                    <a:pt x="5" y="2"/>
                  </a:cubicBezTo>
                  <a:cubicBezTo>
                    <a:pt x="5" y="3"/>
                    <a:pt x="3" y="4"/>
                    <a:pt x="2" y="4"/>
                  </a:cubicBezTo>
                  <a:cubicBezTo>
                    <a:pt x="2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5" name="Freeform 155"/>
            <p:cNvSpPr>
              <a:spLocks noChangeAspect="1"/>
            </p:cNvSpPr>
            <p:nvPr/>
          </p:nvSpPr>
          <p:spPr bwMode="auto">
            <a:xfrm>
              <a:off x="5815013" y="3848100"/>
              <a:ext cx="34925" cy="12700"/>
            </a:xfrm>
            <a:custGeom>
              <a:avLst/>
              <a:gdLst>
                <a:gd name="T0" fmla="*/ 9701 w 18"/>
                <a:gd name="T1" fmla="*/ 1814 h 7"/>
                <a:gd name="T2" fmla="*/ 17463 w 18"/>
                <a:gd name="T3" fmla="*/ 5443 h 7"/>
                <a:gd name="T4" fmla="*/ 27164 w 18"/>
                <a:gd name="T5" fmla="*/ 0 h 7"/>
                <a:gd name="T6" fmla="*/ 32985 w 18"/>
                <a:gd name="T7" fmla="*/ 5443 h 7"/>
                <a:gd name="T8" fmla="*/ 21343 w 18"/>
                <a:gd name="T9" fmla="*/ 12700 h 7"/>
                <a:gd name="T10" fmla="*/ 1940 w 18"/>
                <a:gd name="T11" fmla="*/ 7257 h 7"/>
                <a:gd name="T12" fmla="*/ 9701 w 18"/>
                <a:gd name="T13" fmla="*/ 1814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7"/>
                <a:gd name="T23" fmla="*/ 18 w 1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7">
                  <a:moveTo>
                    <a:pt x="5" y="1"/>
                  </a:moveTo>
                  <a:cubicBezTo>
                    <a:pt x="6" y="1"/>
                    <a:pt x="8" y="3"/>
                    <a:pt x="9" y="3"/>
                  </a:cubicBezTo>
                  <a:cubicBezTo>
                    <a:pt x="11" y="3"/>
                    <a:pt x="12" y="0"/>
                    <a:pt x="14" y="0"/>
                  </a:cubicBezTo>
                  <a:cubicBezTo>
                    <a:pt x="15" y="0"/>
                    <a:pt x="18" y="2"/>
                    <a:pt x="17" y="3"/>
                  </a:cubicBezTo>
                  <a:cubicBezTo>
                    <a:pt x="16" y="5"/>
                    <a:pt x="14" y="7"/>
                    <a:pt x="11" y="7"/>
                  </a:cubicBezTo>
                  <a:cubicBezTo>
                    <a:pt x="8" y="7"/>
                    <a:pt x="4" y="6"/>
                    <a:pt x="1" y="4"/>
                  </a:cubicBezTo>
                  <a:cubicBezTo>
                    <a:pt x="0" y="3"/>
                    <a:pt x="3" y="1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6" name="Freeform 156"/>
            <p:cNvSpPr>
              <a:spLocks noChangeAspect="1"/>
            </p:cNvSpPr>
            <p:nvPr/>
          </p:nvSpPr>
          <p:spPr bwMode="auto">
            <a:xfrm>
              <a:off x="5484813" y="4351338"/>
              <a:ext cx="11112" cy="23812"/>
            </a:xfrm>
            <a:custGeom>
              <a:avLst/>
              <a:gdLst>
                <a:gd name="T0" fmla="*/ 3704 w 6"/>
                <a:gd name="T1" fmla="*/ 1832 h 13"/>
                <a:gd name="T2" fmla="*/ 11112 w 6"/>
                <a:gd name="T3" fmla="*/ 20149 h 13"/>
                <a:gd name="T4" fmla="*/ 1852 w 6"/>
                <a:gd name="T5" fmla="*/ 14654 h 13"/>
                <a:gd name="T6" fmla="*/ 3704 w 6"/>
                <a:gd name="T7" fmla="*/ 1832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3"/>
                <a:gd name="T14" fmla="*/ 6 w 6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3">
                  <a:moveTo>
                    <a:pt x="2" y="1"/>
                  </a:moveTo>
                  <a:cubicBezTo>
                    <a:pt x="5" y="3"/>
                    <a:pt x="6" y="8"/>
                    <a:pt x="6" y="11"/>
                  </a:cubicBezTo>
                  <a:cubicBezTo>
                    <a:pt x="5" y="13"/>
                    <a:pt x="2" y="10"/>
                    <a:pt x="1" y="8"/>
                  </a:cubicBezTo>
                  <a:cubicBezTo>
                    <a:pt x="0" y="6"/>
                    <a:pt x="0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7" name="Freeform 157"/>
            <p:cNvSpPr>
              <a:spLocks noChangeAspect="1"/>
            </p:cNvSpPr>
            <p:nvPr/>
          </p:nvSpPr>
          <p:spPr bwMode="auto">
            <a:xfrm>
              <a:off x="4737100" y="4094163"/>
              <a:ext cx="17463" cy="20637"/>
            </a:xfrm>
            <a:custGeom>
              <a:avLst/>
              <a:gdLst>
                <a:gd name="T0" fmla="*/ 15523 w 9"/>
                <a:gd name="T1" fmla="*/ 3752 h 11"/>
                <a:gd name="T2" fmla="*/ 11642 w 9"/>
                <a:gd name="T3" fmla="*/ 18761 h 11"/>
                <a:gd name="T4" fmla="*/ 1940 w 9"/>
                <a:gd name="T5" fmla="*/ 15009 h 11"/>
                <a:gd name="T6" fmla="*/ 9702 w 9"/>
                <a:gd name="T7" fmla="*/ 5628 h 11"/>
                <a:gd name="T8" fmla="*/ 15523 w 9"/>
                <a:gd name="T9" fmla="*/ 3752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1"/>
                <a:gd name="T17" fmla="*/ 9 w 9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1">
                  <a:moveTo>
                    <a:pt x="8" y="2"/>
                  </a:moveTo>
                  <a:cubicBezTo>
                    <a:pt x="9" y="4"/>
                    <a:pt x="9" y="8"/>
                    <a:pt x="6" y="10"/>
                  </a:cubicBezTo>
                  <a:cubicBezTo>
                    <a:pt x="5" y="11"/>
                    <a:pt x="1" y="10"/>
                    <a:pt x="1" y="8"/>
                  </a:cubicBezTo>
                  <a:cubicBezTo>
                    <a:pt x="0" y="6"/>
                    <a:pt x="3" y="4"/>
                    <a:pt x="5" y="3"/>
                  </a:cubicBezTo>
                  <a:cubicBezTo>
                    <a:pt x="6" y="2"/>
                    <a:pt x="8" y="0"/>
                    <a:pt x="8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8" name="Freeform 158"/>
            <p:cNvSpPr>
              <a:spLocks noChangeAspect="1"/>
            </p:cNvSpPr>
            <p:nvPr/>
          </p:nvSpPr>
          <p:spPr bwMode="auto">
            <a:xfrm>
              <a:off x="4699000" y="4183063"/>
              <a:ext cx="7938" cy="11112"/>
            </a:xfrm>
            <a:custGeom>
              <a:avLst/>
              <a:gdLst>
                <a:gd name="T0" fmla="*/ 3969 w 4"/>
                <a:gd name="T1" fmla="*/ 0 h 6"/>
                <a:gd name="T2" fmla="*/ 7938 w 4"/>
                <a:gd name="T3" fmla="*/ 3704 h 6"/>
                <a:gd name="T4" fmla="*/ 3969 w 4"/>
                <a:gd name="T5" fmla="*/ 11112 h 6"/>
                <a:gd name="T6" fmla="*/ 0 w 4"/>
                <a:gd name="T7" fmla="*/ 9260 h 6"/>
                <a:gd name="T8" fmla="*/ 3969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4" y="4"/>
                    <a:pt x="3" y="5"/>
                    <a:pt x="2" y="6"/>
                  </a:cubicBezTo>
                  <a:cubicBezTo>
                    <a:pt x="1" y="6"/>
                    <a:pt x="0" y="6"/>
                    <a:pt x="0" y="5"/>
                  </a:cubicBezTo>
                  <a:cubicBezTo>
                    <a:pt x="0" y="3"/>
                    <a:pt x="1" y="1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59" name="Freeform 159"/>
            <p:cNvSpPr>
              <a:spLocks noChangeAspect="1"/>
            </p:cNvSpPr>
            <p:nvPr/>
          </p:nvSpPr>
          <p:spPr bwMode="auto">
            <a:xfrm>
              <a:off x="4191000" y="3390900"/>
              <a:ext cx="20638" cy="26988"/>
            </a:xfrm>
            <a:custGeom>
              <a:avLst/>
              <a:gdLst>
                <a:gd name="T0" fmla="*/ 20638 w 11"/>
                <a:gd name="T1" fmla="*/ 1928 h 14"/>
                <a:gd name="T2" fmla="*/ 16886 w 11"/>
                <a:gd name="T3" fmla="*/ 17349 h 14"/>
                <a:gd name="T4" fmla="*/ 3752 w 11"/>
                <a:gd name="T5" fmla="*/ 23133 h 14"/>
                <a:gd name="T6" fmla="*/ 13133 w 11"/>
                <a:gd name="T7" fmla="*/ 9639 h 14"/>
                <a:gd name="T8" fmla="*/ 16886 w 11"/>
                <a:gd name="T9" fmla="*/ 0 h 14"/>
                <a:gd name="T10" fmla="*/ 20638 w 11"/>
                <a:gd name="T11" fmla="*/ 1928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4"/>
                <a:gd name="T20" fmla="*/ 11 w 11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4">
                  <a:moveTo>
                    <a:pt x="11" y="1"/>
                  </a:moveTo>
                  <a:cubicBezTo>
                    <a:pt x="11" y="4"/>
                    <a:pt x="11" y="7"/>
                    <a:pt x="9" y="9"/>
                  </a:cubicBezTo>
                  <a:cubicBezTo>
                    <a:pt x="8" y="11"/>
                    <a:pt x="3" y="14"/>
                    <a:pt x="2" y="12"/>
                  </a:cubicBezTo>
                  <a:cubicBezTo>
                    <a:pt x="0" y="9"/>
                    <a:pt x="5" y="8"/>
                    <a:pt x="7" y="5"/>
                  </a:cubicBezTo>
                  <a:cubicBezTo>
                    <a:pt x="8" y="4"/>
                    <a:pt x="8" y="2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0" name="Freeform 160"/>
            <p:cNvSpPr>
              <a:spLocks noChangeAspect="1"/>
            </p:cNvSpPr>
            <p:nvPr/>
          </p:nvSpPr>
          <p:spPr bwMode="auto">
            <a:xfrm>
              <a:off x="4211638" y="3373438"/>
              <a:ext cx="14287" cy="17462"/>
            </a:xfrm>
            <a:custGeom>
              <a:avLst/>
              <a:gdLst>
                <a:gd name="T0" fmla="*/ 12501 w 8"/>
                <a:gd name="T1" fmla="*/ 3880 h 9"/>
                <a:gd name="T2" fmla="*/ 8929 w 8"/>
                <a:gd name="T3" fmla="*/ 11641 h 9"/>
                <a:gd name="T4" fmla="*/ 1786 w 8"/>
                <a:gd name="T5" fmla="*/ 15522 h 9"/>
                <a:gd name="T6" fmla="*/ 1786 w 8"/>
                <a:gd name="T7" fmla="*/ 7761 h 9"/>
                <a:gd name="T8" fmla="*/ 12501 w 8"/>
                <a:gd name="T9" fmla="*/ 388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7" y="2"/>
                  </a:moveTo>
                  <a:cubicBezTo>
                    <a:pt x="8" y="2"/>
                    <a:pt x="6" y="5"/>
                    <a:pt x="5" y="6"/>
                  </a:cubicBezTo>
                  <a:cubicBezTo>
                    <a:pt x="4" y="7"/>
                    <a:pt x="2" y="9"/>
                    <a:pt x="1" y="8"/>
                  </a:cubicBezTo>
                  <a:cubicBezTo>
                    <a:pt x="0" y="7"/>
                    <a:pt x="0" y="5"/>
                    <a:pt x="1" y="4"/>
                  </a:cubicBezTo>
                  <a:cubicBezTo>
                    <a:pt x="3" y="2"/>
                    <a:pt x="5" y="0"/>
                    <a:pt x="7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1" name="Freeform 161"/>
            <p:cNvSpPr>
              <a:spLocks noChangeAspect="1"/>
            </p:cNvSpPr>
            <p:nvPr/>
          </p:nvSpPr>
          <p:spPr bwMode="auto">
            <a:xfrm>
              <a:off x="4164013" y="3403600"/>
              <a:ext cx="14287" cy="15875"/>
            </a:xfrm>
            <a:custGeom>
              <a:avLst/>
              <a:gdLst>
                <a:gd name="T0" fmla="*/ 12501 w 8"/>
                <a:gd name="T1" fmla="*/ 1984 h 8"/>
                <a:gd name="T2" fmla="*/ 12501 w 8"/>
                <a:gd name="T3" fmla="*/ 9922 h 8"/>
                <a:gd name="T4" fmla="*/ 7144 w 8"/>
                <a:gd name="T5" fmla="*/ 15875 h 8"/>
                <a:gd name="T6" fmla="*/ 0 w 8"/>
                <a:gd name="T7" fmla="*/ 11906 h 8"/>
                <a:gd name="T8" fmla="*/ 3572 w 8"/>
                <a:gd name="T9" fmla="*/ 1984 h 8"/>
                <a:gd name="T10" fmla="*/ 12501 w 8"/>
                <a:gd name="T11" fmla="*/ 198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7" y="1"/>
                  </a:moveTo>
                  <a:cubicBezTo>
                    <a:pt x="8" y="2"/>
                    <a:pt x="8" y="4"/>
                    <a:pt x="7" y="5"/>
                  </a:cubicBezTo>
                  <a:cubicBezTo>
                    <a:pt x="7" y="6"/>
                    <a:pt x="5" y="7"/>
                    <a:pt x="4" y="8"/>
                  </a:cubicBezTo>
                  <a:cubicBezTo>
                    <a:pt x="3" y="8"/>
                    <a:pt x="1" y="7"/>
                    <a:pt x="0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0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2" name="Freeform 162"/>
            <p:cNvSpPr>
              <a:spLocks noChangeAspect="1"/>
            </p:cNvSpPr>
            <p:nvPr/>
          </p:nvSpPr>
          <p:spPr bwMode="auto">
            <a:xfrm>
              <a:off x="4138613" y="3394075"/>
              <a:ext cx="20637" cy="19050"/>
            </a:xfrm>
            <a:custGeom>
              <a:avLst/>
              <a:gdLst>
                <a:gd name="T0" fmla="*/ 20637 w 11"/>
                <a:gd name="T1" fmla="*/ 3810 h 10"/>
                <a:gd name="T2" fmla="*/ 7504 w 11"/>
                <a:gd name="T3" fmla="*/ 19050 h 10"/>
                <a:gd name="T4" fmla="*/ 1876 w 11"/>
                <a:gd name="T5" fmla="*/ 13335 h 10"/>
                <a:gd name="T6" fmla="*/ 1876 w 11"/>
                <a:gd name="T7" fmla="*/ 7620 h 10"/>
                <a:gd name="T8" fmla="*/ 13133 w 11"/>
                <a:gd name="T9" fmla="*/ 1905 h 10"/>
                <a:gd name="T10" fmla="*/ 20637 w 11"/>
                <a:gd name="T11" fmla="*/ 381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0"/>
                <a:gd name="T20" fmla="*/ 11 w 11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0">
                  <a:moveTo>
                    <a:pt x="11" y="2"/>
                  </a:moveTo>
                  <a:cubicBezTo>
                    <a:pt x="9" y="5"/>
                    <a:pt x="7" y="8"/>
                    <a:pt x="4" y="10"/>
                  </a:cubicBezTo>
                  <a:cubicBezTo>
                    <a:pt x="3" y="10"/>
                    <a:pt x="2" y="8"/>
                    <a:pt x="1" y="7"/>
                  </a:cubicBezTo>
                  <a:cubicBezTo>
                    <a:pt x="1" y="6"/>
                    <a:pt x="0" y="5"/>
                    <a:pt x="1" y="4"/>
                  </a:cubicBezTo>
                  <a:cubicBezTo>
                    <a:pt x="3" y="2"/>
                    <a:pt x="5" y="1"/>
                    <a:pt x="7" y="1"/>
                  </a:cubicBezTo>
                  <a:cubicBezTo>
                    <a:pt x="8" y="0"/>
                    <a:pt x="11" y="1"/>
                    <a:pt x="1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3" name="Freeform 163"/>
            <p:cNvSpPr>
              <a:spLocks noChangeAspect="1"/>
            </p:cNvSpPr>
            <p:nvPr/>
          </p:nvSpPr>
          <p:spPr bwMode="auto">
            <a:xfrm>
              <a:off x="4127500" y="3405188"/>
              <a:ext cx="11113" cy="9525"/>
            </a:xfrm>
            <a:custGeom>
              <a:avLst/>
              <a:gdLst>
                <a:gd name="T0" fmla="*/ 1852 w 6"/>
                <a:gd name="T1" fmla="*/ 1905 h 5"/>
                <a:gd name="T2" fmla="*/ 11113 w 6"/>
                <a:gd name="T3" fmla="*/ 5715 h 5"/>
                <a:gd name="T4" fmla="*/ 5557 w 6"/>
                <a:gd name="T5" fmla="*/ 7620 h 5"/>
                <a:gd name="T6" fmla="*/ 1852 w 6"/>
                <a:gd name="T7" fmla="*/ 190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1" y="1"/>
                  </a:moveTo>
                  <a:cubicBezTo>
                    <a:pt x="3" y="0"/>
                    <a:pt x="5" y="1"/>
                    <a:pt x="6" y="3"/>
                  </a:cubicBezTo>
                  <a:cubicBezTo>
                    <a:pt x="6" y="4"/>
                    <a:pt x="4" y="5"/>
                    <a:pt x="3" y="4"/>
                  </a:cubicBezTo>
                  <a:cubicBezTo>
                    <a:pt x="2" y="4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4" name="Freeform 164"/>
            <p:cNvSpPr>
              <a:spLocks noChangeAspect="1"/>
            </p:cNvSpPr>
            <p:nvPr/>
          </p:nvSpPr>
          <p:spPr bwMode="auto">
            <a:xfrm>
              <a:off x="4111625" y="3417888"/>
              <a:ext cx="9525" cy="11112"/>
            </a:xfrm>
            <a:custGeom>
              <a:avLst/>
              <a:gdLst>
                <a:gd name="T0" fmla="*/ 7620 w 5"/>
                <a:gd name="T1" fmla="*/ 0 h 6"/>
                <a:gd name="T2" fmla="*/ 5715 w 5"/>
                <a:gd name="T3" fmla="*/ 9260 h 6"/>
                <a:gd name="T4" fmla="*/ 1905 w 5"/>
                <a:gd name="T5" fmla="*/ 3704 h 6"/>
                <a:gd name="T6" fmla="*/ 7620 w 5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4" y="0"/>
                  </a:moveTo>
                  <a:cubicBezTo>
                    <a:pt x="5" y="2"/>
                    <a:pt x="4" y="4"/>
                    <a:pt x="3" y="5"/>
                  </a:cubicBezTo>
                  <a:cubicBezTo>
                    <a:pt x="2" y="6"/>
                    <a:pt x="0" y="3"/>
                    <a:pt x="1" y="2"/>
                  </a:cubicBezTo>
                  <a:cubicBezTo>
                    <a:pt x="1" y="1"/>
                    <a:pt x="3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5" name="Freeform 165"/>
            <p:cNvSpPr>
              <a:spLocks noChangeAspect="1"/>
            </p:cNvSpPr>
            <p:nvPr/>
          </p:nvSpPr>
          <p:spPr bwMode="auto">
            <a:xfrm>
              <a:off x="4114800" y="3384550"/>
              <a:ext cx="6350" cy="14288"/>
            </a:xfrm>
            <a:custGeom>
              <a:avLst/>
              <a:gdLst>
                <a:gd name="T0" fmla="*/ 6350 w 4"/>
                <a:gd name="T1" fmla="*/ 4082 h 7"/>
                <a:gd name="T2" fmla="*/ 4762 w 4"/>
                <a:gd name="T3" fmla="*/ 14288 h 7"/>
                <a:gd name="T4" fmla="*/ 1588 w 4"/>
                <a:gd name="T5" fmla="*/ 8165 h 7"/>
                <a:gd name="T6" fmla="*/ 1588 w 4"/>
                <a:gd name="T7" fmla="*/ 2041 h 7"/>
                <a:gd name="T8" fmla="*/ 6350 w 4"/>
                <a:gd name="T9" fmla="*/ 4082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4" y="2"/>
                  </a:moveTo>
                  <a:cubicBezTo>
                    <a:pt x="4" y="4"/>
                    <a:pt x="4" y="6"/>
                    <a:pt x="3" y="7"/>
                  </a:cubicBezTo>
                  <a:cubicBezTo>
                    <a:pt x="2" y="7"/>
                    <a:pt x="1" y="5"/>
                    <a:pt x="1" y="4"/>
                  </a:cubicBezTo>
                  <a:cubicBezTo>
                    <a:pt x="0" y="3"/>
                    <a:pt x="0" y="1"/>
                    <a:pt x="1" y="1"/>
                  </a:cubicBezTo>
                  <a:cubicBezTo>
                    <a:pt x="2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6" name="Freeform 166"/>
            <p:cNvSpPr>
              <a:spLocks noChangeAspect="1"/>
            </p:cNvSpPr>
            <p:nvPr/>
          </p:nvSpPr>
          <p:spPr bwMode="auto">
            <a:xfrm>
              <a:off x="4135438" y="3268663"/>
              <a:ext cx="14287" cy="7937"/>
            </a:xfrm>
            <a:custGeom>
              <a:avLst/>
              <a:gdLst>
                <a:gd name="T0" fmla="*/ 5358 w 8"/>
                <a:gd name="T1" fmla="*/ 0 h 4"/>
                <a:gd name="T2" fmla="*/ 14287 w 8"/>
                <a:gd name="T3" fmla="*/ 3969 h 4"/>
                <a:gd name="T4" fmla="*/ 7144 w 8"/>
                <a:gd name="T5" fmla="*/ 7937 h 4"/>
                <a:gd name="T6" fmla="*/ 0 w 8"/>
                <a:gd name="T7" fmla="*/ 3969 h 4"/>
                <a:gd name="T8" fmla="*/ 5358 w 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3" y="0"/>
                  </a:moveTo>
                  <a:cubicBezTo>
                    <a:pt x="5" y="0"/>
                    <a:pt x="7" y="0"/>
                    <a:pt x="8" y="2"/>
                  </a:cubicBezTo>
                  <a:cubicBezTo>
                    <a:pt x="8" y="4"/>
                    <a:pt x="5" y="4"/>
                    <a:pt x="4" y="4"/>
                  </a:cubicBezTo>
                  <a:cubicBezTo>
                    <a:pt x="2" y="4"/>
                    <a:pt x="0" y="4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7" name="Freeform 167"/>
            <p:cNvSpPr>
              <a:spLocks noChangeAspect="1"/>
            </p:cNvSpPr>
            <p:nvPr/>
          </p:nvSpPr>
          <p:spPr bwMode="auto">
            <a:xfrm>
              <a:off x="5791200" y="3862388"/>
              <a:ext cx="9525" cy="4762"/>
            </a:xfrm>
            <a:custGeom>
              <a:avLst/>
              <a:gdLst>
                <a:gd name="T0" fmla="*/ 5715 w 5"/>
                <a:gd name="T1" fmla="*/ 2381 h 2"/>
                <a:gd name="T2" fmla="*/ 7620 w 5"/>
                <a:gd name="T3" fmla="*/ 4762 h 2"/>
                <a:gd name="T4" fmla="*/ 3810 w 5"/>
                <a:gd name="T5" fmla="*/ 4762 h 2"/>
                <a:gd name="T6" fmla="*/ 0 w 5"/>
                <a:gd name="T7" fmla="*/ 2381 h 2"/>
                <a:gd name="T8" fmla="*/ 5715 w 5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3" y="1"/>
                  </a:moveTo>
                  <a:cubicBezTo>
                    <a:pt x="3" y="1"/>
                    <a:pt x="5" y="1"/>
                    <a:pt x="4" y="2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2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8" name="Freeform 168"/>
            <p:cNvSpPr>
              <a:spLocks noChangeAspect="1"/>
            </p:cNvSpPr>
            <p:nvPr/>
          </p:nvSpPr>
          <p:spPr bwMode="auto">
            <a:xfrm>
              <a:off x="6942138" y="4014788"/>
              <a:ext cx="1587" cy="7937"/>
            </a:xfrm>
            <a:custGeom>
              <a:avLst/>
              <a:gdLst>
                <a:gd name="T0" fmla="*/ 1587 w 1"/>
                <a:gd name="T1" fmla="*/ 5953 h 4"/>
                <a:gd name="T2" fmla="*/ 0 w 1"/>
                <a:gd name="T3" fmla="*/ 7937 h 4"/>
                <a:gd name="T4" fmla="*/ 0 w 1"/>
                <a:gd name="T5" fmla="*/ 3969 h 4"/>
                <a:gd name="T6" fmla="*/ 0 w 1"/>
                <a:gd name="T7" fmla="*/ 0 h 4"/>
                <a:gd name="T8" fmla="*/ 1587 w 1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4"/>
                <a:gd name="T17" fmla="*/ 1 w 1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4">
                  <a:moveTo>
                    <a:pt x="1" y="3"/>
                  </a:moveTo>
                  <a:cubicBezTo>
                    <a:pt x="1" y="3"/>
                    <a:pt x="1" y="4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1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69" name="Freeform 169"/>
            <p:cNvSpPr>
              <a:spLocks noChangeAspect="1"/>
            </p:cNvSpPr>
            <p:nvPr/>
          </p:nvSpPr>
          <p:spPr bwMode="auto">
            <a:xfrm>
              <a:off x="6897688" y="3836988"/>
              <a:ext cx="1587" cy="6350"/>
            </a:xfrm>
            <a:custGeom>
              <a:avLst/>
              <a:gdLst>
                <a:gd name="T0" fmla="*/ 1587 w 1"/>
                <a:gd name="T1" fmla="*/ 4762 h 4"/>
                <a:gd name="T2" fmla="*/ 1587 w 1"/>
                <a:gd name="T3" fmla="*/ 6350 h 4"/>
                <a:gd name="T4" fmla="*/ 0 w 1"/>
                <a:gd name="T5" fmla="*/ 3175 h 4"/>
                <a:gd name="T6" fmla="*/ 0 w 1"/>
                <a:gd name="T7" fmla="*/ 0 h 4"/>
                <a:gd name="T8" fmla="*/ 1587 w 1"/>
                <a:gd name="T9" fmla="*/ 476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4"/>
                <a:gd name="T17" fmla="*/ 1 w 1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4">
                  <a:moveTo>
                    <a:pt x="1" y="3"/>
                  </a:moveTo>
                  <a:cubicBezTo>
                    <a:pt x="1" y="3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0" name="Freeform 170"/>
            <p:cNvSpPr>
              <a:spLocks noChangeAspect="1"/>
            </p:cNvSpPr>
            <p:nvPr/>
          </p:nvSpPr>
          <p:spPr bwMode="auto">
            <a:xfrm>
              <a:off x="6894513" y="3875088"/>
              <a:ext cx="3175" cy="9525"/>
            </a:xfrm>
            <a:custGeom>
              <a:avLst/>
              <a:gdLst>
                <a:gd name="T0" fmla="*/ 3175 w 2"/>
                <a:gd name="T1" fmla="*/ 5715 h 5"/>
                <a:gd name="T2" fmla="*/ 1588 w 2"/>
                <a:gd name="T3" fmla="*/ 9525 h 5"/>
                <a:gd name="T4" fmla="*/ 0 w 2"/>
                <a:gd name="T5" fmla="*/ 5715 h 5"/>
                <a:gd name="T6" fmla="*/ 1588 w 2"/>
                <a:gd name="T7" fmla="*/ 0 h 5"/>
                <a:gd name="T8" fmla="*/ 3175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0" y="5"/>
                    <a:pt x="0" y="3"/>
                    <a:pt x="0" y="3"/>
                  </a:cubicBezTo>
                  <a:cubicBezTo>
                    <a:pt x="0" y="2"/>
                    <a:pt x="1" y="0"/>
                    <a:pt x="1" y="0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1" name="Freeform 171"/>
            <p:cNvSpPr>
              <a:spLocks noChangeAspect="1"/>
            </p:cNvSpPr>
            <p:nvPr/>
          </p:nvSpPr>
          <p:spPr bwMode="auto">
            <a:xfrm>
              <a:off x="6897688" y="3898900"/>
              <a:ext cx="4762" cy="9525"/>
            </a:xfrm>
            <a:custGeom>
              <a:avLst/>
              <a:gdLst>
                <a:gd name="T0" fmla="*/ 4762 w 2"/>
                <a:gd name="T1" fmla="*/ 5715 h 5"/>
                <a:gd name="T2" fmla="*/ 4762 w 2"/>
                <a:gd name="T3" fmla="*/ 9525 h 5"/>
                <a:gd name="T4" fmla="*/ 2381 w 2"/>
                <a:gd name="T5" fmla="*/ 5715 h 5"/>
                <a:gd name="T6" fmla="*/ 2381 w 2"/>
                <a:gd name="T7" fmla="*/ 0 h 5"/>
                <a:gd name="T8" fmla="*/ 4762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3"/>
                    <a:pt x="2" y="5"/>
                    <a:pt x="2" y="5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2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2" name="Freeform 172"/>
            <p:cNvSpPr>
              <a:spLocks noChangeAspect="1"/>
            </p:cNvSpPr>
            <p:nvPr/>
          </p:nvSpPr>
          <p:spPr bwMode="auto">
            <a:xfrm>
              <a:off x="6899275" y="3922713"/>
              <a:ext cx="6350" cy="9525"/>
            </a:xfrm>
            <a:custGeom>
              <a:avLst/>
              <a:gdLst>
                <a:gd name="T0" fmla="*/ 4233 w 3"/>
                <a:gd name="T1" fmla="*/ 5715 h 5"/>
                <a:gd name="T2" fmla="*/ 0 w 3"/>
                <a:gd name="T3" fmla="*/ 9525 h 5"/>
                <a:gd name="T4" fmla="*/ 0 w 3"/>
                <a:gd name="T5" fmla="*/ 3810 h 5"/>
                <a:gd name="T6" fmla="*/ 4233 w 3"/>
                <a:gd name="T7" fmla="*/ 0 h 5"/>
                <a:gd name="T8" fmla="*/ 4233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3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2"/>
                    <a:pt x="2" y="0"/>
                    <a:pt x="2" y="0"/>
                  </a:cubicBezTo>
                  <a:cubicBezTo>
                    <a:pt x="3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3" name="Freeform 173"/>
            <p:cNvSpPr>
              <a:spLocks noChangeAspect="1"/>
            </p:cNvSpPr>
            <p:nvPr/>
          </p:nvSpPr>
          <p:spPr bwMode="auto">
            <a:xfrm>
              <a:off x="6899275" y="3849688"/>
              <a:ext cx="4763" cy="9525"/>
            </a:xfrm>
            <a:custGeom>
              <a:avLst/>
              <a:gdLst>
                <a:gd name="T0" fmla="*/ 4763 w 2"/>
                <a:gd name="T1" fmla="*/ 5715 h 5"/>
                <a:gd name="T2" fmla="*/ 2382 w 2"/>
                <a:gd name="T3" fmla="*/ 9525 h 5"/>
                <a:gd name="T4" fmla="*/ 0 w 2"/>
                <a:gd name="T5" fmla="*/ 5715 h 5"/>
                <a:gd name="T6" fmla="*/ 2382 w 2"/>
                <a:gd name="T7" fmla="*/ 1905 h 5"/>
                <a:gd name="T8" fmla="*/ 4763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2" y="5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4" name="Freeform 174"/>
            <p:cNvSpPr>
              <a:spLocks noChangeAspect="1"/>
            </p:cNvSpPr>
            <p:nvPr/>
          </p:nvSpPr>
          <p:spPr bwMode="auto">
            <a:xfrm>
              <a:off x="6764338" y="3824288"/>
              <a:ext cx="7937" cy="19050"/>
            </a:xfrm>
            <a:custGeom>
              <a:avLst/>
              <a:gdLst>
                <a:gd name="T0" fmla="*/ 5953 w 4"/>
                <a:gd name="T1" fmla="*/ 11430 h 10"/>
                <a:gd name="T2" fmla="*/ 1984 w 4"/>
                <a:gd name="T3" fmla="*/ 17145 h 10"/>
                <a:gd name="T4" fmla="*/ 1984 w 4"/>
                <a:gd name="T5" fmla="*/ 9525 h 10"/>
                <a:gd name="T6" fmla="*/ 5953 w 4"/>
                <a:gd name="T7" fmla="*/ 1905 h 10"/>
                <a:gd name="T8" fmla="*/ 5953 w 4"/>
                <a:gd name="T9" fmla="*/ 1143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0"/>
                <a:gd name="T17" fmla="*/ 4 w 4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0">
                  <a:moveTo>
                    <a:pt x="3" y="6"/>
                  </a:moveTo>
                  <a:cubicBezTo>
                    <a:pt x="3" y="8"/>
                    <a:pt x="2" y="10"/>
                    <a:pt x="1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1" y="3"/>
                    <a:pt x="2" y="0"/>
                    <a:pt x="3" y="1"/>
                  </a:cubicBezTo>
                  <a:cubicBezTo>
                    <a:pt x="4" y="2"/>
                    <a:pt x="3" y="5"/>
                    <a:pt x="3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5" name="Freeform 175"/>
            <p:cNvSpPr>
              <a:spLocks noChangeAspect="1"/>
            </p:cNvSpPr>
            <p:nvPr/>
          </p:nvSpPr>
          <p:spPr bwMode="auto">
            <a:xfrm>
              <a:off x="6762750" y="3843338"/>
              <a:ext cx="7938" cy="22225"/>
            </a:xfrm>
            <a:custGeom>
              <a:avLst/>
              <a:gdLst>
                <a:gd name="T0" fmla="*/ 5953 w 4"/>
                <a:gd name="T1" fmla="*/ 14143 h 11"/>
                <a:gd name="T2" fmla="*/ 1985 w 4"/>
                <a:gd name="T3" fmla="*/ 20205 h 11"/>
                <a:gd name="T4" fmla="*/ 1985 w 4"/>
                <a:gd name="T5" fmla="*/ 12123 h 11"/>
                <a:gd name="T6" fmla="*/ 5953 w 4"/>
                <a:gd name="T7" fmla="*/ 2020 h 11"/>
                <a:gd name="T8" fmla="*/ 5953 w 4"/>
                <a:gd name="T9" fmla="*/ 14143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1"/>
                <a:gd name="T17" fmla="*/ 4 w 4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1">
                  <a:moveTo>
                    <a:pt x="3" y="7"/>
                  </a:moveTo>
                  <a:cubicBezTo>
                    <a:pt x="3" y="9"/>
                    <a:pt x="2" y="11"/>
                    <a:pt x="1" y="10"/>
                  </a:cubicBezTo>
                  <a:cubicBezTo>
                    <a:pt x="0" y="10"/>
                    <a:pt x="1" y="7"/>
                    <a:pt x="1" y="6"/>
                  </a:cubicBezTo>
                  <a:cubicBezTo>
                    <a:pt x="1" y="4"/>
                    <a:pt x="2" y="0"/>
                    <a:pt x="3" y="1"/>
                  </a:cubicBezTo>
                  <a:cubicBezTo>
                    <a:pt x="4" y="2"/>
                    <a:pt x="4" y="5"/>
                    <a:pt x="3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6" name="Freeform 176"/>
            <p:cNvSpPr>
              <a:spLocks noChangeAspect="1"/>
            </p:cNvSpPr>
            <p:nvPr/>
          </p:nvSpPr>
          <p:spPr bwMode="auto">
            <a:xfrm>
              <a:off x="6762750" y="3868738"/>
              <a:ext cx="3175" cy="19050"/>
            </a:xfrm>
            <a:custGeom>
              <a:avLst/>
              <a:gdLst>
                <a:gd name="T0" fmla="*/ 3175 w 2"/>
                <a:gd name="T1" fmla="*/ 13335 h 10"/>
                <a:gd name="T2" fmla="*/ 1588 w 2"/>
                <a:gd name="T3" fmla="*/ 19050 h 10"/>
                <a:gd name="T4" fmla="*/ 0 w 2"/>
                <a:gd name="T5" fmla="*/ 9525 h 10"/>
                <a:gd name="T6" fmla="*/ 1588 w 2"/>
                <a:gd name="T7" fmla="*/ 1905 h 10"/>
                <a:gd name="T8" fmla="*/ 3175 w 2"/>
                <a:gd name="T9" fmla="*/ 13335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0"/>
                <a:gd name="T17" fmla="*/ 2 w 2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0">
                  <a:moveTo>
                    <a:pt x="2" y="7"/>
                  </a:moveTo>
                  <a:cubicBezTo>
                    <a:pt x="2" y="8"/>
                    <a:pt x="2" y="10"/>
                    <a:pt x="1" y="10"/>
                  </a:cubicBezTo>
                  <a:cubicBezTo>
                    <a:pt x="0" y="9"/>
                    <a:pt x="0" y="7"/>
                    <a:pt x="0" y="5"/>
                  </a:cubicBezTo>
                  <a:cubicBezTo>
                    <a:pt x="0" y="3"/>
                    <a:pt x="0" y="0"/>
                    <a:pt x="1" y="1"/>
                  </a:cubicBezTo>
                  <a:cubicBezTo>
                    <a:pt x="2" y="1"/>
                    <a:pt x="2" y="5"/>
                    <a:pt x="2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7" name="Freeform 177"/>
            <p:cNvSpPr>
              <a:spLocks noChangeAspect="1"/>
            </p:cNvSpPr>
            <p:nvPr/>
          </p:nvSpPr>
          <p:spPr bwMode="auto">
            <a:xfrm>
              <a:off x="5551488" y="3770313"/>
              <a:ext cx="6350" cy="3175"/>
            </a:xfrm>
            <a:custGeom>
              <a:avLst/>
              <a:gdLst>
                <a:gd name="T0" fmla="*/ 3175 w 4"/>
                <a:gd name="T1" fmla="*/ 0 h 2"/>
                <a:gd name="T2" fmla="*/ 4762 w 4"/>
                <a:gd name="T3" fmla="*/ 1588 h 2"/>
                <a:gd name="T4" fmla="*/ 3175 w 4"/>
                <a:gd name="T5" fmla="*/ 3175 h 2"/>
                <a:gd name="T6" fmla="*/ 0 w 4"/>
                <a:gd name="T7" fmla="*/ 1588 h 2"/>
                <a:gd name="T8" fmla="*/ 3175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0"/>
                  </a:moveTo>
                  <a:cubicBezTo>
                    <a:pt x="3" y="0"/>
                    <a:pt x="4" y="0"/>
                    <a:pt x="3" y="1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8" name="Freeform 178"/>
            <p:cNvSpPr>
              <a:spLocks noChangeAspect="1"/>
            </p:cNvSpPr>
            <p:nvPr/>
          </p:nvSpPr>
          <p:spPr bwMode="auto">
            <a:xfrm>
              <a:off x="6723063" y="3573463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79" name="Freeform 179"/>
            <p:cNvSpPr>
              <a:spLocks noChangeAspect="1"/>
            </p:cNvSpPr>
            <p:nvPr/>
          </p:nvSpPr>
          <p:spPr bwMode="auto">
            <a:xfrm>
              <a:off x="6711950" y="3567113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0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0" name="Freeform 180"/>
            <p:cNvSpPr>
              <a:spLocks noChangeAspect="1"/>
            </p:cNvSpPr>
            <p:nvPr/>
          </p:nvSpPr>
          <p:spPr bwMode="auto">
            <a:xfrm>
              <a:off x="6713538" y="357663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1" name="Freeform 181"/>
            <p:cNvSpPr>
              <a:spLocks noChangeAspect="1"/>
            </p:cNvSpPr>
            <p:nvPr/>
          </p:nvSpPr>
          <p:spPr bwMode="auto">
            <a:xfrm>
              <a:off x="6702425" y="3567113"/>
              <a:ext cx="6350" cy="15875"/>
            </a:xfrm>
            <a:custGeom>
              <a:avLst/>
              <a:gdLst>
                <a:gd name="T0" fmla="*/ 4762 w 4"/>
                <a:gd name="T1" fmla="*/ 7938 h 8"/>
                <a:gd name="T2" fmla="*/ 4762 w 4"/>
                <a:gd name="T3" fmla="*/ 15875 h 8"/>
                <a:gd name="T4" fmla="*/ 1588 w 4"/>
                <a:gd name="T5" fmla="*/ 9922 h 8"/>
                <a:gd name="T6" fmla="*/ 1588 w 4"/>
                <a:gd name="T7" fmla="*/ 0 h 8"/>
                <a:gd name="T8" fmla="*/ 4762 w 4"/>
                <a:gd name="T9" fmla="*/ 7938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3" y="4"/>
                  </a:moveTo>
                  <a:cubicBezTo>
                    <a:pt x="4" y="5"/>
                    <a:pt x="4" y="8"/>
                    <a:pt x="3" y="8"/>
                  </a:cubicBezTo>
                  <a:cubicBezTo>
                    <a:pt x="2" y="8"/>
                    <a:pt x="1" y="7"/>
                    <a:pt x="1" y="5"/>
                  </a:cubicBezTo>
                  <a:cubicBezTo>
                    <a:pt x="0" y="4"/>
                    <a:pt x="0" y="1"/>
                    <a:pt x="1" y="0"/>
                  </a:cubicBezTo>
                  <a:cubicBezTo>
                    <a:pt x="2" y="0"/>
                    <a:pt x="3" y="2"/>
                    <a:pt x="3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2" name="Oval 182"/>
            <p:cNvSpPr>
              <a:spLocks noChangeAspect="1" noChangeArrowheads="1"/>
            </p:cNvSpPr>
            <p:nvPr/>
          </p:nvSpPr>
          <p:spPr bwMode="auto">
            <a:xfrm>
              <a:off x="5811838" y="3865563"/>
              <a:ext cx="6350" cy="317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3" name="Oval 183"/>
            <p:cNvSpPr>
              <a:spLocks noChangeAspect="1" noChangeArrowheads="1"/>
            </p:cNvSpPr>
            <p:nvPr/>
          </p:nvSpPr>
          <p:spPr bwMode="auto">
            <a:xfrm>
              <a:off x="6904038" y="3979863"/>
              <a:ext cx="3175" cy="476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4" name="Freeform 184"/>
            <p:cNvSpPr>
              <a:spLocks noChangeAspect="1"/>
            </p:cNvSpPr>
            <p:nvPr/>
          </p:nvSpPr>
          <p:spPr bwMode="auto">
            <a:xfrm>
              <a:off x="6889750" y="3859213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1588 h 2"/>
                <a:gd name="T4" fmla="*/ 2117 w 3"/>
                <a:gd name="T5" fmla="*/ 0 h 2"/>
                <a:gd name="T6" fmla="*/ 6350 w 3"/>
                <a:gd name="T7" fmla="*/ 1588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5" name="Freeform 185"/>
            <p:cNvSpPr>
              <a:spLocks noChangeAspect="1"/>
            </p:cNvSpPr>
            <p:nvPr/>
          </p:nvSpPr>
          <p:spPr bwMode="auto">
            <a:xfrm>
              <a:off x="6899275" y="3876675"/>
              <a:ext cx="4763" cy="4763"/>
            </a:xfrm>
            <a:custGeom>
              <a:avLst/>
              <a:gdLst>
                <a:gd name="T0" fmla="*/ 4763 w 2"/>
                <a:gd name="T1" fmla="*/ 3175 h 3"/>
                <a:gd name="T2" fmla="*/ 2382 w 2"/>
                <a:gd name="T3" fmla="*/ 3175 h 3"/>
                <a:gd name="T4" fmla="*/ 0 w 2"/>
                <a:gd name="T5" fmla="*/ 1588 h 3"/>
                <a:gd name="T6" fmla="*/ 2382 w 2"/>
                <a:gd name="T7" fmla="*/ 0 h 3"/>
                <a:gd name="T8" fmla="*/ 4763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6" name="Freeform 186"/>
            <p:cNvSpPr>
              <a:spLocks noChangeAspect="1"/>
            </p:cNvSpPr>
            <p:nvPr/>
          </p:nvSpPr>
          <p:spPr bwMode="auto">
            <a:xfrm>
              <a:off x="6904038" y="3890963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7" name="Freeform 187"/>
            <p:cNvSpPr>
              <a:spLocks noChangeAspect="1"/>
            </p:cNvSpPr>
            <p:nvPr/>
          </p:nvSpPr>
          <p:spPr bwMode="auto">
            <a:xfrm>
              <a:off x="6894513" y="3865563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1588 w 2"/>
                <a:gd name="T3" fmla="*/ 3175 h 2"/>
                <a:gd name="T4" fmla="*/ 0 w 2"/>
                <a:gd name="T5" fmla="*/ 1588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8" name="Freeform 188"/>
            <p:cNvSpPr>
              <a:spLocks noChangeAspect="1"/>
            </p:cNvSpPr>
            <p:nvPr/>
          </p:nvSpPr>
          <p:spPr bwMode="auto">
            <a:xfrm>
              <a:off x="6897688" y="3917950"/>
              <a:ext cx="4762" cy="4763"/>
            </a:xfrm>
            <a:custGeom>
              <a:avLst/>
              <a:gdLst>
                <a:gd name="T0" fmla="*/ 2381 w 2"/>
                <a:gd name="T1" fmla="*/ 2382 h 2"/>
                <a:gd name="T2" fmla="*/ 2381 w 2"/>
                <a:gd name="T3" fmla="*/ 4763 h 2"/>
                <a:gd name="T4" fmla="*/ 0 w 2"/>
                <a:gd name="T5" fmla="*/ 2382 h 2"/>
                <a:gd name="T6" fmla="*/ 2381 w 2"/>
                <a:gd name="T7" fmla="*/ 0 h 2"/>
                <a:gd name="T8" fmla="*/ 2381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89" name="Freeform 189"/>
            <p:cNvSpPr>
              <a:spLocks noChangeAspect="1"/>
            </p:cNvSpPr>
            <p:nvPr/>
          </p:nvSpPr>
          <p:spPr bwMode="auto">
            <a:xfrm>
              <a:off x="6788150" y="3979863"/>
              <a:ext cx="4763" cy="4762"/>
            </a:xfrm>
            <a:custGeom>
              <a:avLst/>
              <a:gdLst>
                <a:gd name="T0" fmla="*/ 3175 w 3"/>
                <a:gd name="T1" fmla="*/ 3175 h 3"/>
                <a:gd name="T2" fmla="*/ 3175 w 3"/>
                <a:gd name="T3" fmla="*/ 4762 h 3"/>
                <a:gd name="T4" fmla="*/ 1588 w 3"/>
                <a:gd name="T5" fmla="*/ 3175 h 3"/>
                <a:gd name="T6" fmla="*/ 1588 w 3"/>
                <a:gd name="T7" fmla="*/ 0 h 3"/>
                <a:gd name="T8" fmla="*/ 3175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3" y="2"/>
                    <a:pt x="2" y="3"/>
                    <a:pt x="2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0" name="Freeform 190"/>
            <p:cNvSpPr>
              <a:spLocks noChangeAspect="1"/>
            </p:cNvSpPr>
            <p:nvPr/>
          </p:nvSpPr>
          <p:spPr bwMode="auto">
            <a:xfrm>
              <a:off x="6780213" y="3971925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1588 w 2"/>
                <a:gd name="T3" fmla="*/ 3175 h 2"/>
                <a:gd name="T4" fmla="*/ 0 w 2"/>
                <a:gd name="T5" fmla="*/ 1588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1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1" name="Freeform 191"/>
            <p:cNvSpPr>
              <a:spLocks noChangeAspect="1"/>
            </p:cNvSpPr>
            <p:nvPr/>
          </p:nvSpPr>
          <p:spPr bwMode="auto">
            <a:xfrm>
              <a:off x="6791325" y="3995738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0 w 2"/>
                <a:gd name="T3" fmla="*/ 6350 h 3"/>
                <a:gd name="T4" fmla="*/ 0 w 2"/>
                <a:gd name="T5" fmla="*/ 2117 h 3"/>
                <a:gd name="T6" fmla="*/ 1588 w 2"/>
                <a:gd name="T7" fmla="*/ 2117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0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2" name="Freeform 192"/>
            <p:cNvSpPr>
              <a:spLocks noChangeAspect="1"/>
            </p:cNvSpPr>
            <p:nvPr/>
          </p:nvSpPr>
          <p:spPr bwMode="auto">
            <a:xfrm>
              <a:off x="6769100" y="3944938"/>
              <a:ext cx="1588" cy="3175"/>
            </a:xfrm>
            <a:custGeom>
              <a:avLst/>
              <a:gdLst>
                <a:gd name="T0" fmla="*/ 1588 w 1"/>
                <a:gd name="T1" fmla="*/ 1588 h 2"/>
                <a:gd name="T2" fmla="*/ 1588 w 1"/>
                <a:gd name="T3" fmla="*/ 3175 h 2"/>
                <a:gd name="T4" fmla="*/ 0 w 1"/>
                <a:gd name="T5" fmla="*/ 1588 h 2"/>
                <a:gd name="T6" fmla="*/ 0 w 1"/>
                <a:gd name="T7" fmla="*/ 0 h 2"/>
                <a:gd name="T8" fmla="*/ 1588 w 1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3" name="Freeform 193"/>
            <p:cNvSpPr>
              <a:spLocks noChangeAspect="1"/>
            </p:cNvSpPr>
            <p:nvPr/>
          </p:nvSpPr>
          <p:spPr bwMode="auto">
            <a:xfrm>
              <a:off x="6792913" y="3971925"/>
              <a:ext cx="6350" cy="11113"/>
            </a:xfrm>
            <a:custGeom>
              <a:avLst/>
              <a:gdLst>
                <a:gd name="T0" fmla="*/ 4233 w 3"/>
                <a:gd name="T1" fmla="*/ 5557 h 6"/>
                <a:gd name="T2" fmla="*/ 4233 w 3"/>
                <a:gd name="T3" fmla="*/ 9261 h 6"/>
                <a:gd name="T4" fmla="*/ 2117 w 3"/>
                <a:gd name="T5" fmla="*/ 7409 h 6"/>
                <a:gd name="T6" fmla="*/ 2117 w 3"/>
                <a:gd name="T7" fmla="*/ 1852 h 6"/>
                <a:gd name="T8" fmla="*/ 4233 w 3"/>
                <a:gd name="T9" fmla="*/ 555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2" y="3"/>
                  </a:moveTo>
                  <a:cubicBezTo>
                    <a:pt x="3" y="4"/>
                    <a:pt x="3" y="5"/>
                    <a:pt x="2" y="5"/>
                  </a:cubicBezTo>
                  <a:cubicBezTo>
                    <a:pt x="2" y="6"/>
                    <a:pt x="1" y="4"/>
                    <a:pt x="1" y="4"/>
                  </a:cubicBezTo>
                  <a:cubicBezTo>
                    <a:pt x="1" y="3"/>
                    <a:pt x="0" y="1"/>
                    <a:pt x="1" y="1"/>
                  </a:cubicBezTo>
                  <a:cubicBezTo>
                    <a:pt x="1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4" name="Freeform 194"/>
            <p:cNvSpPr>
              <a:spLocks noChangeAspect="1"/>
            </p:cNvSpPr>
            <p:nvPr/>
          </p:nvSpPr>
          <p:spPr bwMode="auto">
            <a:xfrm>
              <a:off x="6762750" y="3900488"/>
              <a:ext cx="3175" cy="7937"/>
            </a:xfrm>
            <a:custGeom>
              <a:avLst/>
              <a:gdLst>
                <a:gd name="T0" fmla="*/ 3175 w 2"/>
                <a:gd name="T1" fmla="*/ 3969 h 4"/>
                <a:gd name="T2" fmla="*/ 1588 w 2"/>
                <a:gd name="T3" fmla="*/ 7937 h 4"/>
                <a:gd name="T4" fmla="*/ 0 w 2"/>
                <a:gd name="T5" fmla="*/ 3969 h 4"/>
                <a:gd name="T6" fmla="*/ 1588 w 2"/>
                <a:gd name="T7" fmla="*/ 0 h 4"/>
                <a:gd name="T8" fmla="*/ 3175 w 2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2"/>
                  </a:moveTo>
                  <a:cubicBezTo>
                    <a:pt x="2" y="3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5" name="Freeform 195"/>
            <p:cNvSpPr>
              <a:spLocks noChangeAspect="1"/>
            </p:cNvSpPr>
            <p:nvPr/>
          </p:nvSpPr>
          <p:spPr bwMode="auto">
            <a:xfrm>
              <a:off x="6772275" y="3867150"/>
              <a:ext cx="7938" cy="7938"/>
            </a:xfrm>
            <a:custGeom>
              <a:avLst/>
              <a:gdLst>
                <a:gd name="T0" fmla="*/ 5953 w 4"/>
                <a:gd name="T1" fmla="*/ 3969 h 4"/>
                <a:gd name="T2" fmla="*/ 5953 w 4"/>
                <a:gd name="T3" fmla="*/ 5953 h 4"/>
                <a:gd name="T4" fmla="*/ 1985 w 4"/>
                <a:gd name="T5" fmla="*/ 5953 h 4"/>
                <a:gd name="T6" fmla="*/ 1985 w 4"/>
                <a:gd name="T7" fmla="*/ 1985 h 4"/>
                <a:gd name="T8" fmla="*/ 5953 w 4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2"/>
                    <a:pt x="4" y="3"/>
                    <a:pt x="3" y="3"/>
                  </a:cubicBezTo>
                  <a:cubicBezTo>
                    <a:pt x="3" y="4"/>
                    <a:pt x="2" y="3"/>
                    <a:pt x="1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6" name="Freeform 196"/>
            <p:cNvSpPr>
              <a:spLocks noChangeAspect="1"/>
            </p:cNvSpPr>
            <p:nvPr/>
          </p:nvSpPr>
          <p:spPr bwMode="auto">
            <a:xfrm>
              <a:off x="5770563" y="3908425"/>
              <a:ext cx="6350" cy="6350"/>
            </a:xfrm>
            <a:custGeom>
              <a:avLst/>
              <a:gdLst>
                <a:gd name="T0" fmla="*/ 4762 w 4"/>
                <a:gd name="T1" fmla="*/ 0 h 3"/>
                <a:gd name="T2" fmla="*/ 6350 w 4"/>
                <a:gd name="T3" fmla="*/ 2117 h 3"/>
                <a:gd name="T4" fmla="*/ 3175 w 4"/>
                <a:gd name="T5" fmla="*/ 6350 h 3"/>
                <a:gd name="T6" fmla="*/ 0 w 4"/>
                <a:gd name="T7" fmla="*/ 2117 h 3"/>
                <a:gd name="T8" fmla="*/ 4762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0"/>
                  </a:moveTo>
                  <a:cubicBezTo>
                    <a:pt x="3" y="0"/>
                    <a:pt x="4" y="1"/>
                    <a:pt x="4" y="1"/>
                  </a:cubicBezTo>
                  <a:cubicBezTo>
                    <a:pt x="4" y="2"/>
                    <a:pt x="3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7" name="Freeform 197"/>
            <p:cNvSpPr>
              <a:spLocks noChangeAspect="1"/>
            </p:cNvSpPr>
            <p:nvPr/>
          </p:nvSpPr>
          <p:spPr bwMode="auto">
            <a:xfrm>
              <a:off x="5573713" y="4530725"/>
              <a:ext cx="180975" cy="387350"/>
            </a:xfrm>
            <a:custGeom>
              <a:avLst/>
              <a:gdLst>
                <a:gd name="T0" fmla="*/ 161925 w 95"/>
                <a:gd name="T1" fmla="*/ 24684 h 204"/>
                <a:gd name="T2" fmla="*/ 177165 w 95"/>
                <a:gd name="T3" fmla="*/ 79749 h 204"/>
                <a:gd name="T4" fmla="*/ 175260 w 95"/>
                <a:gd name="T5" fmla="*/ 113926 h 204"/>
                <a:gd name="T6" fmla="*/ 158115 w 95"/>
                <a:gd name="T7" fmla="*/ 106331 h 204"/>
                <a:gd name="T8" fmla="*/ 154305 w 95"/>
                <a:gd name="T9" fmla="*/ 157598 h 204"/>
                <a:gd name="T10" fmla="*/ 144780 w 95"/>
                <a:gd name="T11" fmla="*/ 203169 h 204"/>
                <a:gd name="T12" fmla="*/ 123825 w 95"/>
                <a:gd name="T13" fmla="*/ 258233 h 204"/>
                <a:gd name="T14" fmla="*/ 102870 w 95"/>
                <a:gd name="T15" fmla="*/ 332286 h 204"/>
                <a:gd name="T16" fmla="*/ 80010 w 95"/>
                <a:gd name="T17" fmla="*/ 374059 h 204"/>
                <a:gd name="T18" fmla="*/ 57150 w 95"/>
                <a:gd name="T19" fmla="*/ 385451 h 204"/>
                <a:gd name="T20" fmla="*/ 7620 w 95"/>
                <a:gd name="T21" fmla="*/ 353172 h 204"/>
                <a:gd name="T22" fmla="*/ 11430 w 95"/>
                <a:gd name="T23" fmla="*/ 324690 h 204"/>
                <a:gd name="T24" fmla="*/ 0 w 95"/>
                <a:gd name="T25" fmla="*/ 284816 h 204"/>
                <a:gd name="T26" fmla="*/ 15240 w 95"/>
                <a:gd name="T27" fmla="*/ 260132 h 204"/>
                <a:gd name="T28" fmla="*/ 28575 w 95"/>
                <a:gd name="T29" fmla="*/ 231650 h 204"/>
                <a:gd name="T30" fmla="*/ 24765 w 95"/>
                <a:gd name="T31" fmla="*/ 199371 h 204"/>
                <a:gd name="T32" fmla="*/ 20955 w 95"/>
                <a:gd name="T33" fmla="*/ 170890 h 204"/>
                <a:gd name="T34" fmla="*/ 20955 w 95"/>
                <a:gd name="T35" fmla="*/ 155700 h 204"/>
                <a:gd name="T36" fmla="*/ 36195 w 95"/>
                <a:gd name="T37" fmla="*/ 117724 h 204"/>
                <a:gd name="T38" fmla="*/ 57150 w 95"/>
                <a:gd name="T39" fmla="*/ 113926 h 204"/>
                <a:gd name="T40" fmla="*/ 76200 w 95"/>
                <a:gd name="T41" fmla="*/ 110129 h 204"/>
                <a:gd name="T42" fmla="*/ 81915 w 95"/>
                <a:gd name="T43" fmla="*/ 100635 h 204"/>
                <a:gd name="T44" fmla="*/ 99060 w 95"/>
                <a:gd name="T45" fmla="*/ 94939 h 204"/>
                <a:gd name="T46" fmla="*/ 106680 w 95"/>
                <a:gd name="T47" fmla="*/ 91141 h 204"/>
                <a:gd name="T48" fmla="*/ 120015 w 95"/>
                <a:gd name="T49" fmla="*/ 83546 h 204"/>
                <a:gd name="T50" fmla="*/ 114300 w 95"/>
                <a:gd name="T51" fmla="*/ 70255 h 204"/>
                <a:gd name="T52" fmla="*/ 121920 w 95"/>
                <a:gd name="T53" fmla="*/ 64558 h 204"/>
                <a:gd name="T54" fmla="*/ 118110 w 95"/>
                <a:gd name="T55" fmla="*/ 43672 h 204"/>
                <a:gd name="T56" fmla="*/ 129540 w 95"/>
                <a:gd name="T57" fmla="*/ 45571 h 204"/>
                <a:gd name="T58" fmla="*/ 140970 w 95"/>
                <a:gd name="T59" fmla="*/ 32279 h 204"/>
                <a:gd name="T60" fmla="*/ 137160 w 95"/>
                <a:gd name="T61" fmla="*/ 15190 h 204"/>
                <a:gd name="T62" fmla="*/ 154305 w 95"/>
                <a:gd name="T63" fmla="*/ 1899 h 2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5"/>
                <a:gd name="T97" fmla="*/ 0 h 204"/>
                <a:gd name="T98" fmla="*/ 95 w 95"/>
                <a:gd name="T99" fmla="*/ 204 h 2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5" h="204">
                  <a:moveTo>
                    <a:pt x="81" y="1"/>
                  </a:moveTo>
                  <a:cubicBezTo>
                    <a:pt x="85" y="3"/>
                    <a:pt x="84" y="9"/>
                    <a:pt x="85" y="13"/>
                  </a:cubicBezTo>
                  <a:cubicBezTo>
                    <a:pt x="86" y="17"/>
                    <a:pt x="88" y="22"/>
                    <a:pt x="90" y="26"/>
                  </a:cubicBezTo>
                  <a:cubicBezTo>
                    <a:pt x="91" y="31"/>
                    <a:pt x="92" y="37"/>
                    <a:pt x="93" y="42"/>
                  </a:cubicBezTo>
                  <a:cubicBezTo>
                    <a:pt x="94" y="45"/>
                    <a:pt x="94" y="48"/>
                    <a:pt x="94" y="51"/>
                  </a:cubicBezTo>
                  <a:cubicBezTo>
                    <a:pt x="94" y="54"/>
                    <a:pt x="95" y="61"/>
                    <a:pt x="92" y="60"/>
                  </a:cubicBezTo>
                  <a:cubicBezTo>
                    <a:pt x="87" y="59"/>
                    <a:pt x="87" y="51"/>
                    <a:pt x="83" y="49"/>
                  </a:cubicBezTo>
                  <a:cubicBezTo>
                    <a:pt x="81" y="48"/>
                    <a:pt x="83" y="54"/>
                    <a:pt x="83" y="56"/>
                  </a:cubicBezTo>
                  <a:cubicBezTo>
                    <a:pt x="83" y="61"/>
                    <a:pt x="86" y="65"/>
                    <a:pt x="85" y="70"/>
                  </a:cubicBezTo>
                  <a:cubicBezTo>
                    <a:pt x="85" y="75"/>
                    <a:pt x="82" y="79"/>
                    <a:pt x="81" y="83"/>
                  </a:cubicBezTo>
                  <a:cubicBezTo>
                    <a:pt x="80" y="85"/>
                    <a:pt x="81" y="87"/>
                    <a:pt x="81" y="89"/>
                  </a:cubicBezTo>
                  <a:cubicBezTo>
                    <a:pt x="80" y="95"/>
                    <a:pt x="79" y="101"/>
                    <a:pt x="76" y="107"/>
                  </a:cubicBezTo>
                  <a:cubicBezTo>
                    <a:pt x="74" y="111"/>
                    <a:pt x="69" y="112"/>
                    <a:pt x="67" y="117"/>
                  </a:cubicBezTo>
                  <a:cubicBezTo>
                    <a:pt x="65" y="123"/>
                    <a:pt x="67" y="130"/>
                    <a:pt x="65" y="136"/>
                  </a:cubicBezTo>
                  <a:cubicBezTo>
                    <a:pt x="63" y="145"/>
                    <a:pt x="60" y="153"/>
                    <a:pt x="58" y="161"/>
                  </a:cubicBezTo>
                  <a:cubicBezTo>
                    <a:pt x="56" y="166"/>
                    <a:pt x="55" y="170"/>
                    <a:pt x="54" y="175"/>
                  </a:cubicBezTo>
                  <a:cubicBezTo>
                    <a:pt x="52" y="181"/>
                    <a:pt x="52" y="187"/>
                    <a:pt x="49" y="192"/>
                  </a:cubicBezTo>
                  <a:cubicBezTo>
                    <a:pt x="48" y="195"/>
                    <a:pt x="45" y="196"/>
                    <a:pt x="42" y="197"/>
                  </a:cubicBezTo>
                  <a:cubicBezTo>
                    <a:pt x="39" y="199"/>
                    <a:pt x="35" y="197"/>
                    <a:pt x="32" y="198"/>
                  </a:cubicBezTo>
                  <a:cubicBezTo>
                    <a:pt x="31" y="199"/>
                    <a:pt x="32" y="204"/>
                    <a:pt x="30" y="203"/>
                  </a:cubicBezTo>
                  <a:cubicBezTo>
                    <a:pt x="23" y="203"/>
                    <a:pt x="16" y="200"/>
                    <a:pt x="10" y="197"/>
                  </a:cubicBezTo>
                  <a:cubicBezTo>
                    <a:pt x="7" y="194"/>
                    <a:pt x="5" y="190"/>
                    <a:pt x="4" y="186"/>
                  </a:cubicBezTo>
                  <a:cubicBezTo>
                    <a:pt x="3" y="183"/>
                    <a:pt x="4" y="180"/>
                    <a:pt x="4" y="176"/>
                  </a:cubicBezTo>
                  <a:cubicBezTo>
                    <a:pt x="4" y="174"/>
                    <a:pt x="6" y="173"/>
                    <a:pt x="6" y="171"/>
                  </a:cubicBezTo>
                  <a:cubicBezTo>
                    <a:pt x="5" y="168"/>
                    <a:pt x="2" y="165"/>
                    <a:pt x="1" y="162"/>
                  </a:cubicBezTo>
                  <a:cubicBezTo>
                    <a:pt x="0" y="158"/>
                    <a:pt x="0" y="154"/>
                    <a:pt x="0" y="150"/>
                  </a:cubicBezTo>
                  <a:cubicBezTo>
                    <a:pt x="0" y="147"/>
                    <a:pt x="1" y="144"/>
                    <a:pt x="3" y="141"/>
                  </a:cubicBezTo>
                  <a:cubicBezTo>
                    <a:pt x="4" y="139"/>
                    <a:pt x="7" y="139"/>
                    <a:pt x="8" y="137"/>
                  </a:cubicBezTo>
                  <a:cubicBezTo>
                    <a:pt x="9" y="135"/>
                    <a:pt x="9" y="132"/>
                    <a:pt x="10" y="130"/>
                  </a:cubicBezTo>
                  <a:cubicBezTo>
                    <a:pt x="11" y="127"/>
                    <a:pt x="13" y="124"/>
                    <a:pt x="15" y="122"/>
                  </a:cubicBezTo>
                  <a:cubicBezTo>
                    <a:pt x="16" y="119"/>
                    <a:pt x="17" y="117"/>
                    <a:pt x="17" y="115"/>
                  </a:cubicBezTo>
                  <a:cubicBezTo>
                    <a:pt x="17" y="111"/>
                    <a:pt x="14" y="108"/>
                    <a:pt x="13" y="105"/>
                  </a:cubicBezTo>
                  <a:cubicBezTo>
                    <a:pt x="13" y="103"/>
                    <a:pt x="13" y="101"/>
                    <a:pt x="13" y="99"/>
                  </a:cubicBezTo>
                  <a:cubicBezTo>
                    <a:pt x="13" y="96"/>
                    <a:pt x="11" y="93"/>
                    <a:pt x="11" y="90"/>
                  </a:cubicBezTo>
                  <a:cubicBezTo>
                    <a:pt x="11" y="89"/>
                    <a:pt x="12" y="88"/>
                    <a:pt x="12" y="87"/>
                  </a:cubicBezTo>
                  <a:cubicBezTo>
                    <a:pt x="12" y="85"/>
                    <a:pt x="10" y="84"/>
                    <a:pt x="11" y="82"/>
                  </a:cubicBezTo>
                  <a:cubicBezTo>
                    <a:pt x="12" y="77"/>
                    <a:pt x="16" y="74"/>
                    <a:pt x="18" y="70"/>
                  </a:cubicBezTo>
                  <a:cubicBezTo>
                    <a:pt x="19" y="67"/>
                    <a:pt x="17" y="64"/>
                    <a:pt x="19" y="62"/>
                  </a:cubicBezTo>
                  <a:cubicBezTo>
                    <a:pt x="20" y="61"/>
                    <a:pt x="23" y="62"/>
                    <a:pt x="25" y="62"/>
                  </a:cubicBezTo>
                  <a:cubicBezTo>
                    <a:pt x="27" y="62"/>
                    <a:pt x="28" y="61"/>
                    <a:pt x="30" y="60"/>
                  </a:cubicBezTo>
                  <a:cubicBezTo>
                    <a:pt x="32" y="59"/>
                    <a:pt x="34" y="57"/>
                    <a:pt x="37" y="56"/>
                  </a:cubicBezTo>
                  <a:cubicBezTo>
                    <a:pt x="38" y="56"/>
                    <a:pt x="39" y="57"/>
                    <a:pt x="40" y="58"/>
                  </a:cubicBezTo>
                  <a:cubicBezTo>
                    <a:pt x="42" y="59"/>
                    <a:pt x="45" y="64"/>
                    <a:pt x="47" y="62"/>
                  </a:cubicBezTo>
                  <a:cubicBezTo>
                    <a:pt x="48" y="59"/>
                    <a:pt x="42" y="56"/>
                    <a:pt x="43" y="53"/>
                  </a:cubicBezTo>
                  <a:cubicBezTo>
                    <a:pt x="43" y="51"/>
                    <a:pt x="46" y="51"/>
                    <a:pt x="49" y="50"/>
                  </a:cubicBezTo>
                  <a:cubicBezTo>
                    <a:pt x="50" y="50"/>
                    <a:pt x="51" y="50"/>
                    <a:pt x="52" y="50"/>
                  </a:cubicBezTo>
                  <a:cubicBezTo>
                    <a:pt x="54" y="48"/>
                    <a:pt x="52" y="43"/>
                    <a:pt x="55" y="42"/>
                  </a:cubicBezTo>
                  <a:cubicBezTo>
                    <a:pt x="56" y="42"/>
                    <a:pt x="54" y="49"/>
                    <a:pt x="56" y="48"/>
                  </a:cubicBezTo>
                  <a:cubicBezTo>
                    <a:pt x="58" y="47"/>
                    <a:pt x="58" y="42"/>
                    <a:pt x="60" y="41"/>
                  </a:cubicBezTo>
                  <a:cubicBezTo>
                    <a:pt x="61" y="40"/>
                    <a:pt x="62" y="45"/>
                    <a:pt x="63" y="44"/>
                  </a:cubicBezTo>
                  <a:cubicBezTo>
                    <a:pt x="65" y="43"/>
                    <a:pt x="64" y="40"/>
                    <a:pt x="63" y="39"/>
                  </a:cubicBezTo>
                  <a:cubicBezTo>
                    <a:pt x="63" y="38"/>
                    <a:pt x="61" y="38"/>
                    <a:pt x="60" y="37"/>
                  </a:cubicBezTo>
                  <a:cubicBezTo>
                    <a:pt x="59" y="36"/>
                    <a:pt x="59" y="34"/>
                    <a:pt x="60" y="34"/>
                  </a:cubicBezTo>
                  <a:cubicBezTo>
                    <a:pt x="61" y="33"/>
                    <a:pt x="64" y="35"/>
                    <a:pt x="64" y="34"/>
                  </a:cubicBezTo>
                  <a:cubicBezTo>
                    <a:pt x="65" y="32"/>
                    <a:pt x="62" y="31"/>
                    <a:pt x="62" y="29"/>
                  </a:cubicBezTo>
                  <a:cubicBezTo>
                    <a:pt x="62" y="27"/>
                    <a:pt x="61" y="24"/>
                    <a:pt x="62" y="23"/>
                  </a:cubicBezTo>
                  <a:cubicBezTo>
                    <a:pt x="64" y="23"/>
                    <a:pt x="64" y="27"/>
                    <a:pt x="66" y="27"/>
                  </a:cubicBezTo>
                  <a:cubicBezTo>
                    <a:pt x="67" y="27"/>
                    <a:pt x="67" y="25"/>
                    <a:pt x="68" y="24"/>
                  </a:cubicBezTo>
                  <a:cubicBezTo>
                    <a:pt x="69" y="23"/>
                    <a:pt x="71" y="22"/>
                    <a:pt x="72" y="21"/>
                  </a:cubicBezTo>
                  <a:cubicBezTo>
                    <a:pt x="73" y="20"/>
                    <a:pt x="73" y="18"/>
                    <a:pt x="74" y="17"/>
                  </a:cubicBezTo>
                  <a:cubicBezTo>
                    <a:pt x="74" y="15"/>
                    <a:pt x="74" y="13"/>
                    <a:pt x="74" y="12"/>
                  </a:cubicBezTo>
                  <a:cubicBezTo>
                    <a:pt x="73" y="10"/>
                    <a:pt x="71" y="9"/>
                    <a:pt x="72" y="8"/>
                  </a:cubicBezTo>
                  <a:cubicBezTo>
                    <a:pt x="72" y="6"/>
                    <a:pt x="74" y="8"/>
                    <a:pt x="75" y="8"/>
                  </a:cubicBezTo>
                  <a:cubicBezTo>
                    <a:pt x="77" y="6"/>
                    <a:pt x="79" y="0"/>
                    <a:pt x="8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8" name="Freeform 198"/>
            <p:cNvSpPr>
              <a:spLocks noChangeAspect="1"/>
            </p:cNvSpPr>
            <p:nvPr/>
          </p:nvSpPr>
          <p:spPr bwMode="auto">
            <a:xfrm>
              <a:off x="5580063" y="4516438"/>
              <a:ext cx="4762" cy="11112"/>
            </a:xfrm>
            <a:custGeom>
              <a:avLst/>
              <a:gdLst>
                <a:gd name="T0" fmla="*/ 1587 w 3"/>
                <a:gd name="T1" fmla="*/ 0 h 6"/>
                <a:gd name="T2" fmla="*/ 0 w 3"/>
                <a:gd name="T3" fmla="*/ 5556 h 6"/>
                <a:gd name="T4" fmla="*/ 1587 w 3"/>
                <a:gd name="T5" fmla="*/ 11112 h 6"/>
                <a:gd name="T6" fmla="*/ 3175 w 3"/>
                <a:gd name="T7" fmla="*/ 5556 h 6"/>
                <a:gd name="T8" fmla="*/ 158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1" y="0"/>
                  </a:moveTo>
                  <a:cubicBezTo>
                    <a:pt x="0" y="0"/>
                    <a:pt x="0" y="2"/>
                    <a:pt x="0" y="3"/>
                  </a:cubicBezTo>
                  <a:cubicBezTo>
                    <a:pt x="0" y="4"/>
                    <a:pt x="0" y="6"/>
                    <a:pt x="1" y="6"/>
                  </a:cubicBezTo>
                  <a:cubicBezTo>
                    <a:pt x="3" y="6"/>
                    <a:pt x="2" y="4"/>
                    <a:pt x="2" y="3"/>
                  </a:cubicBezTo>
                  <a:cubicBezTo>
                    <a:pt x="2" y="2"/>
                    <a:pt x="2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99" name="Freeform 199"/>
            <p:cNvSpPr>
              <a:spLocks noChangeAspect="1"/>
            </p:cNvSpPr>
            <p:nvPr/>
          </p:nvSpPr>
          <p:spPr bwMode="auto">
            <a:xfrm>
              <a:off x="5603875" y="4532313"/>
              <a:ext cx="9525" cy="11112"/>
            </a:xfrm>
            <a:custGeom>
              <a:avLst/>
              <a:gdLst>
                <a:gd name="T0" fmla="*/ 1905 w 5"/>
                <a:gd name="T1" fmla="*/ 1852 h 6"/>
                <a:gd name="T2" fmla="*/ 1905 w 5"/>
                <a:gd name="T3" fmla="*/ 5556 h 6"/>
                <a:gd name="T4" fmla="*/ 5715 w 5"/>
                <a:gd name="T5" fmla="*/ 11112 h 6"/>
                <a:gd name="T6" fmla="*/ 5715 w 5"/>
                <a:gd name="T7" fmla="*/ 3704 h 6"/>
                <a:gd name="T8" fmla="*/ 1905 w 5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1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2" y="6"/>
                    <a:pt x="3" y="6"/>
                  </a:cubicBezTo>
                  <a:cubicBezTo>
                    <a:pt x="5" y="5"/>
                    <a:pt x="4" y="3"/>
                    <a:pt x="3" y="2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0" name="Freeform 200"/>
            <p:cNvSpPr>
              <a:spLocks noChangeAspect="1"/>
            </p:cNvSpPr>
            <p:nvPr/>
          </p:nvSpPr>
          <p:spPr bwMode="auto">
            <a:xfrm>
              <a:off x="5622925" y="4549775"/>
              <a:ext cx="9525" cy="11113"/>
            </a:xfrm>
            <a:custGeom>
              <a:avLst/>
              <a:gdLst>
                <a:gd name="T0" fmla="*/ 1905 w 5"/>
                <a:gd name="T1" fmla="*/ 0 h 6"/>
                <a:gd name="T2" fmla="*/ 1905 w 5"/>
                <a:gd name="T3" fmla="*/ 5557 h 6"/>
                <a:gd name="T4" fmla="*/ 5715 w 5"/>
                <a:gd name="T5" fmla="*/ 11113 h 6"/>
                <a:gd name="T6" fmla="*/ 5715 w 5"/>
                <a:gd name="T7" fmla="*/ 3704 h 6"/>
                <a:gd name="T8" fmla="*/ 1905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1" y="0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2" y="6"/>
                    <a:pt x="3" y="6"/>
                  </a:cubicBezTo>
                  <a:cubicBezTo>
                    <a:pt x="5" y="5"/>
                    <a:pt x="4" y="3"/>
                    <a:pt x="3" y="2"/>
                  </a:cubicBezTo>
                  <a:cubicBezTo>
                    <a:pt x="3" y="1"/>
                    <a:pt x="2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1" name="Freeform 201"/>
            <p:cNvSpPr>
              <a:spLocks noChangeAspect="1"/>
            </p:cNvSpPr>
            <p:nvPr/>
          </p:nvSpPr>
          <p:spPr bwMode="auto">
            <a:xfrm>
              <a:off x="5697538" y="4560888"/>
              <a:ext cx="7937" cy="12700"/>
            </a:xfrm>
            <a:custGeom>
              <a:avLst/>
              <a:gdLst>
                <a:gd name="T0" fmla="*/ 0 w 4"/>
                <a:gd name="T1" fmla="*/ 1814 h 7"/>
                <a:gd name="T2" fmla="*/ 0 w 4"/>
                <a:gd name="T3" fmla="*/ 5443 h 7"/>
                <a:gd name="T4" fmla="*/ 5953 w 4"/>
                <a:gd name="T5" fmla="*/ 10886 h 7"/>
                <a:gd name="T6" fmla="*/ 5953 w 4"/>
                <a:gd name="T7" fmla="*/ 3629 h 7"/>
                <a:gd name="T8" fmla="*/ 0 w 4"/>
                <a:gd name="T9" fmla="*/ 1814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0" y="1"/>
                  </a:moveTo>
                  <a:cubicBezTo>
                    <a:pt x="0" y="1"/>
                    <a:pt x="0" y="3"/>
                    <a:pt x="0" y="3"/>
                  </a:cubicBezTo>
                  <a:cubicBezTo>
                    <a:pt x="1" y="5"/>
                    <a:pt x="2" y="7"/>
                    <a:pt x="3" y="6"/>
                  </a:cubicBezTo>
                  <a:cubicBezTo>
                    <a:pt x="4" y="5"/>
                    <a:pt x="3" y="3"/>
                    <a:pt x="3" y="2"/>
                  </a:cubicBezTo>
                  <a:cubicBezTo>
                    <a:pt x="2" y="1"/>
                    <a:pt x="1" y="0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2" name="Freeform 202"/>
            <p:cNvSpPr>
              <a:spLocks noChangeAspect="1"/>
            </p:cNvSpPr>
            <p:nvPr/>
          </p:nvSpPr>
          <p:spPr bwMode="auto">
            <a:xfrm>
              <a:off x="5911850" y="4752975"/>
              <a:ext cx="11113" cy="22225"/>
            </a:xfrm>
            <a:custGeom>
              <a:avLst/>
              <a:gdLst>
                <a:gd name="T0" fmla="*/ 5557 w 6"/>
                <a:gd name="T1" fmla="*/ 1852 h 12"/>
                <a:gd name="T2" fmla="*/ 11113 w 6"/>
                <a:gd name="T3" fmla="*/ 12965 h 12"/>
                <a:gd name="T4" fmla="*/ 5557 w 6"/>
                <a:gd name="T5" fmla="*/ 20373 h 12"/>
                <a:gd name="T6" fmla="*/ 0 w 6"/>
                <a:gd name="T7" fmla="*/ 11113 h 12"/>
                <a:gd name="T8" fmla="*/ 5557 w 6"/>
                <a:gd name="T9" fmla="*/ 1852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2"/>
                <a:gd name="T17" fmla="*/ 6 w 6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2">
                  <a:moveTo>
                    <a:pt x="3" y="1"/>
                  </a:moveTo>
                  <a:cubicBezTo>
                    <a:pt x="6" y="1"/>
                    <a:pt x="6" y="5"/>
                    <a:pt x="6" y="7"/>
                  </a:cubicBezTo>
                  <a:cubicBezTo>
                    <a:pt x="6" y="9"/>
                    <a:pt x="5" y="12"/>
                    <a:pt x="3" y="11"/>
                  </a:cubicBezTo>
                  <a:cubicBezTo>
                    <a:pt x="1" y="11"/>
                    <a:pt x="0" y="8"/>
                    <a:pt x="0" y="6"/>
                  </a:cubicBezTo>
                  <a:cubicBezTo>
                    <a:pt x="0" y="4"/>
                    <a:pt x="1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3" name="Freeform 203"/>
            <p:cNvSpPr>
              <a:spLocks noChangeAspect="1"/>
            </p:cNvSpPr>
            <p:nvPr/>
          </p:nvSpPr>
          <p:spPr bwMode="auto">
            <a:xfrm>
              <a:off x="5861050" y="4781550"/>
              <a:ext cx="14288" cy="15875"/>
            </a:xfrm>
            <a:custGeom>
              <a:avLst/>
              <a:gdLst>
                <a:gd name="T0" fmla="*/ 4082 w 7"/>
                <a:gd name="T1" fmla="*/ 0 h 8"/>
                <a:gd name="T2" fmla="*/ 14288 w 7"/>
                <a:gd name="T3" fmla="*/ 9922 h 8"/>
                <a:gd name="T4" fmla="*/ 12247 w 7"/>
                <a:gd name="T5" fmla="*/ 15875 h 8"/>
                <a:gd name="T6" fmla="*/ 2041 w 7"/>
                <a:gd name="T7" fmla="*/ 11906 h 8"/>
                <a:gd name="T8" fmla="*/ 4082 w 7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8"/>
                <a:gd name="T17" fmla="*/ 7 w 7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8">
                  <a:moveTo>
                    <a:pt x="2" y="0"/>
                  </a:moveTo>
                  <a:cubicBezTo>
                    <a:pt x="4" y="0"/>
                    <a:pt x="6" y="3"/>
                    <a:pt x="7" y="5"/>
                  </a:cubicBezTo>
                  <a:cubicBezTo>
                    <a:pt x="7" y="6"/>
                    <a:pt x="7" y="7"/>
                    <a:pt x="6" y="8"/>
                  </a:cubicBezTo>
                  <a:cubicBezTo>
                    <a:pt x="4" y="8"/>
                    <a:pt x="2" y="8"/>
                    <a:pt x="1" y="6"/>
                  </a:cubicBezTo>
                  <a:cubicBezTo>
                    <a:pt x="0" y="4"/>
                    <a:pt x="0" y="1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4" name="Freeform 204"/>
            <p:cNvSpPr>
              <a:spLocks noChangeAspect="1"/>
            </p:cNvSpPr>
            <p:nvPr/>
          </p:nvSpPr>
          <p:spPr bwMode="auto">
            <a:xfrm>
              <a:off x="5867400" y="4318000"/>
              <a:ext cx="11113" cy="11113"/>
            </a:xfrm>
            <a:custGeom>
              <a:avLst/>
              <a:gdLst>
                <a:gd name="T0" fmla="*/ 1852 w 6"/>
                <a:gd name="T1" fmla="*/ 1852 h 6"/>
                <a:gd name="T2" fmla="*/ 9261 w 6"/>
                <a:gd name="T3" fmla="*/ 5557 h 6"/>
                <a:gd name="T4" fmla="*/ 9261 w 6"/>
                <a:gd name="T5" fmla="*/ 11113 h 6"/>
                <a:gd name="T6" fmla="*/ 1852 w 6"/>
                <a:gd name="T7" fmla="*/ 7409 h 6"/>
                <a:gd name="T8" fmla="*/ 1852 w 6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1" y="1"/>
                  </a:moveTo>
                  <a:cubicBezTo>
                    <a:pt x="3" y="0"/>
                    <a:pt x="4" y="2"/>
                    <a:pt x="5" y="3"/>
                  </a:cubicBezTo>
                  <a:cubicBezTo>
                    <a:pt x="6" y="4"/>
                    <a:pt x="6" y="5"/>
                    <a:pt x="5" y="6"/>
                  </a:cubicBezTo>
                  <a:cubicBezTo>
                    <a:pt x="4" y="6"/>
                    <a:pt x="2" y="5"/>
                    <a:pt x="1" y="4"/>
                  </a:cubicBezTo>
                  <a:cubicBezTo>
                    <a:pt x="1" y="3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5" name="Freeform 205"/>
            <p:cNvSpPr>
              <a:spLocks noChangeAspect="1"/>
            </p:cNvSpPr>
            <p:nvPr/>
          </p:nvSpPr>
          <p:spPr bwMode="auto">
            <a:xfrm>
              <a:off x="4319588" y="2930525"/>
              <a:ext cx="293687" cy="241300"/>
            </a:xfrm>
            <a:custGeom>
              <a:avLst/>
              <a:gdLst>
                <a:gd name="T0" fmla="*/ 41955 w 154"/>
                <a:gd name="T1" fmla="*/ 195338 h 126"/>
                <a:gd name="T2" fmla="*/ 55305 w 154"/>
                <a:gd name="T3" fmla="*/ 180017 h 126"/>
                <a:gd name="T4" fmla="*/ 47676 w 154"/>
                <a:gd name="T5" fmla="*/ 162782 h 126"/>
                <a:gd name="T6" fmla="*/ 55305 w 154"/>
                <a:gd name="T7" fmla="*/ 149376 h 126"/>
                <a:gd name="T8" fmla="*/ 45769 w 154"/>
                <a:gd name="T9" fmla="*/ 134056 h 126"/>
                <a:gd name="T10" fmla="*/ 57212 w 154"/>
                <a:gd name="T11" fmla="*/ 120650 h 126"/>
                <a:gd name="T12" fmla="*/ 59119 w 154"/>
                <a:gd name="T13" fmla="*/ 109160 h 126"/>
                <a:gd name="T14" fmla="*/ 66747 w 154"/>
                <a:gd name="T15" fmla="*/ 80433 h 126"/>
                <a:gd name="T16" fmla="*/ 64840 w 154"/>
                <a:gd name="T17" fmla="*/ 67028 h 126"/>
                <a:gd name="T18" fmla="*/ 53398 w 154"/>
                <a:gd name="T19" fmla="*/ 57452 h 126"/>
                <a:gd name="T20" fmla="*/ 40048 w 154"/>
                <a:gd name="T21" fmla="*/ 61283 h 126"/>
                <a:gd name="T22" fmla="*/ 32420 w 154"/>
                <a:gd name="T23" fmla="*/ 55537 h 126"/>
                <a:gd name="T24" fmla="*/ 11442 w 154"/>
                <a:gd name="T25" fmla="*/ 59367 h 126"/>
                <a:gd name="T26" fmla="*/ 13349 w 154"/>
                <a:gd name="T27" fmla="*/ 44047 h 126"/>
                <a:gd name="T28" fmla="*/ 9535 w 154"/>
                <a:gd name="T29" fmla="*/ 36387 h 126"/>
                <a:gd name="T30" fmla="*/ 1907 w 154"/>
                <a:gd name="T31" fmla="*/ 22981 h 126"/>
                <a:gd name="T32" fmla="*/ 26699 w 154"/>
                <a:gd name="T33" fmla="*/ 13406 h 126"/>
                <a:gd name="T34" fmla="*/ 32420 w 154"/>
                <a:gd name="T35" fmla="*/ 1915 h 126"/>
                <a:gd name="T36" fmla="*/ 55305 w 154"/>
                <a:gd name="T37" fmla="*/ 5745 h 126"/>
                <a:gd name="T38" fmla="*/ 93446 w 154"/>
                <a:gd name="T39" fmla="*/ 3830 h 126"/>
                <a:gd name="T40" fmla="*/ 125866 w 154"/>
                <a:gd name="T41" fmla="*/ 9575 h 126"/>
                <a:gd name="T42" fmla="*/ 146844 w 154"/>
                <a:gd name="T43" fmla="*/ 13406 h 126"/>
                <a:gd name="T44" fmla="*/ 164007 w 154"/>
                <a:gd name="T45" fmla="*/ 15321 h 126"/>
                <a:gd name="T46" fmla="*/ 184985 w 154"/>
                <a:gd name="T47" fmla="*/ 15321 h 126"/>
                <a:gd name="T48" fmla="*/ 200241 w 154"/>
                <a:gd name="T49" fmla="*/ 24896 h 126"/>
                <a:gd name="T50" fmla="*/ 223126 w 154"/>
                <a:gd name="T51" fmla="*/ 32556 h 126"/>
                <a:gd name="T52" fmla="*/ 234568 w 154"/>
                <a:gd name="T53" fmla="*/ 26811 h 126"/>
                <a:gd name="T54" fmla="*/ 259360 w 154"/>
                <a:gd name="T55" fmla="*/ 40217 h 126"/>
                <a:gd name="T56" fmla="*/ 282245 w 154"/>
                <a:gd name="T57" fmla="*/ 42132 h 126"/>
                <a:gd name="T58" fmla="*/ 291780 w 154"/>
                <a:gd name="T59" fmla="*/ 49792 h 126"/>
                <a:gd name="T60" fmla="*/ 272709 w 154"/>
                <a:gd name="T61" fmla="*/ 70858 h 126"/>
                <a:gd name="T62" fmla="*/ 240289 w 154"/>
                <a:gd name="T63" fmla="*/ 84264 h 126"/>
                <a:gd name="T64" fmla="*/ 236475 w 154"/>
                <a:gd name="T65" fmla="*/ 99584 h 126"/>
                <a:gd name="T66" fmla="*/ 211683 w 154"/>
                <a:gd name="T67" fmla="*/ 132141 h 126"/>
                <a:gd name="T68" fmla="*/ 217405 w 154"/>
                <a:gd name="T69" fmla="*/ 153206 h 126"/>
                <a:gd name="T70" fmla="*/ 211683 w 154"/>
                <a:gd name="T71" fmla="*/ 166612 h 126"/>
                <a:gd name="T72" fmla="*/ 198334 w 154"/>
                <a:gd name="T73" fmla="*/ 191508 h 126"/>
                <a:gd name="T74" fmla="*/ 184985 w 154"/>
                <a:gd name="T75" fmla="*/ 197253 h 126"/>
                <a:gd name="T76" fmla="*/ 171635 w 154"/>
                <a:gd name="T77" fmla="*/ 218319 h 126"/>
                <a:gd name="T78" fmla="*/ 160193 w 154"/>
                <a:gd name="T79" fmla="*/ 218319 h 126"/>
                <a:gd name="T80" fmla="*/ 137308 w 154"/>
                <a:gd name="T81" fmla="*/ 222149 h 126"/>
                <a:gd name="T82" fmla="*/ 110609 w 154"/>
                <a:gd name="T83" fmla="*/ 225979 h 126"/>
                <a:gd name="T84" fmla="*/ 91539 w 154"/>
                <a:gd name="T85" fmla="*/ 239385 h 126"/>
                <a:gd name="T86" fmla="*/ 70561 w 154"/>
                <a:gd name="T87" fmla="*/ 225979 h 126"/>
                <a:gd name="T88" fmla="*/ 57212 w 154"/>
                <a:gd name="T89" fmla="*/ 206829 h 12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4"/>
                <a:gd name="T136" fmla="*/ 0 h 126"/>
                <a:gd name="T137" fmla="*/ 154 w 154"/>
                <a:gd name="T138" fmla="*/ 126 h 12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4" h="126">
                  <a:moveTo>
                    <a:pt x="24" y="108"/>
                  </a:moveTo>
                  <a:cubicBezTo>
                    <a:pt x="23" y="106"/>
                    <a:pt x="22" y="105"/>
                    <a:pt x="22" y="102"/>
                  </a:cubicBezTo>
                  <a:cubicBezTo>
                    <a:pt x="22" y="101"/>
                    <a:pt x="24" y="99"/>
                    <a:pt x="25" y="98"/>
                  </a:cubicBezTo>
                  <a:cubicBezTo>
                    <a:pt x="26" y="96"/>
                    <a:pt x="29" y="96"/>
                    <a:pt x="29" y="94"/>
                  </a:cubicBezTo>
                  <a:cubicBezTo>
                    <a:pt x="29" y="92"/>
                    <a:pt x="26" y="91"/>
                    <a:pt x="25" y="89"/>
                  </a:cubicBezTo>
                  <a:cubicBezTo>
                    <a:pt x="25" y="88"/>
                    <a:pt x="25" y="86"/>
                    <a:pt x="25" y="85"/>
                  </a:cubicBezTo>
                  <a:cubicBezTo>
                    <a:pt x="26" y="84"/>
                    <a:pt x="28" y="83"/>
                    <a:pt x="29" y="81"/>
                  </a:cubicBezTo>
                  <a:cubicBezTo>
                    <a:pt x="30" y="80"/>
                    <a:pt x="30" y="79"/>
                    <a:pt x="29" y="78"/>
                  </a:cubicBezTo>
                  <a:cubicBezTo>
                    <a:pt x="29" y="77"/>
                    <a:pt x="27" y="77"/>
                    <a:pt x="26" y="76"/>
                  </a:cubicBezTo>
                  <a:cubicBezTo>
                    <a:pt x="25" y="74"/>
                    <a:pt x="23" y="72"/>
                    <a:pt x="24" y="70"/>
                  </a:cubicBezTo>
                  <a:cubicBezTo>
                    <a:pt x="24" y="68"/>
                    <a:pt x="27" y="69"/>
                    <a:pt x="29" y="68"/>
                  </a:cubicBezTo>
                  <a:cubicBezTo>
                    <a:pt x="30" y="67"/>
                    <a:pt x="30" y="65"/>
                    <a:pt x="30" y="63"/>
                  </a:cubicBezTo>
                  <a:cubicBezTo>
                    <a:pt x="30" y="62"/>
                    <a:pt x="28" y="61"/>
                    <a:pt x="29" y="60"/>
                  </a:cubicBezTo>
                  <a:cubicBezTo>
                    <a:pt x="29" y="59"/>
                    <a:pt x="31" y="58"/>
                    <a:pt x="31" y="57"/>
                  </a:cubicBezTo>
                  <a:cubicBezTo>
                    <a:pt x="32" y="53"/>
                    <a:pt x="29" y="50"/>
                    <a:pt x="30" y="46"/>
                  </a:cubicBezTo>
                  <a:cubicBezTo>
                    <a:pt x="31" y="44"/>
                    <a:pt x="33" y="44"/>
                    <a:pt x="35" y="42"/>
                  </a:cubicBezTo>
                  <a:cubicBezTo>
                    <a:pt x="36" y="40"/>
                    <a:pt x="39" y="39"/>
                    <a:pt x="39" y="36"/>
                  </a:cubicBezTo>
                  <a:cubicBezTo>
                    <a:pt x="39" y="35"/>
                    <a:pt x="35" y="36"/>
                    <a:pt x="34" y="35"/>
                  </a:cubicBezTo>
                  <a:cubicBezTo>
                    <a:pt x="34" y="33"/>
                    <a:pt x="36" y="31"/>
                    <a:pt x="35" y="30"/>
                  </a:cubicBezTo>
                  <a:cubicBezTo>
                    <a:pt x="33" y="29"/>
                    <a:pt x="30" y="30"/>
                    <a:pt x="28" y="30"/>
                  </a:cubicBezTo>
                  <a:cubicBezTo>
                    <a:pt x="27" y="30"/>
                    <a:pt x="26" y="32"/>
                    <a:pt x="25" y="33"/>
                  </a:cubicBezTo>
                  <a:cubicBezTo>
                    <a:pt x="24" y="33"/>
                    <a:pt x="22" y="32"/>
                    <a:pt x="21" y="32"/>
                  </a:cubicBezTo>
                  <a:cubicBezTo>
                    <a:pt x="19" y="32"/>
                    <a:pt x="16" y="34"/>
                    <a:pt x="15" y="33"/>
                  </a:cubicBezTo>
                  <a:cubicBezTo>
                    <a:pt x="13" y="32"/>
                    <a:pt x="17" y="31"/>
                    <a:pt x="17" y="29"/>
                  </a:cubicBezTo>
                  <a:cubicBezTo>
                    <a:pt x="17" y="28"/>
                    <a:pt x="15" y="27"/>
                    <a:pt x="14" y="27"/>
                  </a:cubicBezTo>
                  <a:cubicBezTo>
                    <a:pt x="11" y="28"/>
                    <a:pt x="9" y="30"/>
                    <a:pt x="6" y="31"/>
                  </a:cubicBezTo>
                  <a:cubicBezTo>
                    <a:pt x="7" y="29"/>
                    <a:pt x="8" y="28"/>
                    <a:pt x="8" y="26"/>
                  </a:cubicBezTo>
                  <a:cubicBezTo>
                    <a:pt x="8" y="25"/>
                    <a:pt x="7" y="24"/>
                    <a:pt x="7" y="23"/>
                  </a:cubicBezTo>
                  <a:cubicBezTo>
                    <a:pt x="7" y="21"/>
                    <a:pt x="9" y="20"/>
                    <a:pt x="8" y="18"/>
                  </a:cubicBezTo>
                  <a:cubicBezTo>
                    <a:pt x="7" y="17"/>
                    <a:pt x="6" y="20"/>
                    <a:pt x="5" y="19"/>
                  </a:cubicBezTo>
                  <a:cubicBezTo>
                    <a:pt x="4" y="19"/>
                    <a:pt x="4" y="17"/>
                    <a:pt x="4" y="15"/>
                  </a:cubicBezTo>
                  <a:cubicBezTo>
                    <a:pt x="3" y="14"/>
                    <a:pt x="0" y="13"/>
                    <a:pt x="1" y="12"/>
                  </a:cubicBezTo>
                  <a:cubicBezTo>
                    <a:pt x="3" y="9"/>
                    <a:pt x="6" y="8"/>
                    <a:pt x="9" y="7"/>
                  </a:cubicBezTo>
                  <a:cubicBezTo>
                    <a:pt x="10" y="6"/>
                    <a:pt x="12" y="7"/>
                    <a:pt x="14" y="7"/>
                  </a:cubicBezTo>
                  <a:cubicBezTo>
                    <a:pt x="15" y="6"/>
                    <a:pt x="13" y="5"/>
                    <a:pt x="14" y="4"/>
                  </a:cubicBezTo>
                  <a:cubicBezTo>
                    <a:pt x="15" y="3"/>
                    <a:pt x="16" y="2"/>
                    <a:pt x="17" y="1"/>
                  </a:cubicBezTo>
                  <a:cubicBezTo>
                    <a:pt x="19" y="1"/>
                    <a:pt x="21" y="0"/>
                    <a:pt x="23" y="0"/>
                  </a:cubicBezTo>
                  <a:cubicBezTo>
                    <a:pt x="25" y="0"/>
                    <a:pt x="26" y="3"/>
                    <a:pt x="29" y="3"/>
                  </a:cubicBezTo>
                  <a:cubicBezTo>
                    <a:pt x="33" y="4"/>
                    <a:pt x="37" y="3"/>
                    <a:pt x="42" y="3"/>
                  </a:cubicBezTo>
                  <a:cubicBezTo>
                    <a:pt x="44" y="3"/>
                    <a:pt x="46" y="2"/>
                    <a:pt x="49" y="2"/>
                  </a:cubicBezTo>
                  <a:cubicBezTo>
                    <a:pt x="51" y="2"/>
                    <a:pt x="53" y="5"/>
                    <a:pt x="55" y="5"/>
                  </a:cubicBezTo>
                  <a:cubicBezTo>
                    <a:pt x="59" y="5"/>
                    <a:pt x="63" y="5"/>
                    <a:pt x="66" y="5"/>
                  </a:cubicBezTo>
                  <a:cubicBezTo>
                    <a:pt x="68" y="5"/>
                    <a:pt x="70" y="4"/>
                    <a:pt x="71" y="4"/>
                  </a:cubicBezTo>
                  <a:cubicBezTo>
                    <a:pt x="73" y="4"/>
                    <a:pt x="75" y="7"/>
                    <a:pt x="77" y="7"/>
                  </a:cubicBezTo>
                  <a:cubicBezTo>
                    <a:pt x="78" y="7"/>
                    <a:pt x="78" y="4"/>
                    <a:pt x="80" y="4"/>
                  </a:cubicBezTo>
                  <a:cubicBezTo>
                    <a:pt x="82" y="4"/>
                    <a:pt x="83" y="7"/>
                    <a:pt x="86" y="8"/>
                  </a:cubicBezTo>
                  <a:cubicBezTo>
                    <a:pt x="88" y="8"/>
                    <a:pt x="90" y="7"/>
                    <a:pt x="92" y="7"/>
                  </a:cubicBezTo>
                  <a:cubicBezTo>
                    <a:pt x="94" y="7"/>
                    <a:pt x="96" y="7"/>
                    <a:pt x="97" y="8"/>
                  </a:cubicBezTo>
                  <a:cubicBezTo>
                    <a:pt x="99" y="9"/>
                    <a:pt x="98" y="11"/>
                    <a:pt x="100" y="12"/>
                  </a:cubicBezTo>
                  <a:cubicBezTo>
                    <a:pt x="101" y="13"/>
                    <a:pt x="103" y="13"/>
                    <a:pt x="105" y="13"/>
                  </a:cubicBezTo>
                  <a:cubicBezTo>
                    <a:pt x="107" y="14"/>
                    <a:pt x="109" y="15"/>
                    <a:pt x="111" y="16"/>
                  </a:cubicBezTo>
                  <a:cubicBezTo>
                    <a:pt x="113" y="16"/>
                    <a:pt x="115" y="16"/>
                    <a:pt x="117" y="17"/>
                  </a:cubicBezTo>
                  <a:cubicBezTo>
                    <a:pt x="119" y="17"/>
                    <a:pt x="121" y="17"/>
                    <a:pt x="122" y="16"/>
                  </a:cubicBezTo>
                  <a:cubicBezTo>
                    <a:pt x="123" y="16"/>
                    <a:pt x="123" y="14"/>
                    <a:pt x="123" y="14"/>
                  </a:cubicBezTo>
                  <a:cubicBezTo>
                    <a:pt x="126" y="15"/>
                    <a:pt x="129" y="17"/>
                    <a:pt x="131" y="18"/>
                  </a:cubicBezTo>
                  <a:cubicBezTo>
                    <a:pt x="133" y="19"/>
                    <a:pt x="134" y="20"/>
                    <a:pt x="136" y="21"/>
                  </a:cubicBezTo>
                  <a:cubicBezTo>
                    <a:pt x="138" y="21"/>
                    <a:pt x="139" y="21"/>
                    <a:pt x="141" y="21"/>
                  </a:cubicBezTo>
                  <a:cubicBezTo>
                    <a:pt x="143" y="22"/>
                    <a:pt x="146" y="22"/>
                    <a:pt x="148" y="22"/>
                  </a:cubicBezTo>
                  <a:cubicBezTo>
                    <a:pt x="149" y="22"/>
                    <a:pt x="150" y="21"/>
                    <a:pt x="151" y="21"/>
                  </a:cubicBezTo>
                  <a:cubicBezTo>
                    <a:pt x="152" y="22"/>
                    <a:pt x="153" y="24"/>
                    <a:pt x="153" y="26"/>
                  </a:cubicBezTo>
                  <a:cubicBezTo>
                    <a:pt x="154" y="28"/>
                    <a:pt x="154" y="30"/>
                    <a:pt x="153" y="32"/>
                  </a:cubicBezTo>
                  <a:cubicBezTo>
                    <a:pt x="150" y="34"/>
                    <a:pt x="146" y="35"/>
                    <a:pt x="143" y="37"/>
                  </a:cubicBezTo>
                  <a:cubicBezTo>
                    <a:pt x="142" y="38"/>
                    <a:pt x="142" y="41"/>
                    <a:pt x="141" y="41"/>
                  </a:cubicBezTo>
                  <a:cubicBezTo>
                    <a:pt x="136" y="43"/>
                    <a:pt x="130" y="42"/>
                    <a:pt x="126" y="44"/>
                  </a:cubicBezTo>
                  <a:cubicBezTo>
                    <a:pt x="124" y="45"/>
                    <a:pt x="124" y="48"/>
                    <a:pt x="123" y="49"/>
                  </a:cubicBezTo>
                  <a:cubicBezTo>
                    <a:pt x="123" y="50"/>
                    <a:pt x="124" y="51"/>
                    <a:pt x="124" y="52"/>
                  </a:cubicBezTo>
                  <a:cubicBezTo>
                    <a:pt x="123" y="54"/>
                    <a:pt x="121" y="54"/>
                    <a:pt x="119" y="56"/>
                  </a:cubicBezTo>
                  <a:cubicBezTo>
                    <a:pt x="116" y="60"/>
                    <a:pt x="113" y="65"/>
                    <a:pt x="111" y="69"/>
                  </a:cubicBezTo>
                  <a:cubicBezTo>
                    <a:pt x="110" y="71"/>
                    <a:pt x="110" y="73"/>
                    <a:pt x="111" y="74"/>
                  </a:cubicBezTo>
                  <a:cubicBezTo>
                    <a:pt x="111" y="76"/>
                    <a:pt x="113" y="78"/>
                    <a:pt x="114" y="80"/>
                  </a:cubicBezTo>
                  <a:cubicBezTo>
                    <a:pt x="115" y="81"/>
                    <a:pt x="117" y="82"/>
                    <a:pt x="117" y="83"/>
                  </a:cubicBezTo>
                  <a:cubicBezTo>
                    <a:pt x="116" y="85"/>
                    <a:pt x="112" y="86"/>
                    <a:pt x="111" y="87"/>
                  </a:cubicBezTo>
                  <a:cubicBezTo>
                    <a:pt x="109" y="89"/>
                    <a:pt x="107" y="91"/>
                    <a:pt x="106" y="93"/>
                  </a:cubicBezTo>
                  <a:cubicBezTo>
                    <a:pt x="105" y="95"/>
                    <a:pt x="104" y="97"/>
                    <a:pt x="104" y="100"/>
                  </a:cubicBezTo>
                  <a:cubicBezTo>
                    <a:pt x="104" y="101"/>
                    <a:pt x="107" y="101"/>
                    <a:pt x="106" y="102"/>
                  </a:cubicBezTo>
                  <a:cubicBezTo>
                    <a:pt x="103" y="103"/>
                    <a:pt x="100" y="102"/>
                    <a:pt x="97" y="103"/>
                  </a:cubicBezTo>
                  <a:cubicBezTo>
                    <a:pt x="96" y="104"/>
                    <a:pt x="94" y="105"/>
                    <a:pt x="93" y="107"/>
                  </a:cubicBezTo>
                  <a:cubicBezTo>
                    <a:pt x="91" y="109"/>
                    <a:pt x="92" y="112"/>
                    <a:pt x="90" y="114"/>
                  </a:cubicBezTo>
                  <a:cubicBezTo>
                    <a:pt x="90" y="115"/>
                    <a:pt x="88" y="116"/>
                    <a:pt x="87" y="116"/>
                  </a:cubicBezTo>
                  <a:cubicBezTo>
                    <a:pt x="86" y="116"/>
                    <a:pt x="85" y="114"/>
                    <a:pt x="84" y="114"/>
                  </a:cubicBezTo>
                  <a:cubicBezTo>
                    <a:pt x="83" y="114"/>
                    <a:pt x="82" y="116"/>
                    <a:pt x="81" y="116"/>
                  </a:cubicBezTo>
                  <a:cubicBezTo>
                    <a:pt x="78" y="117"/>
                    <a:pt x="75" y="116"/>
                    <a:pt x="72" y="116"/>
                  </a:cubicBezTo>
                  <a:cubicBezTo>
                    <a:pt x="69" y="116"/>
                    <a:pt x="67" y="115"/>
                    <a:pt x="64" y="116"/>
                  </a:cubicBezTo>
                  <a:cubicBezTo>
                    <a:pt x="62" y="116"/>
                    <a:pt x="60" y="117"/>
                    <a:pt x="58" y="118"/>
                  </a:cubicBezTo>
                  <a:cubicBezTo>
                    <a:pt x="56" y="119"/>
                    <a:pt x="53" y="120"/>
                    <a:pt x="51" y="122"/>
                  </a:cubicBezTo>
                  <a:cubicBezTo>
                    <a:pt x="50" y="122"/>
                    <a:pt x="49" y="125"/>
                    <a:pt x="48" y="125"/>
                  </a:cubicBezTo>
                  <a:cubicBezTo>
                    <a:pt x="46" y="126"/>
                    <a:pt x="43" y="126"/>
                    <a:pt x="41" y="125"/>
                  </a:cubicBezTo>
                  <a:cubicBezTo>
                    <a:pt x="39" y="124"/>
                    <a:pt x="38" y="121"/>
                    <a:pt x="37" y="118"/>
                  </a:cubicBezTo>
                  <a:cubicBezTo>
                    <a:pt x="36" y="117"/>
                    <a:pt x="37" y="115"/>
                    <a:pt x="36" y="113"/>
                  </a:cubicBezTo>
                  <a:cubicBezTo>
                    <a:pt x="34" y="111"/>
                    <a:pt x="32" y="109"/>
                    <a:pt x="30" y="108"/>
                  </a:cubicBezTo>
                  <a:cubicBezTo>
                    <a:pt x="28" y="108"/>
                    <a:pt x="26" y="108"/>
                    <a:pt x="24" y="10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6" name="Freeform 206"/>
            <p:cNvSpPr>
              <a:spLocks noChangeAspect="1"/>
            </p:cNvSpPr>
            <p:nvPr/>
          </p:nvSpPr>
          <p:spPr bwMode="auto">
            <a:xfrm>
              <a:off x="4410075" y="3170238"/>
              <a:ext cx="6350" cy="4762"/>
            </a:xfrm>
            <a:custGeom>
              <a:avLst/>
              <a:gdLst>
                <a:gd name="T0" fmla="*/ 0 w 4"/>
                <a:gd name="T1" fmla="*/ 3175 h 3"/>
                <a:gd name="T2" fmla="*/ 3175 w 4"/>
                <a:gd name="T3" fmla="*/ 1587 h 3"/>
                <a:gd name="T4" fmla="*/ 4762 w 4"/>
                <a:gd name="T5" fmla="*/ 0 h 3"/>
                <a:gd name="T6" fmla="*/ 6350 w 4"/>
                <a:gd name="T7" fmla="*/ 3175 h 3"/>
                <a:gd name="T8" fmla="*/ 3175 w 4"/>
                <a:gd name="T9" fmla="*/ 4762 h 3"/>
                <a:gd name="T10" fmla="*/ 0 w 4"/>
                <a:gd name="T11" fmla="*/ 3175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"/>
                <a:gd name="T20" fmla="*/ 4 w 4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">
                  <a:moveTo>
                    <a:pt x="0" y="2"/>
                  </a:move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3"/>
                    <a:pt x="2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7" name="Freeform 207"/>
            <p:cNvSpPr>
              <a:spLocks noChangeAspect="1"/>
            </p:cNvSpPr>
            <p:nvPr/>
          </p:nvSpPr>
          <p:spPr bwMode="auto">
            <a:xfrm>
              <a:off x="4591050" y="3051175"/>
              <a:ext cx="28575" cy="22225"/>
            </a:xfrm>
            <a:custGeom>
              <a:avLst/>
              <a:gdLst>
                <a:gd name="T0" fmla="*/ 19050 w 15"/>
                <a:gd name="T1" fmla="*/ 0 h 12"/>
                <a:gd name="T2" fmla="*/ 19050 w 15"/>
                <a:gd name="T3" fmla="*/ 7408 h 12"/>
                <a:gd name="T4" fmla="*/ 28575 w 15"/>
                <a:gd name="T5" fmla="*/ 7408 h 12"/>
                <a:gd name="T6" fmla="*/ 19050 w 15"/>
                <a:gd name="T7" fmla="*/ 22225 h 12"/>
                <a:gd name="T8" fmla="*/ 15240 w 15"/>
                <a:gd name="T9" fmla="*/ 20373 h 12"/>
                <a:gd name="T10" fmla="*/ 9525 w 15"/>
                <a:gd name="T11" fmla="*/ 14817 h 12"/>
                <a:gd name="T12" fmla="*/ 0 w 15"/>
                <a:gd name="T13" fmla="*/ 11113 h 12"/>
                <a:gd name="T14" fmla="*/ 11430 w 15"/>
                <a:gd name="T15" fmla="*/ 5556 h 12"/>
                <a:gd name="T16" fmla="*/ 19050 w 15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2"/>
                <a:gd name="T29" fmla="*/ 15 w 15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2">
                  <a:moveTo>
                    <a:pt x="10" y="0"/>
                  </a:moveTo>
                  <a:cubicBezTo>
                    <a:pt x="11" y="1"/>
                    <a:pt x="9" y="3"/>
                    <a:pt x="10" y="4"/>
                  </a:cubicBezTo>
                  <a:cubicBezTo>
                    <a:pt x="11" y="5"/>
                    <a:pt x="15" y="2"/>
                    <a:pt x="15" y="4"/>
                  </a:cubicBezTo>
                  <a:cubicBezTo>
                    <a:pt x="15" y="7"/>
                    <a:pt x="12" y="10"/>
                    <a:pt x="10" y="12"/>
                  </a:cubicBezTo>
                  <a:cubicBezTo>
                    <a:pt x="10" y="12"/>
                    <a:pt x="9" y="11"/>
                    <a:pt x="8" y="11"/>
                  </a:cubicBezTo>
                  <a:cubicBezTo>
                    <a:pt x="7" y="10"/>
                    <a:pt x="6" y="8"/>
                    <a:pt x="5" y="8"/>
                  </a:cubicBezTo>
                  <a:cubicBezTo>
                    <a:pt x="4" y="7"/>
                    <a:pt x="0" y="8"/>
                    <a:pt x="0" y="6"/>
                  </a:cubicBezTo>
                  <a:cubicBezTo>
                    <a:pt x="1" y="4"/>
                    <a:pt x="4" y="4"/>
                    <a:pt x="6" y="3"/>
                  </a:cubicBezTo>
                  <a:cubicBezTo>
                    <a:pt x="7" y="2"/>
                    <a:pt x="8" y="0"/>
                    <a:pt x="1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8" name="Freeform 208"/>
            <p:cNvSpPr>
              <a:spLocks noChangeAspect="1"/>
            </p:cNvSpPr>
            <p:nvPr/>
          </p:nvSpPr>
          <p:spPr bwMode="auto">
            <a:xfrm>
              <a:off x="4627563" y="3048000"/>
              <a:ext cx="14287" cy="11113"/>
            </a:xfrm>
            <a:custGeom>
              <a:avLst/>
              <a:gdLst>
                <a:gd name="T0" fmla="*/ 5358 w 8"/>
                <a:gd name="T1" fmla="*/ 0 h 6"/>
                <a:gd name="T2" fmla="*/ 12501 w 8"/>
                <a:gd name="T3" fmla="*/ 9261 h 6"/>
                <a:gd name="T4" fmla="*/ 0 w 8"/>
                <a:gd name="T5" fmla="*/ 5557 h 6"/>
                <a:gd name="T6" fmla="*/ 0 w 8"/>
                <a:gd name="T7" fmla="*/ 1852 h 6"/>
                <a:gd name="T8" fmla="*/ 5358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3" y="0"/>
                  </a:moveTo>
                  <a:cubicBezTo>
                    <a:pt x="5" y="1"/>
                    <a:pt x="8" y="3"/>
                    <a:pt x="7" y="5"/>
                  </a:cubicBezTo>
                  <a:cubicBezTo>
                    <a:pt x="6" y="6"/>
                    <a:pt x="2" y="4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09" name="Freeform 209"/>
            <p:cNvSpPr>
              <a:spLocks noChangeAspect="1"/>
            </p:cNvSpPr>
            <p:nvPr/>
          </p:nvSpPr>
          <p:spPr bwMode="auto">
            <a:xfrm>
              <a:off x="4564063" y="3076575"/>
              <a:ext cx="12700" cy="11113"/>
            </a:xfrm>
            <a:custGeom>
              <a:avLst/>
              <a:gdLst>
                <a:gd name="T0" fmla="*/ 10886 w 7"/>
                <a:gd name="T1" fmla="*/ 1852 h 6"/>
                <a:gd name="T2" fmla="*/ 7257 w 7"/>
                <a:gd name="T3" fmla="*/ 7409 h 6"/>
                <a:gd name="T4" fmla="*/ 0 w 7"/>
                <a:gd name="T5" fmla="*/ 9261 h 6"/>
                <a:gd name="T6" fmla="*/ 3629 w 7"/>
                <a:gd name="T7" fmla="*/ 3704 h 6"/>
                <a:gd name="T8" fmla="*/ 10886 w 7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1"/>
                  </a:moveTo>
                  <a:cubicBezTo>
                    <a:pt x="7" y="2"/>
                    <a:pt x="5" y="4"/>
                    <a:pt x="4" y="4"/>
                  </a:cubicBezTo>
                  <a:cubicBezTo>
                    <a:pt x="3" y="5"/>
                    <a:pt x="1" y="6"/>
                    <a:pt x="0" y="5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3" y="1"/>
                    <a:pt x="5" y="0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0" name="Freeform 210"/>
            <p:cNvSpPr>
              <a:spLocks noChangeAspect="1"/>
            </p:cNvSpPr>
            <p:nvPr/>
          </p:nvSpPr>
          <p:spPr bwMode="auto">
            <a:xfrm>
              <a:off x="4568825" y="3089275"/>
              <a:ext cx="11113" cy="6350"/>
            </a:xfrm>
            <a:custGeom>
              <a:avLst/>
              <a:gdLst>
                <a:gd name="T0" fmla="*/ 4445 w 5"/>
                <a:gd name="T1" fmla="*/ 0 h 3"/>
                <a:gd name="T2" fmla="*/ 8890 w 5"/>
                <a:gd name="T3" fmla="*/ 4233 h 3"/>
                <a:gd name="T4" fmla="*/ 2223 w 5"/>
                <a:gd name="T5" fmla="*/ 4233 h 3"/>
                <a:gd name="T6" fmla="*/ 4445 w 5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2" y="0"/>
                  </a:moveTo>
                  <a:cubicBezTo>
                    <a:pt x="3" y="0"/>
                    <a:pt x="5" y="1"/>
                    <a:pt x="4" y="2"/>
                  </a:cubicBezTo>
                  <a:cubicBezTo>
                    <a:pt x="4" y="3"/>
                    <a:pt x="1" y="3"/>
                    <a:pt x="1" y="2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1" name="Freeform 211"/>
            <p:cNvSpPr>
              <a:spLocks noChangeAspect="1"/>
            </p:cNvSpPr>
            <p:nvPr/>
          </p:nvSpPr>
          <p:spPr bwMode="auto">
            <a:xfrm>
              <a:off x="5013325" y="3087688"/>
              <a:ext cx="7938" cy="4762"/>
            </a:xfrm>
            <a:custGeom>
              <a:avLst/>
              <a:gdLst>
                <a:gd name="T0" fmla="*/ 3969 w 4"/>
                <a:gd name="T1" fmla="*/ 0 h 3"/>
                <a:gd name="T2" fmla="*/ 7938 w 4"/>
                <a:gd name="T3" fmla="*/ 3175 h 3"/>
                <a:gd name="T4" fmla="*/ 1985 w 4"/>
                <a:gd name="T5" fmla="*/ 3175 h 3"/>
                <a:gd name="T6" fmla="*/ 3969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2" y="0"/>
                  </a:moveTo>
                  <a:cubicBezTo>
                    <a:pt x="3" y="0"/>
                    <a:pt x="4" y="2"/>
                    <a:pt x="4" y="2"/>
                  </a:cubicBezTo>
                  <a:cubicBezTo>
                    <a:pt x="3" y="3"/>
                    <a:pt x="1" y="3"/>
                    <a:pt x="1" y="2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2" name="Freeform 212"/>
            <p:cNvSpPr>
              <a:spLocks noChangeAspect="1"/>
            </p:cNvSpPr>
            <p:nvPr/>
          </p:nvSpPr>
          <p:spPr bwMode="auto">
            <a:xfrm>
              <a:off x="5018088" y="3114675"/>
              <a:ext cx="6350" cy="7938"/>
            </a:xfrm>
            <a:custGeom>
              <a:avLst/>
              <a:gdLst>
                <a:gd name="T0" fmla="*/ 3175 w 4"/>
                <a:gd name="T1" fmla="*/ 0 h 4"/>
                <a:gd name="T2" fmla="*/ 6350 w 4"/>
                <a:gd name="T3" fmla="*/ 5953 h 4"/>
                <a:gd name="T4" fmla="*/ 0 w 4"/>
                <a:gd name="T5" fmla="*/ 5953 h 4"/>
                <a:gd name="T6" fmla="*/ 3175 w 4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2" y="0"/>
                  </a:moveTo>
                  <a:cubicBezTo>
                    <a:pt x="3" y="0"/>
                    <a:pt x="4" y="2"/>
                    <a:pt x="4" y="3"/>
                  </a:cubicBezTo>
                  <a:cubicBezTo>
                    <a:pt x="3" y="4"/>
                    <a:pt x="1" y="4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3" name="Freeform 213"/>
            <p:cNvSpPr>
              <a:spLocks noChangeAspect="1"/>
            </p:cNvSpPr>
            <p:nvPr/>
          </p:nvSpPr>
          <p:spPr bwMode="auto">
            <a:xfrm>
              <a:off x="5105400" y="3025775"/>
              <a:ext cx="9525" cy="7938"/>
            </a:xfrm>
            <a:custGeom>
              <a:avLst/>
              <a:gdLst>
                <a:gd name="T0" fmla="*/ 3810 w 5"/>
                <a:gd name="T1" fmla="*/ 0 h 4"/>
                <a:gd name="T2" fmla="*/ 7620 w 5"/>
                <a:gd name="T3" fmla="*/ 5953 h 4"/>
                <a:gd name="T4" fmla="*/ 1905 w 5"/>
                <a:gd name="T5" fmla="*/ 5953 h 4"/>
                <a:gd name="T6" fmla="*/ 3810 w 5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2" y="0"/>
                  </a:moveTo>
                  <a:cubicBezTo>
                    <a:pt x="3" y="0"/>
                    <a:pt x="5" y="2"/>
                    <a:pt x="4" y="3"/>
                  </a:cubicBezTo>
                  <a:cubicBezTo>
                    <a:pt x="4" y="4"/>
                    <a:pt x="1" y="4"/>
                    <a:pt x="1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4" name="Freeform 214"/>
            <p:cNvSpPr>
              <a:spLocks noChangeAspect="1"/>
            </p:cNvSpPr>
            <p:nvPr/>
          </p:nvSpPr>
          <p:spPr bwMode="auto">
            <a:xfrm>
              <a:off x="5127625" y="3032125"/>
              <a:ext cx="7938" cy="6350"/>
            </a:xfrm>
            <a:custGeom>
              <a:avLst/>
              <a:gdLst>
                <a:gd name="T0" fmla="*/ 3969 w 4"/>
                <a:gd name="T1" fmla="*/ 0 h 3"/>
                <a:gd name="T2" fmla="*/ 7938 w 4"/>
                <a:gd name="T3" fmla="*/ 4233 h 3"/>
                <a:gd name="T4" fmla="*/ 1985 w 4"/>
                <a:gd name="T5" fmla="*/ 4233 h 3"/>
                <a:gd name="T6" fmla="*/ 3969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3" y="3"/>
                    <a:pt x="1" y="3"/>
                    <a:pt x="1" y="2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5" name="Freeform 215"/>
            <p:cNvSpPr>
              <a:spLocks noChangeAspect="1"/>
            </p:cNvSpPr>
            <p:nvPr/>
          </p:nvSpPr>
          <p:spPr bwMode="auto">
            <a:xfrm>
              <a:off x="5119688" y="3049588"/>
              <a:ext cx="7937" cy="4762"/>
            </a:xfrm>
            <a:custGeom>
              <a:avLst/>
              <a:gdLst>
                <a:gd name="T0" fmla="*/ 3969 w 4"/>
                <a:gd name="T1" fmla="*/ 0 h 3"/>
                <a:gd name="T2" fmla="*/ 7937 w 4"/>
                <a:gd name="T3" fmla="*/ 3175 h 3"/>
                <a:gd name="T4" fmla="*/ 1984 w 4"/>
                <a:gd name="T5" fmla="*/ 3175 h 3"/>
                <a:gd name="T6" fmla="*/ 3969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3" y="3"/>
                    <a:pt x="1" y="3"/>
                    <a:pt x="1" y="2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6" name="Freeform 216"/>
            <p:cNvSpPr>
              <a:spLocks noChangeAspect="1"/>
            </p:cNvSpPr>
            <p:nvPr/>
          </p:nvSpPr>
          <p:spPr bwMode="auto">
            <a:xfrm>
              <a:off x="5106988" y="3081338"/>
              <a:ext cx="7937" cy="6350"/>
            </a:xfrm>
            <a:custGeom>
              <a:avLst/>
              <a:gdLst>
                <a:gd name="T0" fmla="*/ 1984 w 4"/>
                <a:gd name="T1" fmla="*/ 0 h 3"/>
                <a:gd name="T2" fmla="*/ 5953 w 4"/>
                <a:gd name="T3" fmla="*/ 6350 h 3"/>
                <a:gd name="T4" fmla="*/ 0 w 4"/>
                <a:gd name="T5" fmla="*/ 6350 h 3"/>
                <a:gd name="T6" fmla="*/ 1984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1" y="0"/>
                  </a:moveTo>
                  <a:cubicBezTo>
                    <a:pt x="2" y="0"/>
                    <a:pt x="4" y="2"/>
                    <a:pt x="3" y="3"/>
                  </a:cubicBezTo>
                  <a:cubicBezTo>
                    <a:pt x="3" y="3"/>
                    <a:pt x="1" y="3"/>
                    <a:pt x="0" y="3"/>
                  </a:cubicBezTo>
                  <a:cubicBezTo>
                    <a:pt x="0" y="2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7" name="Freeform 217"/>
            <p:cNvSpPr>
              <a:spLocks noChangeAspect="1"/>
            </p:cNvSpPr>
            <p:nvPr/>
          </p:nvSpPr>
          <p:spPr bwMode="auto">
            <a:xfrm>
              <a:off x="5113338" y="3113088"/>
              <a:ext cx="9525" cy="6350"/>
            </a:xfrm>
            <a:custGeom>
              <a:avLst/>
              <a:gdLst>
                <a:gd name="T0" fmla="*/ 5715 w 5"/>
                <a:gd name="T1" fmla="*/ 1588 h 4"/>
                <a:gd name="T2" fmla="*/ 7620 w 5"/>
                <a:gd name="T3" fmla="*/ 6350 h 4"/>
                <a:gd name="T4" fmla="*/ 0 w 5"/>
                <a:gd name="T5" fmla="*/ 1588 h 4"/>
                <a:gd name="T6" fmla="*/ 5715 w 5"/>
                <a:gd name="T7" fmla="*/ 1588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3" y="1"/>
                  </a:moveTo>
                  <a:cubicBezTo>
                    <a:pt x="4" y="2"/>
                    <a:pt x="5" y="3"/>
                    <a:pt x="4" y="4"/>
                  </a:cubicBezTo>
                  <a:cubicBezTo>
                    <a:pt x="4" y="4"/>
                    <a:pt x="1" y="2"/>
                    <a:pt x="0" y="1"/>
                  </a:cubicBezTo>
                  <a:cubicBezTo>
                    <a:pt x="0" y="0"/>
                    <a:pt x="1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8" name="Freeform 218"/>
            <p:cNvSpPr>
              <a:spLocks noChangeAspect="1"/>
            </p:cNvSpPr>
            <p:nvPr/>
          </p:nvSpPr>
          <p:spPr bwMode="auto">
            <a:xfrm>
              <a:off x="5157788" y="3117850"/>
              <a:ext cx="9525" cy="6350"/>
            </a:xfrm>
            <a:custGeom>
              <a:avLst/>
              <a:gdLst>
                <a:gd name="T0" fmla="*/ 5715 w 5"/>
                <a:gd name="T1" fmla="*/ 2117 h 3"/>
                <a:gd name="T2" fmla="*/ 7620 w 5"/>
                <a:gd name="T3" fmla="*/ 6350 h 3"/>
                <a:gd name="T4" fmla="*/ 0 w 5"/>
                <a:gd name="T5" fmla="*/ 2117 h 3"/>
                <a:gd name="T6" fmla="*/ 5715 w 5"/>
                <a:gd name="T7" fmla="*/ 211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3" y="1"/>
                  </a:moveTo>
                  <a:cubicBezTo>
                    <a:pt x="4" y="1"/>
                    <a:pt x="5" y="3"/>
                    <a:pt x="4" y="3"/>
                  </a:cubicBezTo>
                  <a:cubicBezTo>
                    <a:pt x="4" y="3"/>
                    <a:pt x="1" y="2"/>
                    <a:pt x="0" y="1"/>
                  </a:cubicBezTo>
                  <a:cubicBezTo>
                    <a:pt x="0" y="0"/>
                    <a:pt x="1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19" name="Freeform 219"/>
            <p:cNvSpPr>
              <a:spLocks noChangeAspect="1"/>
            </p:cNvSpPr>
            <p:nvPr/>
          </p:nvSpPr>
          <p:spPr bwMode="auto">
            <a:xfrm>
              <a:off x="5106988" y="3148013"/>
              <a:ext cx="6350" cy="7937"/>
            </a:xfrm>
            <a:custGeom>
              <a:avLst/>
              <a:gdLst>
                <a:gd name="T0" fmla="*/ 2117 w 3"/>
                <a:gd name="T1" fmla="*/ 3969 h 4"/>
                <a:gd name="T2" fmla="*/ 6350 w 3"/>
                <a:gd name="T3" fmla="*/ 1984 h 4"/>
                <a:gd name="T4" fmla="*/ 2117 w 3"/>
                <a:gd name="T5" fmla="*/ 7937 h 4"/>
                <a:gd name="T6" fmla="*/ 2117 w 3"/>
                <a:gd name="T7" fmla="*/ 3969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1" y="2"/>
                  </a:moveTo>
                  <a:cubicBezTo>
                    <a:pt x="2" y="1"/>
                    <a:pt x="3" y="0"/>
                    <a:pt x="3" y="1"/>
                  </a:cubicBezTo>
                  <a:cubicBezTo>
                    <a:pt x="3" y="2"/>
                    <a:pt x="2" y="3"/>
                    <a:pt x="1" y="4"/>
                  </a:cubicBezTo>
                  <a:cubicBezTo>
                    <a:pt x="0" y="4"/>
                    <a:pt x="0" y="3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0" name="Freeform 220"/>
            <p:cNvSpPr>
              <a:spLocks noChangeAspect="1"/>
            </p:cNvSpPr>
            <p:nvPr/>
          </p:nvSpPr>
          <p:spPr bwMode="auto">
            <a:xfrm>
              <a:off x="5143500" y="3122613"/>
              <a:ext cx="7938" cy="4762"/>
            </a:xfrm>
            <a:custGeom>
              <a:avLst/>
              <a:gdLst>
                <a:gd name="T0" fmla="*/ 1985 w 4"/>
                <a:gd name="T1" fmla="*/ 1587 h 3"/>
                <a:gd name="T2" fmla="*/ 7938 w 4"/>
                <a:gd name="T3" fmla="*/ 1587 h 3"/>
                <a:gd name="T4" fmla="*/ 1985 w 4"/>
                <a:gd name="T5" fmla="*/ 4762 h 3"/>
                <a:gd name="T6" fmla="*/ 1985 w 4"/>
                <a:gd name="T7" fmla="*/ 158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1" y="1"/>
                  </a:moveTo>
                  <a:cubicBezTo>
                    <a:pt x="2" y="1"/>
                    <a:pt x="4" y="0"/>
                    <a:pt x="4" y="1"/>
                  </a:cubicBezTo>
                  <a:cubicBezTo>
                    <a:pt x="4" y="1"/>
                    <a:pt x="2" y="3"/>
                    <a:pt x="1" y="3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1" name="Freeform 221"/>
            <p:cNvSpPr>
              <a:spLocks noChangeAspect="1"/>
            </p:cNvSpPr>
            <p:nvPr/>
          </p:nvSpPr>
          <p:spPr bwMode="auto">
            <a:xfrm>
              <a:off x="5141913" y="3144838"/>
              <a:ext cx="4762" cy="6350"/>
            </a:xfrm>
            <a:custGeom>
              <a:avLst/>
              <a:gdLst>
                <a:gd name="T0" fmla="*/ 1587 w 3"/>
                <a:gd name="T1" fmla="*/ 2117 h 3"/>
                <a:gd name="T2" fmla="*/ 4762 w 3"/>
                <a:gd name="T3" fmla="*/ 0 h 3"/>
                <a:gd name="T4" fmla="*/ 1587 w 3"/>
                <a:gd name="T5" fmla="*/ 6350 h 3"/>
                <a:gd name="T6" fmla="*/ 1587 w 3"/>
                <a:gd name="T7" fmla="*/ 211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1" y="1"/>
                  </a:moveTo>
                  <a:cubicBezTo>
                    <a:pt x="2" y="1"/>
                    <a:pt x="3" y="0"/>
                    <a:pt x="3" y="0"/>
                  </a:cubicBezTo>
                  <a:cubicBezTo>
                    <a:pt x="3" y="1"/>
                    <a:pt x="1" y="3"/>
                    <a:pt x="1" y="3"/>
                  </a:cubicBezTo>
                  <a:cubicBezTo>
                    <a:pt x="0" y="3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2" name="Freeform 222"/>
            <p:cNvSpPr>
              <a:spLocks noChangeAspect="1"/>
            </p:cNvSpPr>
            <p:nvPr/>
          </p:nvSpPr>
          <p:spPr bwMode="auto">
            <a:xfrm>
              <a:off x="5091113" y="3068638"/>
              <a:ext cx="7937" cy="7937"/>
            </a:xfrm>
            <a:custGeom>
              <a:avLst/>
              <a:gdLst>
                <a:gd name="T0" fmla="*/ 1984 w 4"/>
                <a:gd name="T1" fmla="*/ 3969 h 4"/>
                <a:gd name="T2" fmla="*/ 5953 w 4"/>
                <a:gd name="T3" fmla="*/ 1984 h 4"/>
                <a:gd name="T4" fmla="*/ 1984 w 4"/>
                <a:gd name="T5" fmla="*/ 7937 h 4"/>
                <a:gd name="T6" fmla="*/ 1984 w 4"/>
                <a:gd name="T7" fmla="*/ 3969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1" y="2"/>
                  </a:moveTo>
                  <a:cubicBezTo>
                    <a:pt x="2" y="1"/>
                    <a:pt x="4" y="0"/>
                    <a:pt x="3" y="1"/>
                  </a:cubicBezTo>
                  <a:cubicBezTo>
                    <a:pt x="3" y="2"/>
                    <a:pt x="2" y="3"/>
                    <a:pt x="1" y="4"/>
                  </a:cubicBezTo>
                  <a:cubicBezTo>
                    <a:pt x="0" y="4"/>
                    <a:pt x="0" y="3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3" name="Freeform 223"/>
            <p:cNvSpPr>
              <a:spLocks noChangeAspect="1"/>
            </p:cNvSpPr>
            <p:nvPr/>
          </p:nvSpPr>
          <p:spPr bwMode="auto">
            <a:xfrm>
              <a:off x="5084763" y="3073400"/>
              <a:ext cx="4762" cy="6350"/>
            </a:xfrm>
            <a:custGeom>
              <a:avLst/>
              <a:gdLst>
                <a:gd name="T0" fmla="*/ 3175 w 3"/>
                <a:gd name="T1" fmla="*/ 2117 h 3"/>
                <a:gd name="T2" fmla="*/ 4762 w 3"/>
                <a:gd name="T3" fmla="*/ 6350 h 3"/>
                <a:gd name="T4" fmla="*/ 0 w 3"/>
                <a:gd name="T5" fmla="*/ 2117 h 3"/>
                <a:gd name="T6" fmla="*/ 3175 w 3"/>
                <a:gd name="T7" fmla="*/ 211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2" y="1"/>
                  </a:moveTo>
                  <a:cubicBezTo>
                    <a:pt x="3" y="1"/>
                    <a:pt x="3" y="3"/>
                    <a:pt x="3" y="3"/>
                  </a:cubicBezTo>
                  <a:cubicBezTo>
                    <a:pt x="2" y="3"/>
                    <a:pt x="0" y="1"/>
                    <a:pt x="0" y="1"/>
                  </a:cubicBezTo>
                  <a:cubicBezTo>
                    <a:pt x="0" y="0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4" name="Freeform 224"/>
            <p:cNvSpPr>
              <a:spLocks noChangeAspect="1"/>
            </p:cNvSpPr>
            <p:nvPr/>
          </p:nvSpPr>
          <p:spPr bwMode="auto">
            <a:xfrm>
              <a:off x="4460875" y="2811463"/>
              <a:ext cx="6350" cy="4762"/>
            </a:xfrm>
            <a:custGeom>
              <a:avLst/>
              <a:gdLst>
                <a:gd name="T0" fmla="*/ 4233 w 3"/>
                <a:gd name="T1" fmla="*/ 3175 h 3"/>
                <a:gd name="T2" fmla="*/ 4233 w 3"/>
                <a:gd name="T3" fmla="*/ 4762 h 3"/>
                <a:gd name="T4" fmla="*/ 0 w 3"/>
                <a:gd name="T5" fmla="*/ 3175 h 3"/>
                <a:gd name="T6" fmla="*/ 2117 w 3"/>
                <a:gd name="T7" fmla="*/ 0 h 3"/>
                <a:gd name="T8" fmla="*/ 4233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3" y="3"/>
                    <a:pt x="2" y="3"/>
                  </a:cubicBezTo>
                  <a:cubicBezTo>
                    <a:pt x="1" y="3"/>
                    <a:pt x="1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5" name="Freeform 225"/>
            <p:cNvSpPr>
              <a:spLocks noChangeAspect="1"/>
            </p:cNvSpPr>
            <p:nvPr/>
          </p:nvSpPr>
          <p:spPr bwMode="auto">
            <a:xfrm>
              <a:off x="4481513" y="2822575"/>
              <a:ext cx="6350" cy="6350"/>
            </a:xfrm>
            <a:custGeom>
              <a:avLst/>
              <a:gdLst>
                <a:gd name="T0" fmla="*/ 4233 w 3"/>
                <a:gd name="T1" fmla="*/ 2117 h 3"/>
                <a:gd name="T2" fmla="*/ 6350 w 3"/>
                <a:gd name="T3" fmla="*/ 4233 h 3"/>
                <a:gd name="T4" fmla="*/ 2117 w 3"/>
                <a:gd name="T5" fmla="*/ 4233 h 3"/>
                <a:gd name="T6" fmla="*/ 2117 w 3"/>
                <a:gd name="T7" fmla="*/ 2117 h 3"/>
                <a:gd name="T8" fmla="*/ 4233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2"/>
                    <a:pt x="3" y="2"/>
                    <a:pt x="3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6" name="Freeform 226"/>
            <p:cNvSpPr>
              <a:spLocks noChangeAspect="1"/>
            </p:cNvSpPr>
            <p:nvPr/>
          </p:nvSpPr>
          <p:spPr bwMode="auto">
            <a:xfrm>
              <a:off x="4502150" y="2854325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6350 w 3"/>
                <a:gd name="T3" fmla="*/ 6350 h 3"/>
                <a:gd name="T4" fmla="*/ 0 w 3"/>
                <a:gd name="T5" fmla="*/ 6350 h 3"/>
                <a:gd name="T6" fmla="*/ 0 w 3"/>
                <a:gd name="T7" fmla="*/ 2117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3" y="3"/>
                    <a:pt x="3" y="3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7" name="Freeform 227"/>
            <p:cNvSpPr>
              <a:spLocks noChangeAspect="1"/>
            </p:cNvSpPr>
            <p:nvPr/>
          </p:nvSpPr>
          <p:spPr bwMode="auto">
            <a:xfrm>
              <a:off x="4870450" y="2887663"/>
              <a:ext cx="6350" cy="4762"/>
            </a:xfrm>
            <a:custGeom>
              <a:avLst/>
              <a:gdLst>
                <a:gd name="T0" fmla="*/ 4233 w 3"/>
                <a:gd name="T1" fmla="*/ 1587 h 3"/>
                <a:gd name="T2" fmla="*/ 4233 w 3"/>
                <a:gd name="T3" fmla="*/ 3175 h 3"/>
                <a:gd name="T4" fmla="*/ 2117 w 3"/>
                <a:gd name="T5" fmla="*/ 3175 h 3"/>
                <a:gd name="T6" fmla="*/ 2117 w 3"/>
                <a:gd name="T7" fmla="*/ 0 h 3"/>
                <a:gd name="T8" fmla="*/ 4233 w 3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1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8" name="Freeform 228"/>
            <p:cNvSpPr>
              <a:spLocks noChangeAspect="1"/>
            </p:cNvSpPr>
            <p:nvPr/>
          </p:nvSpPr>
          <p:spPr bwMode="auto">
            <a:xfrm>
              <a:off x="4618038" y="2670175"/>
              <a:ext cx="11112" cy="6350"/>
            </a:xfrm>
            <a:custGeom>
              <a:avLst/>
              <a:gdLst>
                <a:gd name="T0" fmla="*/ 0 w 6"/>
                <a:gd name="T1" fmla="*/ 2117 h 3"/>
                <a:gd name="T2" fmla="*/ 5556 w 6"/>
                <a:gd name="T3" fmla="*/ 2117 h 3"/>
                <a:gd name="T4" fmla="*/ 11112 w 6"/>
                <a:gd name="T5" fmla="*/ 4233 h 3"/>
                <a:gd name="T6" fmla="*/ 5556 w 6"/>
                <a:gd name="T7" fmla="*/ 4233 h 3"/>
                <a:gd name="T8" fmla="*/ 0 w 6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1"/>
                  </a:moveTo>
                  <a:cubicBezTo>
                    <a:pt x="1" y="0"/>
                    <a:pt x="2" y="1"/>
                    <a:pt x="3" y="1"/>
                  </a:cubicBezTo>
                  <a:cubicBezTo>
                    <a:pt x="4" y="1"/>
                    <a:pt x="6" y="2"/>
                    <a:pt x="6" y="2"/>
                  </a:cubicBezTo>
                  <a:cubicBezTo>
                    <a:pt x="5" y="3"/>
                    <a:pt x="4" y="2"/>
                    <a:pt x="3" y="2"/>
                  </a:cubicBezTo>
                  <a:cubicBezTo>
                    <a:pt x="2" y="2"/>
                    <a:pt x="0" y="2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29" name="Freeform 229"/>
            <p:cNvSpPr>
              <a:spLocks noChangeAspect="1"/>
            </p:cNvSpPr>
            <p:nvPr/>
          </p:nvSpPr>
          <p:spPr bwMode="auto">
            <a:xfrm>
              <a:off x="4640263" y="2614613"/>
              <a:ext cx="7937" cy="11112"/>
            </a:xfrm>
            <a:custGeom>
              <a:avLst/>
              <a:gdLst>
                <a:gd name="T0" fmla="*/ 1984 w 4"/>
                <a:gd name="T1" fmla="*/ 9260 h 6"/>
                <a:gd name="T2" fmla="*/ 3969 w 4"/>
                <a:gd name="T3" fmla="*/ 3704 h 6"/>
                <a:gd name="T4" fmla="*/ 7937 w 4"/>
                <a:gd name="T5" fmla="*/ 1852 h 6"/>
                <a:gd name="T6" fmla="*/ 5953 w 4"/>
                <a:gd name="T7" fmla="*/ 7408 h 6"/>
                <a:gd name="T8" fmla="*/ 1984 w 4"/>
                <a:gd name="T9" fmla="*/ 926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1" y="5"/>
                  </a:moveTo>
                  <a:cubicBezTo>
                    <a:pt x="0" y="4"/>
                    <a:pt x="2" y="3"/>
                    <a:pt x="2" y="2"/>
                  </a:cubicBezTo>
                  <a:cubicBezTo>
                    <a:pt x="3" y="2"/>
                    <a:pt x="4" y="0"/>
                    <a:pt x="4" y="1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2" y="4"/>
                    <a:pt x="1" y="6"/>
                    <a:pt x="1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0" name="Freeform 230"/>
            <p:cNvSpPr>
              <a:spLocks noChangeAspect="1"/>
            </p:cNvSpPr>
            <p:nvPr/>
          </p:nvSpPr>
          <p:spPr bwMode="auto">
            <a:xfrm>
              <a:off x="4649788" y="2606675"/>
              <a:ext cx="6350" cy="7938"/>
            </a:xfrm>
            <a:custGeom>
              <a:avLst/>
              <a:gdLst>
                <a:gd name="T0" fmla="*/ 0 w 3"/>
                <a:gd name="T1" fmla="*/ 7938 h 4"/>
                <a:gd name="T2" fmla="*/ 4233 w 3"/>
                <a:gd name="T3" fmla="*/ 3969 h 4"/>
                <a:gd name="T4" fmla="*/ 6350 w 3"/>
                <a:gd name="T5" fmla="*/ 1985 h 4"/>
                <a:gd name="T6" fmla="*/ 4233 w 3"/>
                <a:gd name="T7" fmla="*/ 5953 h 4"/>
                <a:gd name="T8" fmla="*/ 0 w 3"/>
                <a:gd name="T9" fmla="*/ 7938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0" y="4"/>
                  </a:moveTo>
                  <a:cubicBezTo>
                    <a:pt x="0" y="3"/>
                    <a:pt x="1" y="2"/>
                    <a:pt x="2" y="2"/>
                  </a:cubicBezTo>
                  <a:cubicBezTo>
                    <a:pt x="2" y="2"/>
                    <a:pt x="3" y="0"/>
                    <a:pt x="3" y="1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1" y="3"/>
                    <a:pt x="0" y="4"/>
                    <a:pt x="0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1" name="Freeform 231"/>
            <p:cNvSpPr>
              <a:spLocks noChangeAspect="1"/>
            </p:cNvSpPr>
            <p:nvPr/>
          </p:nvSpPr>
          <p:spPr bwMode="auto">
            <a:xfrm>
              <a:off x="4619625" y="2667000"/>
              <a:ext cx="9525" cy="4763"/>
            </a:xfrm>
            <a:custGeom>
              <a:avLst/>
              <a:gdLst>
                <a:gd name="T0" fmla="*/ 3810 w 5"/>
                <a:gd name="T1" fmla="*/ 1588 h 3"/>
                <a:gd name="T2" fmla="*/ 9525 w 5"/>
                <a:gd name="T3" fmla="*/ 3175 h 3"/>
                <a:gd name="T4" fmla="*/ 3810 w 5"/>
                <a:gd name="T5" fmla="*/ 3175 h 3"/>
                <a:gd name="T6" fmla="*/ 0 w 5"/>
                <a:gd name="T7" fmla="*/ 1588 h 3"/>
                <a:gd name="T8" fmla="*/ 3810 w 5"/>
                <a:gd name="T9" fmla="*/ 1588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1"/>
                  </a:moveTo>
                  <a:cubicBezTo>
                    <a:pt x="3" y="1"/>
                    <a:pt x="5" y="1"/>
                    <a:pt x="5" y="2"/>
                  </a:cubicBezTo>
                  <a:cubicBezTo>
                    <a:pt x="5" y="3"/>
                    <a:pt x="3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2" name="Freeform 232"/>
            <p:cNvSpPr>
              <a:spLocks noChangeAspect="1"/>
            </p:cNvSpPr>
            <p:nvPr/>
          </p:nvSpPr>
          <p:spPr bwMode="auto">
            <a:xfrm>
              <a:off x="4622800" y="2662238"/>
              <a:ext cx="7938" cy="4762"/>
            </a:xfrm>
            <a:custGeom>
              <a:avLst/>
              <a:gdLst>
                <a:gd name="T0" fmla="*/ 1985 w 4"/>
                <a:gd name="T1" fmla="*/ 2381 h 2"/>
                <a:gd name="T2" fmla="*/ 7938 w 4"/>
                <a:gd name="T3" fmla="*/ 4762 h 2"/>
                <a:gd name="T4" fmla="*/ 1985 w 4"/>
                <a:gd name="T5" fmla="*/ 4762 h 2"/>
                <a:gd name="T6" fmla="*/ 0 w 4"/>
                <a:gd name="T7" fmla="*/ 2381 h 2"/>
                <a:gd name="T8" fmla="*/ 1985 w 4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1"/>
                  </a:moveTo>
                  <a:cubicBezTo>
                    <a:pt x="2" y="1"/>
                    <a:pt x="4" y="1"/>
                    <a:pt x="4" y="2"/>
                  </a:cubicBezTo>
                  <a:cubicBezTo>
                    <a:pt x="4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3" name="Freeform 233"/>
            <p:cNvSpPr>
              <a:spLocks noChangeAspect="1"/>
            </p:cNvSpPr>
            <p:nvPr/>
          </p:nvSpPr>
          <p:spPr bwMode="auto">
            <a:xfrm>
              <a:off x="4473575" y="2738438"/>
              <a:ext cx="4763" cy="6350"/>
            </a:xfrm>
            <a:custGeom>
              <a:avLst/>
              <a:gdLst>
                <a:gd name="T0" fmla="*/ 2382 w 2"/>
                <a:gd name="T1" fmla="*/ 0 h 3"/>
                <a:gd name="T2" fmla="*/ 0 w 2"/>
                <a:gd name="T3" fmla="*/ 4233 h 3"/>
                <a:gd name="T4" fmla="*/ 2382 w 2"/>
                <a:gd name="T5" fmla="*/ 6350 h 3"/>
                <a:gd name="T6" fmla="*/ 4763 w 2"/>
                <a:gd name="T7" fmla="*/ 6350 h 3"/>
                <a:gd name="T8" fmla="*/ 2382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1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4" name="Freeform 234"/>
            <p:cNvSpPr>
              <a:spLocks noChangeAspect="1"/>
            </p:cNvSpPr>
            <p:nvPr/>
          </p:nvSpPr>
          <p:spPr bwMode="auto">
            <a:xfrm>
              <a:off x="4733925" y="2952750"/>
              <a:ext cx="23813" cy="53975"/>
            </a:xfrm>
            <a:custGeom>
              <a:avLst/>
              <a:gdLst>
                <a:gd name="T0" fmla="*/ 16486 w 13"/>
                <a:gd name="T1" fmla="*/ 53975 h 29"/>
                <a:gd name="T2" fmla="*/ 5495 w 13"/>
                <a:gd name="T3" fmla="*/ 48391 h 29"/>
                <a:gd name="T4" fmla="*/ 9159 w 13"/>
                <a:gd name="T5" fmla="*/ 44669 h 29"/>
                <a:gd name="T6" fmla="*/ 7327 w 13"/>
                <a:gd name="T7" fmla="*/ 39085 h 29"/>
                <a:gd name="T8" fmla="*/ 3664 w 13"/>
                <a:gd name="T9" fmla="*/ 35363 h 29"/>
                <a:gd name="T10" fmla="*/ 5495 w 13"/>
                <a:gd name="T11" fmla="*/ 31641 h 29"/>
                <a:gd name="T12" fmla="*/ 0 w 13"/>
                <a:gd name="T13" fmla="*/ 27918 h 29"/>
                <a:gd name="T14" fmla="*/ 3664 w 13"/>
                <a:gd name="T15" fmla="*/ 24196 h 29"/>
                <a:gd name="T16" fmla="*/ 3664 w 13"/>
                <a:gd name="T17" fmla="*/ 16751 h 29"/>
                <a:gd name="T18" fmla="*/ 12822 w 13"/>
                <a:gd name="T19" fmla="*/ 11167 h 29"/>
                <a:gd name="T20" fmla="*/ 16486 w 13"/>
                <a:gd name="T21" fmla="*/ 13028 h 29"/>
                <a:gd name="T22" fmla="*/ 18318 w 13"/>
                <a:gd name="T23" fmla="*/ 1861 h 29"/>
                <a:gd name="T24" fmla="*/ 21981 w 13"/>
                <a:gd name="T25" fmla="*/ 5584 h 29"/>
                <a:gd name="T26" fmla="*/ 23813 w 13"/>
                <a:gd name="T27" fmla="*/ 16751 h 29"/>
                <a:gd name="T28" fmla="*/ 23813 w 13"/>
                <a:gd name="T29" fmla="*/ 31641 h 29"/>
                <a:gd name="T30" fmla="*/ 20149 w 13"/>
                <a:gd name="T31" fmla="*/ 39085 h 29"/>
                <a:gd name="T32" fmla="*/ 16486 w 13"/>
                <a:gd name="T33" fmla="*/ 48391 h 29"/>
                <a:gd name="T34" fmla="*/ 16486 w 13"/>
                <a:gd name="T35" fmla="*/ 53975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"/>
                <a:gd name="T55" fmla="*/ 0 h 29"/>
                <a:gd name="T56" fmla="*/ 13 w 13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" h="29">
                  <a:moveTo>
                    <a:pt x="9" y="29"/>
                  </a:moveTo>
                  <a:cubicBezTo>
                    <a:pt x="7" y="28"/>
                    <a:pt x="5" y="27"/>
                    <a:pt x="3" y="26"/>
                  </a:cubicBezTo>
                  <a:cubicBezTo>
                    <a:pt x="3" y="25"/>
                    <a:pt x="5" y="24"/>
                    <a:pt x="5" y="24"/>
                  </a:cubicBezTo>
                  <a:cubicBezTo>
                    <a:pt x="5" y="23"/>
                    <a:pt x="5" y="22"/>
                    <a:pt x="4" y="21"/>
                  </a:cubicBezTo>
                  <a:cubicBezTo>
                    <a:pt x="4" y="20"/>
                    <a:pt x="2" y="20"/>
                    <a:pt x="2" y="19"/>
                  </a:cubicBezTo>
                  <a:cubicBezTo>
                    <a:pt x="2" y="18"/>
                    <a:pt x="3" y="17"/>
                    <a:pt x="3" y="17"/>
                  </a:cubicBezTo>
                  <a:cubicBezTo>
                    <a:pt x="3" y="16"/>
                    <a:pt x="1" y="16"/>
                    <a:pt x="0" y="15"/>
                  </a:cubicBezTo>
                  <a:cubicBezTo>
                    <a:pt x="0" y="15"/>
                    <a:pt x="2" y="14"/>
                    <a:pt x="2" y="13"/>
                  </a:cubicBezTo>
                  <a:cubicBezTo>
                    <a:pt x="3" y="12"/>
                    <a:pt x="1" y="10"/>
                    <a:pt x="2" y="9"/>
                  </a:cubicBezTo>
                  <a:cubicBezTo>
                    <a:pt x="3" y="7"/>
                    <a:pt x="6" y="7"/>
                    <a:pt x="7" y="6"/>
                  </a:cubicBezTo>
                  <a:cubicBezTo>
                    <a:pt x="8" y="6"/>
                    <a:pt x="9" y="7"/>
                    <a:pt x="9" y="7"/>
                  </a:cubicBezTo>
                  <a:cubicBezTo>
                    <a:pt x="10" y="5"/>
                    <a:pt x="9" y="3"/>
                    <a:pt x="10" y="1"/>
                  </a:cubicBezTo>
                  <a:cubicBezTo>
                    <a:pt x="10" y="0"/>
                    <a:pt x="11" y="2"/>
                    <a:pt x="12" y="3"/>
                  </a:cubicBezTo>
                  <a:cubicBezTo>
                    <a:pt x="12" y="5"/>
                    <a:pt x="12" y="7"/>
                    <a:pt x="13" y="9"/>
                  </a:cubicBezTo>
                  <a:cubicBezTo>
                    <a:pt x="13" y="12"/>
                    <a:pt x="13" y="14"/>
                    <a:pt x="13" y="17"/>
                  </a:cubicBezTo>
                  <a:cubicBezTo>
                    <a:pt x="12" y="18"/>
                    <a:pt x="11" y="20"/>
                    <a:pt x="11" y="21"/>
                  </a:cubicBezTo>
                  <a:cubicBezTo>
                    <a:pt x="10" y="23"/>
                    <a:pt x="10" y="25"/>
                    <a:pt x="9" y="26"/>
                  </a:cubicBezTo>
                  <a:cubicBezTo>
                    <a:pt x="9" y="27"/>
                    <a:pt x="10" y="29"/>
                    <a:pt x="9" y="2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5" name="Freeform 235"/>
            <p:cNvSpPr>
              <a:spLocks noChangeAspect="1"/>
            </p:cNvSpPr>
            <p:nvPr/>
          </p:nvSpPr>
          <p:spPr bwMode="auto">
            <a:xfrm>
              <a:off x="4724400" y="3011488"/>
              <a:ext cx="41275" cy="74612"/>
            </a:xfrm>
            <a:custGeom>
              <a:avLst/>
              <a:gdLst>
                <a:gd name="T0" fmla="*/ 35647 w 22"/>
                <a:gd name="T1" fmla="*/ 5739 h 39"/>
                <a:gd name="T2" fmla="*/ 41275 w 22"/>
                <a:gd name="T3" fmla="*/ 22958 h 39"/>
                <a:gd name="T4" fmla="*/ 35647 w 22"/>
                <a:gd name="T5" fmla="*/ 32523 h 39"/>
                <a:gd name="T6" fmla="*/ 37523 w 22"/>
                <a:gd name="T7" fmla="*/ 40176 h 39"/>
                <a:gd name="T8" fmla="*/ 35647 w 22"/>
                <a:gd name="T9" fmla="*/ 66959 h 39"/>
                <a:gd name="T10" fmla="*/ 24390 w 22"/>
                <a:gd name="T11" fmla="*/ 63133 h 39"/>
                <a:gd name="T12" fmla="*/ 20638 w 22"/>
                <a:gd name="T13" fmla="*/ 72699 h 39"/>
                <a:gd name="T14" fmla="*/ 11257 w 22"/>
                <a:gd name="T15" fmla="*/ 70786 h 39"/>
                <a:gd name="T16" fmla="*/ 5628 w 22"/>
                <a:gd name="T17" fmla="*/ 65046 h 39"/>
                <a:gd name="T18" fmla="*/ 7505 w 22"/>
                <a:gd name="T19" fmla="*/ 55481 h 39"/>
                <a:gd name="T20" fmla="*/ 13133 w 22"/>
                <a:gd name="T21" fmla="*/ 44002 h 39"/>
                <a:gd name="T22" fmla="*/ 7505 w 22"/>
                <a:gd name="T23" fmla="*/ 38263 h 39"/>
                <a:gd name="T24" fmla="*/ 9381 w 22"/>
                <a:gd name="T25" fmla="*/ 32523 h 39"/>
                <a:gd name="T26" fmla="*/ 5628 w 22"/>
                <a:gd name="T27" fmla="*/ 22958 h 39"/>
                <a:gd name="T28" fmla="*/ 0 w 22"/>
                <a:gd name="T29" fmla="*/ 17218 h 39"/>
                <a:gd name="T30" fmla="*/ 3752 w 22"/>
                <a:gd name="T31" fmla="*/ 3826 h 39"/>
                <a:gd name="T32" fmla="*/ 11257 w 22"/>
                <a:gd name="T33" fmla="*/ 13392 h 39"/>
                <a:gd name="T34" fmla="*/ 16885 w 22"/>
                <a:gd name="T35" fmla="*/ 7653 h 39"/>
                <a:gd name="T36" fmla="*/ 26266 w 22"/>
                <a:gd name="T37" fmla="*/ 1913 h 39"/>
                <a:gd name="T38" fmla="*/ 35647 w 22"/>
                <a:gd name="T39" fmla="*/ 5739 h 3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"/>
                <a:gd name="T61" fmla="*/ 0 h 39"/>
                <a:gd name="T62" fmla="*/ 22 w 22"/>
                <a:gd name="T63" fmla="*/ 39 h 3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" h="39">
                  <a:moveTo>
                    <a:pt x="19" y="3"/>
                  </a:moveTo>
                  <a:cubicBezTo>
                    <a:pt x="21" y="5"/>
                    <a:pt x="22" y="9"/>
                    <a:pt x="22" y="12"/>
                  </a:cubicBezTo>
                  <a:cubicBezTo>
                    <a:pt x="22" y="14"/>
                    <a:pt x="19" y="15"/>
                    <a:pt x="19" y="17"/>
                  </a:cubicBezTo>
                  <a:cubicBezTo>
                    <a:pt x="19" y="18"/>
                    <a:pt x="20" y="19"/>
                    <a:pt x="20" y="21"/>
                  </a:cubicBezTo>
                  <a:cubicBezTo>
                    <a:pt x="20" y="26"/>
                    <a:pt x="21" y="31"/>
                    <a:pt x="19" y="35"/>
                  </a:cubicBezTo>
                  <a:cubicBezTo>
                    <a:pt x="18" y="37"/>
                    <a:pt x="15" y="33"/>
                    <a:pt x="13" y="33"/>
                  </a:cubicBezTo>
                  <a:cubicBezTo>
                    <a:pt x="12" y="34"/>
                    <a:pt x="12" y="37"/>
                    <a:pt x="11" y="38"/>
                  </a:cubicBezTo>
                  <a:cubicBezTo>
                    <a:pt x="9" y="39"/>
                    <a:pt x="7" y="38"/>
                    <a:pt x="6" y="37"/>
                  </a:cubicBezTo>
                  <a:cubicBezTo>
                    <a:pt x="5" y="37"/>
                    <a:pt x="4" y="35"/>
                    <a:pt x="3" y="34"/>
                  </a:cubicBezTo>
                  <a:cubicBezTo>
                    <a:pt x="3" y="33"/>
                    <a:pt x="4" y="31"/>
                    <a:pt x="4" y="29"/>
                  </a:cubicBezTo>
                  <a:cubicBezTo>
                    <a:pt x="5" y="27"/>
                    <a:pt x="7" y="25"/>
                    <a:pt x="7" y="23"/>
                  </a:cubicBezTo>
                  <a:cubicBezTo>
                    <a:pt x="7" y="21"/>
                    <a:pt x="5" y="21"/>
                    <a:pt x="4" y="20"/>
                  </a:cubicBezTo>
                  <a:cubicBezTo>
                    <a:pt x="4" y="19"/>
                    <a:pt x="5" y="18"/>
                    <a:pt x="5" y="17"/>
                  </a:cubicBezTo>
                  <a:cubicBezTo>
                    <a:pt x="5" y="15"/>
                    <a:pt x="4" y="13"/>
                    <a:pt x="3" y="12"/>
                  </a:cubicBezTo>
                  <a:cubicBezTo>
                    <a:pt x="2" y="11"/>
                    <a:pt x="1" y="10"/>
                    <a:pt x="0" y="9"/>
                  </a:cubicBezTo>
                  <a:cubicBezTo>
                    <a:pt x="0" y="7"/>
                    <a:pt x="0" y="3"/>
                    <a:pt x="2" y="2"/>
                  </a:cubicBezTo>
                  <a:cubicBezTo>
                    <a:pt x="4" y="2"/>
                    <a:pt x="4" y="6"/>
                    <a:pt x="6" y="7"/>
                  </a:cubicBezTo>
                  <a:cubicBezTo>
                    <a:pt x="7" y="7"/>
                    <a:pt x="8" y="5"/>
                    <a:pt x="9" y="4"/>
                  </a:cubicBezTo>
                  <a:cubicBezTo>
                    <a:pt x="11" y="3"/>
                    <a:pt x="12" y="1"/>
                    <a:pt x="14" y="1"/>
                  </a:cubicBezTo>
                  <a:cubicBezTo>
                    <a:pt x="16" y="0"/>
                    <a:pt x="18" y="1"/>
                    <a:pt x="19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6" name="Freeform 236"/>
            <p:cNvSpPr>
              <a:spLocks noChangeAspect="1"/>
            </p:cNvSpPr>
            <p:nvPr/>
          </p:nvSpPr>
          <p:spPr bwMode="auto">
            <a:xfrm>
              <a:off x="4827588" y="3103563"/>
              <a:ext cx="73025" cy="52387"/>
            </a:xfrm>
            <a:custGeom>
              <a:avLst/>
              <a:gdLst>
                <a:gd name="T0" fmla="*/ 73025 w 39"/>
                <a:gd name="T1" fmla="*/ 0 h 28"/>
                <a:gd name="T2" fmla="*/ 63663 w 39"/>
                <a:gd name="T3" fmla="*/ 20581 h 28"/>
                <a:gd name="T4" fmla="*/ 63663 w 39"/>
                <a:gd name="T5" fmla="*/ 31806 h 28"/>
                <a:gd name="T6" fmla="*/ 67408 w 39"/>
                <a:gd name="T7" fmla="*/ 39290 h 28"/>
                <a:gd name="T8" fmla="*/ 63663 w 39"/>
                <a:gd name="T9" fmla="*/ 44903 h 28"/>
                <a:gd name="T10" fmla="*/ 63663 w 39"/>
                <a:gd name="T11" fmla="*/ 52387 h 28"/>
                <a:gd name="T12" fmla="*/ 48683 w 39"/>
                <a:gd name="T13" fmla="*/ 44903 h 28"/>
                <a:gd name="T14" fmla="*/ 39321 w 39"/>
                <a:gd name="T15" fmla="*/ 37419 h 28"/>
                <a:gd name="T16" fmla="*/ 22469 w 39"/>
                <a:gd name="T17" fmla="*/ 29935 h 28"/>
                <a:gd name="T18" fmla="*/ 14979 w 39"/>
                <a:gd name="T19" fmla="*/ 22452 h 28"/>
                <a:gd name="T20" fmla="*/ 1872 w 39"/>
                <a:gd name="T21" fmla="*/ 18710 h 28"/>
                <a:gd name="T22" fmla="*/ 3745 w 39"/>
                <a:gd name="T23" fmla="*/ 7484 h 28"/>
                <a:gd name="T24" fmla="*/ 14979 w 39"/>
                <a:gd name="T25" fmla="*/ 7484 h 28"/>
                <a:gd name="T26" fmla="*/ 24342 w 39"/>
                <a:gd name="T27" fmla="*/ 9355 h 28"/>
                <a:gd name="T28" fmla="*/ 39321 w 39"/>
                <a:gd name="T29" fmla="*/ 9355 h 28"/>
                <a:gd name="T30" fmla="*/ 59918 w 39"/>
                <a:gd name="T31" fmla="*/ 3742 h 28"/>
                <a:gd name="T32" fmla="*/ 73025 w 39"/>
                <a:gd name="T33" fmla="*/ 0 h 2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9"/>
                <a:gd name="T52" fmla="*/ 0 h 28"/>
                <a:gd name="T53" fmla="*/ 39 w 39"/>
                <a:gd name="T54" fmla="*/ 28 h 2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9" h="28">
                  <a:moveTo>
                    <a:pt x="39" y="0"/>
                  </a:moveTo>
                  <a:cubicBezTo>
                    <a:pt x="38" y="3"/>
                    <a:pt x="35" y="7"/>
                    <a:pt x="34" y="11"/>
                  </a:cubicBezTo>
                  <a:cubicBezTo>
                    <a:pt x="33" y="13"/>
                    <a:pt x="34" y="15"/>
                    <a:pt x="34" y="17"/>
                  </a:cubicBezTo>
                  <a:cubicBezTo>
                    <a:pt x="35" y="19"/>
                    <a:pt x="37" y="20"/>
                    <a:pt x="36" y="21"/>
                  </a:cubicBezTo>
                  <a:cubicBezTo>
                    <a:pt x="36" y="23"/>
                    <a:pt x="34" y="23"/>
                    <a:pt x="34" y="24"/>
                  </a:cubicBezTo>
                  <a:cubicBezTo>
                    <a:pt x="33" y="25"/>
                    <a:pt x="35" y="28"/>
                    <a:pt x="34" y="28"/>
                  </a:cubicBezTo>
                  <a:cubicBezTo>
                    <a:pt x="31" y="28"/>
                    <a:pt x="28" y="26"/>
                    <a:pt x="26" y="24"/>
                  </a:cubicBezTo>
                  <a:cubicBezTo>
                    <a:pt x="24" y="23"/>
                    <a:pt x="23" y="21"/>
                    <a:pt x="21" y="20"/>
                  </a:cubicBezTo>
                  <a:cubicBezTo>
                    <a:pt x="18" y="19"/>
                    <a:pt x="15" y="18"/>
                    <a:pt x="12" y="16"/>
                  </a:cubicBezTo>
                  <a:cubicBezTo>
                    <a:pt x="11" y="15"/>
                    <a:pt x="10" y="13"/>
                    <a:pt x="8" y="12"/>
                  </a:cubicBezTo>
                  <a:cubicBezTo>
                    <a:pt x="6" y="11"/>
                    <a:pt x="3" y="12"/>
                    <a:pt x="1" y="10"/>
                  </a:cubicBezTo>
                  <a:cubicBezTo>
                    <a:pt x="0" y="8"/>
                    <a:pt x="1" y="5"/>
                    <a:pt x="2" y="4"/>
                  </a:cubicBezTo>
                  <a:cubicBezTo>
                    <a:pt x="4" y="3"/>
                    <a:pt x="6" y="4"/>
                    <a:pt x="8" y="4"/>
                  </a:cubicBezTo>
                  <a:cubicBezTo>
                    <a:pt x="10" y="3"/>
                    <a:pt x="12" y="5"/>
                    <a:pt x="13" y="5"/>
                  </a:cubicBezTo>
                  <a:cubicBezTo>
                    <a:pt x="16" y="5"/>
                    <a:pt x="19" y="5"/>
                    <a:pt x="21" y="5"/>
                  </a:cubicBezTo>
                  <a:cubicBezTo>
                    <a:pt x="25" y="5"/>
                    <a:pt x="29" y="3"/>
                    <a:pt x="32" y="2"/>
                  </a:cubicBezTo>
                  <a:cubicBezTo>
                    <a:pt x="35" y="2"/>
                    <a:pt x="37" y="0"/>
                    <a:pt x="3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7" name="Freeform 237"/>
            <p:cNvSpPr>
              <a:spLocks noChangeAspect="1"/>
            </p:cNvSpPr>
            <p:nvPr/>
          </p:nvSpPr>
          <p:spPr bwMode="auto">
            <a:xfrm>
              <a:off x="4719638" y="2460625"/>
              <a:ext cx="52387" cy="36513"/>
            </a:xfrm>
            <a:custGeom>
              <a:avLst/>
              <a:gdLst>
                <a:gd name="T0" fmla="*/ 50447 w 27"/>
                <a:gd name="T1" fmla="*/ 1922 h 19"/>
                <a:gd name="T2" fmla="*/ 46566 w 27"/>
                <a:gd name="T3" fmla="*/ 1922 h 19"/>
                <a:gd name="T4" fmla="*/ 36865 w 27"/>
                <a:gd name="T5" fmla="*/ 7687 h 19"/>
                <a:gd name="T6" fmla="*/ 27164 w 27"/>
                <a:gd name="T7" fmla="*/ 19217 h 19"/>
                <a:gd name="T8" fmla="*/ 9701 w 27"/>
                <a:gd name="T9" fmla="*/ 23061 h 19"/>
                <a:gd name="T10" fmla="*/ 0 w 27"/>
                <a:gd name="T11" fmla="*/ 34591 h 19"/>
                <a:gd name="T12" fmla="*/ 5821 w 27"/>
                <a:gd name="T13" fmla="*/ 32670 h 19"/>
                <a:gd name="T14" fmla="*/ 11642 w 27"/>
                <a:gd name="T15" fmla="*/ 26904 h 19"/>
                <a:gd name="T16" fmla="*/ 17462 w 27"/>
                <a:gd name="T17" fmla="*/ 24983 h 19"/>
                <a:gd name="T18" fmla="*/ 36865 w 27"/>
                <a:gd name="T19" fmla="*/ 23061 h 19"/>
                <a:gd name="T20" fmla="*/ 40745 w 27"/>
                <a:gd name="T21" fmla="*/ 23061 h 19"/>
                <a:gd name="T22" fmla="*/ 46566 w 27"/>
                <a:gd name="T23" fmla="*/ 26904 h 19"/>
                <a:gd name="T24" fmla="*/ 52387 w 27"/>
                <a:gd name="T25" fmla="*/ 15374 h 19"/>
                <a:gd name="T26" fmla="*/ 48506 w 27"/>
                <a:gd name="T27" fmla="*/ 7687 h 19"/>
                <a:gd name="T28" fmla="*/ 50447 w 27"/>
                <a:gd name="T29" fmla="*/ 1922 h 1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19"/>
                <a:gd name="T47" fmla="*/ 27 w 27"/>
                <a:gd name="T48" fmla="*/ 19 h 1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19">
                  <a:moveTo>
                    <a:pt x="26" y="1"/>
                  </a:moveTo>
                  <a:cubicBezTo>
                    <a:pt x="26" y="0"/>
                    <a:pt x="24" y="1"/>
                    <a:pt x="24" y="1"/>
                  </a:cubicBezTo>
                  <a:cubicBezTo>
                    <a:pt x="22" y="2"/>
                    <a:pt x="21" y="2"/>
                    <a:pt x="19" y="4"/>
                  </a:cubicBezTo>
                  <a:cubicBezTo>
                    <a:pt x="17" y="5"/>
                    <a:pt x="16" y="9"/>
                    <a:pt x="14" y="10"/>
                  </a:cubicBezTo>
                  <a:cubicBezTo>
                    <a:pt x="11" y="12"/>
                    <a:pt x="7" y="10"/>
                    <a:pt x="5" y="12"/>
                  </a:cubicBezTo>
                  <a:cubicBezTo>
                    <a:pt x="3" y="13"/>
                    <a:pt x="1" y="15"/>
                    <a:pt x="0" y="18"/>
                  </a:cubicBezTo>
                  <a:cubicBezTo>
                    <a:pt x="0" y="19"/>
                    <a:pt x="2" y="18"/>
                    <a:pt x="3" y="17"/>
                  </a:cubicBezTo>
                  <a:cubicBezTo>
                    <a:pt x="4" y="17"/>
                    <a:pt x="5" y="15"/>
                    <a:pt x="6" y="14"/>
                  </a:cubicBezTo>
                  <a:cubicBezTo>
                    <a:pt x="7" y="13"/>
                    <a:pt x="8" y="13"/>
                    <a:pt x="9" y="13"/>
                  </a:cubicBezTo>
                  <a:cubicBezTo>
                    <a:pt x="12" y="12"/>
                    <a:pt x="15" y="12"/>
                    <a:pt x="19" y="12"/>
                  </a:cubicBezTo>
                  <a:cubicBezTo>
                    <a:pt x="20" y="12"/>
                    <a:pt x="20" y="12"/>
                    <a:pt x="21" y="12"/>
                  </a:cubicBezTo>
                  <a:cubicBezTo>
                    <a:pt x="22" y="13"/>
                    <a:pt x="23" y="14"/>
                    <a:pt x="24" y="14"/>
                  </a:cubicBezTo>
                  <a:cubicBezTo>
                    <a:pt x="26" y="12"/>
                    <a:pt x="26" y="10"/>
                    <a:pt x="27" y="8"/>
                  </a:cubicBezTo>
                  <a:cubicBezTo>
                    <a:pt x="27" y="7"/>
                    <a:pt x="25" y="5"/>
                    <a:pt x="25" y="4"/>
                  </a:cubicBezTo>
                  <a:cubicBezTo>
                    <a:pt x="25" y="3"/>
                    <a:pt x="26" y="2"/>
                    <a:pt x="2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8" name="Freeform 238"/>
            <p:cNvSpPr>
              <a:spLocks noChangeAspect="1"/>
            </p:cNvSpPr>
            <p:nvPr/>
          </p:nvSpPr>
          <p:spPr bwMode="auto">
            <a:xfrm>
              <a:off x="4716463" y="2486025"/>
              <a:ext cx="65087" cy="77788"/>
            </a:xfrm>
            <a:custGeom>
              <a:avLst/>
              <a:gdLst>
                <a:gd name="T0" fmla="*/ 28715 w 34"/>
                <a:gd name="T1" fmla="*/ 77788 h 41"/>
                <a:gd name="T2" fmla="*/ 38286 w 34"/>
                <a:gd name="T3" fmla="*/ 75891 h 41"/>
                <a:gd name="T4" fmla="*/ 34458 w 34"/>
                <a:gd name="T5" fmla="*/ 70199 h 41"/>
                <a:gd name="T6" fmla="*/ 36372 w 34"/>
                <a:gd name="T7" fmla="*/ 66404 h 41"/>
                <a:gd name="T8" fmla="*/ 34458 w 34"/>
                <a:gd name="T9" fmla="*/ 55021 h 41"/>
                <a:gd name="T10" fmla="*/ 40201 w 34"/>
                <a:gd name="T11" fmla="*/ 55021 h 41"/>
                <a:gd name="T12" fmla="*/ 38286 w 34"/>
                <a:gd name="T13" fmla="*/ 49329 h 41"/>
                <a:gd name="T14" fmla="*/ 44029 w 34"/>
                <a:gd name="T15" fmla="*/ 43637 h 41"/>
                <a:gd name="T16" fmla="*/ 49772 w 34"/>
                <a:gd name="T17" fmla="*/ 32254 h 41"/>
                <a:gd name="T18" fmla="*/ 59344 w 34"/>
                <a:gd name="T19" fmla="*/ 30356 h 41"/>
                <a:gd name="T20" fmla="*/ 65087 w 34"/>
                <a:gd name="T21" fmla="*/ 20870 h 41"/>
                <a:gd name="T22" fmla="*/ 53601 w 34"/>
                <a:gd name="T23" fmla="*/ 18973 h 41"/>
                <a:gd name="T24" fmla="*/ 47858 w 34"/>
                <a:gd name="T25" fmla="*/ 13281 h 41"/>
                <a:gd name="T26" fmla="*/ 47858 w 34"/>
                <a:gd name="T27" fmla="*/ 3795 h 41"/>
                <a:gd name="T28" fmla="*/ 40201 w 34"/>
                <a:gd name="T29" fmla="*/ 0 h 41"/>
                <a:gd name="T30" fmla="*/ 28715 w 34"/>
                <a:gd name="T31" fmla="*/ 3795 h 41"/>
                <a:gd name="T32" fmla="*/ 26801 w 34"/>
                <a:gd name="T33" fmla="*/ 5692 h 41"/>
                <a:gd name="T34" fmla="*/ 26801 w 34"/>
                <a:gd name="T35" fmla="*/ 17075 h 41"/>
                <a:gd name="T36" fmla="*/ 21058 w 34"/>
                <a:gd name="T37" fmla="*/ 17075 h 41"/>
                <a:gd name="T38" fmla="*/ 21058 w 34"/>
                <a:gd name="T39" fmla="*/ 9486 h 41"/>
                <a:gd name="T40" fmla="*/ 17229 w 34"/>
                <a:gd name="T41" fmla="*/ 11384 h 41"/>
                <a:gd name="T42" fmla="*/ 15315 w 34"/>
                <a:gd name="T43" fmla="*/ 15178 h 41"/>
                <a:gd name="T44" fmla="*/ 15315 w 34"/>
                <a:gd name="T45" fmla="*/ 15178 h 41"/>
                <a:gd name="T46" fmla="*/ 15315 w 34"/>
                <a:gd name="T47" fmla="*/ 20870 h 41"/>
                <a:gd name="T48" fmla="*/ 11486 w 34"/>
                <a:gd name="T49" fmla="*/ 17075 h 41"/>
                <a:gd name="T50" fmla="*/ 1914 w 34"/>
                <a:gd name="T51" fmla="*/ 13281 h 41"/>
                <a:gd name="T52" fmla="*/ 3829 w 34"/>
                <a:gd name="T53" fmla="*/ 22767 h 41"/>
                <a:gd name="T54" fmla="*/ 1914 w 34"/>
                <a:gd name="T55" fmla="*/ 28459 h 41"/>
                <a:gd name="T56" fmla="*/ 3829 w 34"/>
                <a:gd name="T57" fmla="*/ 34151 h 41"/>
                <a:gd name="T58" fmla="*/ 1914 w 34"/>
                <a:gd name="T59" fmla="*/ 43637 h 41"/>
                <a:gd name="T60" fmla="*/ 0 w 34"/>
                <a:gd name="T61" fmla="*/ 51226 h 41"/>
                <a:gd name="T62" fmla="*/ 5743 w 34"/>
                <a:gd name="T63" fmla="*/ 51226 h 41"/>
                <a:gd name="T64" fmla="*/ 11486 w 34"/>
                <a:gd name="T65" fmla="*/ 56918 h 41"/>
                <a:gd name="T66" fmla="*/ 15315 w 34"/>
                <a:gd name="T67" fmla="*/ 64507 h 41"/>
                <a:gd name="T68" fmla="*/ 15315 w 34"/>
                <a:gd name="T69" fmla="*/ 73993 h 41"/>
                <a:gd name="T70" fmla="*/ 22972 w 34"/>
                <a:gd name="T71" fmla="*/ 75891 h 41"/>
                <a:gd name="T72" fmla="*/ 28715 w 34"/>
                <a:gd name="T73" fmla="*/ 77788 h 4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4"/>
                <a:gd name="T112" fmla="*/ 0 h 41"/>
                <a:gd name="T113" fmla="*/ 34 w 34"/>
                <a:gd name="T114" fmla="*/ 41 h 4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4" h="41">
                  <a:moveTo>
                    <a:pt x="15" y="41"/>
                  </a:moveTo>
                  <a:cubicBezTo>
                    <a:pt x="17" y="41"/>
                    <a:pt x="19" y="41"/>
                    <a:pt x="20" y="40"/>
                  </a:cubicBezTo>
                  <a:cubicBezTo>
                    <a:pt x="20" y="39"/>
                    <a:pt x="18" y="38"/>
                    <a:pt x="18" y="37"/>
                  </a:cubicBezTo>
                  <a:cubicBezTo>
                    <a:pt x="18" y="36"/>
                    <a:pt x="19" y="36"/>
                    <a:pt x="19" y="35"/>
                  </a:cubicBezTo>
                  <a:cubicBezTo>
                    <a:pt x="19" y="33"/>
                    <a:pt x="17" y="31"/>
                    <a:pt x="18" y="29"/>
                  </a:cubicBezTo>
                  <a:cubicBezTo>
                    <a:pt x="18" y="28"/>
                    <a:pt x="20" y="30"/>
                    <a:pt x="21" y="29"/>
                  </a:cubicBezTo>
                  <a:cubicBezTo>
                    <a:pt x="21" y="28"/>
                    <a:pt x="19" y="27"/>
                    <a:pt x="20" y="26"/>
                  </a:cubicBezTo>
                  <a:cubicBezTo>
                    <a:pt x="20" y="24"/>
                    <a:pt x="22" y="24"/>
                    <a:pt x="23" y="23"/>
                  </a:cubicBezTo>
                  <a:cubicBezTo>
                    <a:pt x="25" y="21"/>
                    <a:pt x="25" y="19"/>
                    <a:pt x="26" y="17"/>
                  </a:cubicBezTo>
                  <a:cubicBezTo>
                    <a:pt x="27" y="14"/>
                    <a:pt x="29" y="17"/>
                    <a:pt x="31" y="16"/>
                  </a:cubicBezTo>
                  <a:cubicBezTo>
                    <a:pt x="32" y="15"/>
                    <a:pt x="34" y="13"/>
                    <a:pt x="34" y="11"/>
                  </a:cubicBezTo>
                  <a:cubicBezTo>
                    <a:pt x="33" y="9"/>
                    <a:pt x="29" y="11"/>
                    <a:pt x="28" y="10"/>
                  </a:cubicBezTo>
                  <a:cubicBezTo>
                    <a:pt x="27" y="9"/>
                    <a:pt x="26" y="8"/>
                    <a:pt x="25" y="7"/>
                  </a:cubicBezTo>
                  <a:cubicBezTo>
                    <a:pt x="25" y="5"/>
                    <a:pt x="27" y="3"/>
                    <a:pt x="25" y="2"/>
                  </a:cubicBezTo>
                  <a:cubicBezTo>
                    <a:pt x="24" y="1"/>
                    <a:pt x="22" y="0"/>
                    <a:pt x="21" y="0"/>
                  </a:cubicBezTo>
                  <a:cubicBezTo>
                    <a:pt x="19" y="0"/>
                    <a:pt x="17" y="1"/>
                    <a:pt x="15" y="2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3" y="5"/>
                    <a:pt x="15" y="7"/>
                    <a:pt x="14" y="9"/>
                  </a:cubicBezTo>
                  <a:cubicBezTo>
                    <a:pt x="14" y="10"/>
                    <a:pt x="12" y="10"/>
                    <a:pt x="11" y="9"/>
                  </a:cubicBezTo>
                  <a:cubicBezTo>
                    <a:pt x="11" y="8"/>
                    <a:pt x="12" y="6"/>
                    <a:pt x="11" y="5"/>
                  </a:cubicBezTo>
                  <a:cubicBezTo>
                    <a:pt x="11" y="5"/>
                    <a:pt x="10" y="6"/>
                    <a:pt x="9" y="6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9" y="10"/>
                    <a:pt x="8" y="11"/>
                  </a:cubicBezTo>
                  <a:cubicBezTo>
                    <a:pt x="7" y="11"/>
                    <a:pt x="6" y="10"/>
                    <a:pt x="6" y="9"/>
                  </a:cubicBezTo>
                  <a:cubicBezTo>
                    <a:pt x="4" y="8"/>
                    <a:pt x="3" y="8"/>
                    <a:pt x="1" y="7"/>
                  </a:cubicBezTo>
                  <a:cubicBezTo>
                    <a:pt x="0" y="8"/>
                    <a:pt x="2" y="11"/>
                    <a:pt x="2" y="12"/>
                  </a:cubicBezTo>
                  <a:cubicBezTo>
                    <a:pt x="2" y="13"/>
                    <a:pt x="1" y="14"/>
                    <a:pt x="1" y="15"/>
                  </a:cubicBezTo>
                  <a:cubicBezTo>
                    <a:pt x="1" y="16"/>
                    <a:pt x="2" y="16"/>
                    <a:pt x="2" y="18"/>
                  </a:cubicBezTo>
                  <a:cubicBezTo>
                    <a:pt x="2" y="19"/>
                    <a:pt x="2" y="21"/>
                    <a:pt x="1" y="23"/>
                  </a:cubicBezTo>
                  <a:cubicBezTo>
                    <a:pt x="1" y="24"/>
                    <a:pt x="0" y="26"/>
                    <a:pt x="0" y="27"/>
                  </a:cubicBezTo>
                  <a:cubicBezTo>
                    <a:pt x="1" y="28"/>
                    <a:pt x="2" y="27"/>
                    <a:pt x="3" y="27"/>
                  </a:cubicBezTo>
                  <a:cubicBezTo>
                    <a:pt x="4" y="28"/>
                    <a:pt x="5" y="29"/>
                    <a:pt x="6" y="30"/>
                  </a:cubicBezTo>
                  <a:cubicBezTo>
                    <a:pt x="7" y="31"/>
                    <a:pt x="7" y="33"/>
                    <a:pt x="8" y="34"/>
                  </a:cubicBezTo>
                  <a:cubicBezTo>
                    <a:pt x="8" y="36"/>
                    <a:pt x="8" y="38"/>
                    <a:pt x="8" y="39"/>
                  </a:cubicBezTo>
                  <a:cubicBezTo>
                    <a:pt x="9" y="40"/>
                    <a:pt x="10" y="40"/>
                    <a:pt x="12" y="40"/>
                  </a:cubicBezTo>
                  <a:cubicBezTo>
                    <a:pt x="13" y="40"/>
                    <a:pt x="14" y="41"/>
                    <a:pt x="15" y="4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39" name="Freeform 239"/>
            <p:cNvSpPr>
              <a:spLocks noChangeAspect="1"/>
            </p:cNvSpPr>
            <p:nvPr/>
          </p:nvSpPr>
          <p:spPr bwMode="auto">
            <a:xfrm>
              <a:off x="4502150" y="2697163"/>
              <a:ext cx="9525" cy="4762"/>
            </a:xfrm>
            <a:custGeom>
              <a:avLst/>
              <a:gdLst>
                <a:gd name="T0" fmla="*/ 7620 w 5"/>
                <a:gd name="T1" fmla="*/ 3175 h 3"/>
                <a:gd name="T2" fmla="*/ 3810 w 5"/>
                <a:gd name="T3" fmla="*/ 0 h 3"/>
                <a:gd name="T4" fmla="*/ 0 w 5"/>
                <a:gd name="T5" fmla="*/ 3175 h 3"/>
                <a:gd name="T6" fmla="*/ 3810 w 5"/>
                <a:gd name="T7" fmla="*/ 4762 h 3"/>
                <a:gd name="T8" fmla="*/ 7620 w 5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4" y="2"/>
                  </a:moveTo>
                  <a:cubicBezTo>
                    <a:pt x="5" y="1"/>
                    <a:pt x="3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3" y="3"/>
                    <a:pt x="4" y="3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0" name="Freeform 240"/>
            <p:cNvSpPr>
              <a:spLocks noChangeAspect="1"/>
            </p:cNvSpPr>
            <p:nvPr/>
          </p:nvSpPr>
          <p:spPr bwMode="auto">
            <a:xfrm>
              <a:off x="4429125" y="2574925"/>
              <a:ext cx="11113" cy="9525"/>
            </a:xfrm>
            <a:custGeom>
              <a:avLst/>
              <a:gdLst>
                <a:gd name="T0" fmla="*/ 9261 w 6"/>
                <a:gd name="T1" fmla="*/ 1905 h 5"/>
                <a:gd name="T2" fmla="*/ 5557 w 6"/>
                <a:gd name="T3" fmla="*/ 1905 h 5"/>
                <a:gd name="T4" fmla="*/ 1852 w 6"/>
                <a:gd name="T5" fmla="*/ 7620 h 5"/>
                <a:gd name="T6" fmla="*/ 7409 w 6"/>
                <a:gd name="T7" fmla="*/ 7620 h 5"/>
                <a:gd name="T8" fmla="*/ 9261 w 6"/>
                <a:gd name="T9" fmla="*/ 190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5" y="1"/>
                  </a:moveTo>
                  <a:cubicBezTo>
                    <a:pt x="5" y="0"/>
                    <a:pt x="3" y="0"/>
                    <a:pt x="3" y="1"/>
                  </a:cubicBezTo>
                  <a:cubicBezTo>
                    <a:pt x="2" y="2"/>
                    <a:pt x="0" y="3"/>
                    <a:pt x="1" y="4"/>
                  </a:cubicBezTo>
                  <a:cubicBezTo>
                    <a:pt x="1" y="5"/>
                    <a:pt x="3" y="4"/>
                    <a:pt x="4" y="4"/>
                  </a:cubicBezTo>
                  <a:cubicBezTo>
                    <a:pt x="5" y="3"/>
                    <a:pt x="6" y="2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1" name="Freeform 241"/>
            <p:cNvSpPr>
              <a:spLocks noChangeAspect="1"/>
            </p:cNvSpPr>
            <p:nvPr/>
          </p:nvSpPr>
          <p:spPr bwMode="auto">
            <a:xfrm>
              <a:off x="4416425" y="2528888"/>
              <a:ext cx="6350" cy="7937"/>
            </a:xfrm>
            <a:custGeom>
              <a:avLst/>
              <a:gdLst>
                <a:gd name="T0" fmla="*/ 4233 w 3"/>
                <a:gd name="T1" fmla="*/ 7937 h 4"/>
                <a:gd name="T2" fmla="*/ 6350 w 3"/>
                <a:gd name="T3" fmla="*/ 3969 h 4"/>
                <a:gd name="T4" fmla="*/ 2117 w 3"/>
                <a:gd name="T5" fmla="*/ 0 h 4"/>
                <a:gd name="T6" fmla="*/ 0 w 3"/>
                <a:gd name="T7" fmla="*/ 3969 h 4"/>
                <a:gd name="T8" fmla="*/ 4233 w 3"/>
                <a:gd name="T9" fmla="*/ 7937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4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3" y="1"/>
                    <a:pt x="2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1" y="3"/>
                    <a:pt x="1" y="4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2" name="Freeform 242"/>
            <p:cNvSpPr>
              <a:spLocks noChangeAspect="1"/>
            </p:cNvSpPr>
            <p:nvPr/>
          </p:nvSpPr>
          <p:spPr bwMode="auto">
            <a:xfrm>
              <a:off x="4410075" y="2565400"/>
              <a:ext cx="4763" cy="7938"/>
            </a:xfrm>
            <a:custGeom>
              <a:avLst/>
              <a:gdLst>
                <a:gd name="T0" fmla="*/ 3175 w 3"/>
                <a:gd name="T1" fmla="*/ 7938 h 4"/>
                <a:gd name="T2" fmla="*/ 4763 w 3"/>
                <a:gd name="T3" fmla="*/ 3969 h 4"/>
                <a:gd name="T4" fmla="*/ 1588 w 3"/>
                <a:gd name="T5" fmla="*/ 0 h 4"/>
                <a:gd name="T6" fmla="*/ 0 w 3"/>
                <a:gd name="T7" fmla="*/ 3969 h 4"/>
                <a:gd name="T8" fmla="*/ 3175 w 3"/>
                <a:gd name="T9" fmla="*/ 7938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4"/>
                  </a:moveTo>
                  <a:cubicBezTo>
                    <a:pt x="3" y="4"/>
                    <a:pt x="3" y="3"/>
                    <a:pt x="3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2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3" name="Freeform 243"/>
            <p:cNvSpPr>
              <a:spLocks noChangeAspect="1"/>
            </p:cNvSpPr>
            <p:nvPr/>
          </p:nvSpPr>
          <p:spPr bwMode="auto">
            <a:xfrm>
              <a:off x="4432300" y="2609850"/>
              <a:ext cx="9525" cy="4763"/>
            </a:xfrm>
            <a:custGeom>
              <a:avLst/>
              <a:gdLst>
                <a:gd name="T0" fmla="*/ 9525 w 5"/>
                <a:gd name="T1" fmla="*/ 1588 h 3"/>
                <a:gd name="T2" fmla="*/ 5715 w 5"/>
                <a:gd name="T3" fmla="*/ 0 h 3"/>
                <a:gd name="T4" fmla="*/ 0 w 5"/>
                <a:gd name="T5" fmla="*/ 1588 h 3"/>
                <a:gd name="T6" fmla="*/ 3810 w 5"/>
                <a:gd name="T7" fmla="*/ 4763 h 3"/>
                <a:gd name="T8" fmla="*/ 9525 w 5"/>
                <a:gd name="T9" fmla="*/ 1588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1"/>
                  </a:move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4" y="3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4" name="Freeform 244"/>
            <p:cNvSpPr>
              <a:spLocks noChangeAspect="1"/>
            </p:cNvSpPr>
            <p:nvPr/>
          </p:nvSpPr>
          <p:spPr bwMode="auto">
            <a:xfrm>
              <a:off x="4776788" y="2476500"/>
              <a:ext cx="6350" cy="4763"/>
            </a:xfrm>
            <a:custGeom>
              <a:avLst/>
              <a:gdLst>
                <a:gd name="T0" fmla="*/ 6350 w 3"/>
                <a:gd name="T1" fmla="*/ 0 h 3"/>
                <a:gd name="T2" fmla="*/ 2117 w 3"/>
                <a:gd name="T3" fmla="*/ 0 h 3"/>
                <a:gd name="T4" fmla="*/ 0 w 3"/>
                <a:gd name="T5" fmla="*/ 3175 h 3"/>
                <a:gd name="T6" fmla="*/ 4233 w 3"/>
                <a:gd name="T7" fmla="*/ 3175 h 3"/>
                <a:gd name="T8" fmla="*/ 635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cubicBezTo>
                    <a:pt x="3" y="0"/>
                    <a:pt x="2" y="0"/>
                    <a:pt x="1" y="0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3" y="2"/>
                    <a:pt x="3" y="1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5" name="Freeform 245"/>
            <p:cNvSpPr>
              <a:spLocks noChangeAspect="1"/>
            </p:cNvSpPr>
            <p:nvPr/>
          </p:nvSpPr>
          <p:spPr bwMode="auto">
            <a:xfrm>
              <a:off x="4754563" y="2555875"/>
              <a:ext cx="6350" cy="6350"/>
            </a:xfrm>
            <a:custGeom>
              <a:avLst/>
              <a:gdLst>
                <a:gd name="T0" fmla="*/ 6350 w 3"/>
                <a:gd name="T1" fmla="*/ 6350 h 3"/>
                <a:gd name="T2" fmla="*/ 4233 w 3"/>
                <a:gd name="T3" fmla="*/ 2117 h 3"/>
                <a:gd name="T4" fmla="*/ 0 w 3"/>
                <a:gd name="T5" fmla="*/ 2117 h 3"/>
                <a:gd name="T6" fmla="*/ 2117 w 3"/>
                <a:gd name="T7" fmla="*/ 4233 h 3"/>
                <a:gd name="T8" fmla="*/ 6350 w 3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1" y="0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3"/>
                    <a:pt x="3" y="3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6" name="Freeform 246"/>
            <p:cNvSpPr>
              <a:spLocks noChangeAspect="1"/>
            </p:cNvSpPr>
            <p:nvPr/>
          </p:nvSpPr>
          <p:spPr bwMode="auto">
            <a:xfrm>
              <a:off x="4765675" y="2559050"/>
              <a:ext cx="6350" cy="6350"/>
            </a:xfrm>
            <a:custGeom>
              <a:avLst/>
              <a:gdLst>
                <a:gd name="T0" fmla="*/ 6350 w 3"/>
                <a:gd name="T1" fmla="*/ 4233 h 3"/>
                <a:gd name="T2" fmla="*/ 4233 w 3"/>
                <a:gd name="T3" fmla="*/ 2117 h 3"/>
                <a:gd name="T4" fmla="*/ 0 w 3"/>
                <a:gd name="T5" fmla="*/ 0 h 3"/>
                <a:gd name="T6" fmla="*/ 2117 w 3"/>
                <a:gd name="T7" fmla="*/ 4233 h 3"/>
                <a:gd name="T8" fmla="*/ 6350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3" y="1"/>
                    <a:pt x="2" y="1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2" y="3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7" name="Freeform 247"/>
            <p:cNvSpPr>
              <a:spLocks noChangeAspect="1"/>
            </p:cNvSpPr>
            <p:nvPr/>
          </p:nvSpPr>
          <p:spPr bwMode="auto">
            <a:xfrm>
              <a:off x="4722813" y="2555875"/>
              <a:ext cx="1587" cy="7938"/>
            </a:xfrm>
            <a:custGeom>
              <a:avLst/>
              <a:gdLst>
                <a:gd name="T0" fmla="*/ 1587 w 1"/>
                <a:gd name="T1" fmla="*/ 7938 h 4"/>
                <a:gd name="T2" fmla="*/ 1587 w 1"/>
                <a:gd name="T3" fmla="*/ 3969 h 4"/>
                <a:gd name="T4" fmla="*/ 1587 w 1"/>
                <a:gd name="T5" fmla="*/ 0 h 4"/>
                <a:gd name="T6" fmla="*/ 0 w 1"/>
                <a:gd name="T7" fmla="*/ 3969 h 4"/>
                <a:gd name="T8" fmla="*/ 1587 w 1"/>
                <a:gd name="T9" fmla="*/ 7938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4"/>
                <a:gd name="T17" fmla="*/ 1 w 1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4">
                  <a:moveTo>
                    <a:pt x="1" y="4"/>
                  </a:moveTo>
                  <a:cubicBezTo>
                    <a:pt x="1" y="4"/>
                    <a:pt x="1" y="3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3"/>
                    <a:pt x="1" y="4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8" name="Freeform 248"/>
            <p:cNvSpPr>
              <a:spLocks noChangeAspect="1"/>
            </p:cNvSpPr>
            <p:nvPr/>
          </p:nvSpPr>
          <p:spPr bwMode="auto">
            <a:xfrm>
              <a:off x="4722813" y="2543175"/>
              <a:ext cx="3175" cy="3175"/>
            </a:xfrm>
            <a:custGeom>
              <a:avLst/>
              <a:gdLst>
                <a:gd name="T0" fmla="*/ 3175 w 2"/>
                <a:gd name="T1" fmla="*/ 3175 h 2"/>
                <a:gd name="T2" fmla="*/ 3175 w 2"/>
                <a:gd name="T3" fmla="*/ 0 h 2"/>
                <a:gd name="T4" fmla="*/ 0 w 2"/>
                <a:gd name="T5" fmla="*/ 0 h 2"/>
                <a:gd name="T6" fmla="*/ 1588 w 2"/>
                <a:gd name="T7" fmla="*/ 1588 h 2"/>
                <a:gd name="T8" fmla="*/ 3175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2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49" name="Freeform 249"/>
            <p:cNvSpPr>
              <a:spLocks noChangeAspect="1"/>
            </p:cNvSpPr>
            <p:nvPr/>
          </p:nvSpPr>
          <p:spPr bwMode="auto">
            <a:xfrm>
              <a:off x="4724400" y="2565400"/>
              <a:ext cx="3175" cy="3175"/>
            </a:xfrm>
            <a:custGeom>
              <a:avLst/>
              <a:gdLst>
                <a:gd name="T0" fmla="*/ 3175 w 2"/>
                <a:gd name="T1" fmla="*/ 3175 h 2"/>
                <a:gd name="T2" fmla="*/ 3175 w 2"/>
                <a:gd name="T3" fmla="*/ 1588 h 2"/>
                <a:gd name="T4" fmla="*/ 1588 w 2"/>
                <a:gd name="T5" fmla="*/ 0 h 2"/>
                <a:gd name="T6" fmla="*/ 1588 w 2"/>
                <a:gd name="T7" fmla="*/ 1588 h 2"/>
                <a:gd name="T8" fmla="*/ 3175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2"/>
                  </a:moveTo>
                  <a:cubicBezTo>
                    <a:pt x="2" y="2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1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0" name="Freeform 250"/>
            <p:cNvSpPr>
              <a:spLocks noChangeAspect="1"/>
            </p:cNvSpPr>
            <p:nvPr/>
          </p:nvSpPr>
          <p:spPr bwMode="auto">
            <a:xfrm>
              <a:off x="4725988" y="2573338"/>
              <a:ext cx="6350" cy="1587"/>
            </a:xfrm>
            <a:custGeom>
              <a:avLst/>
              <a:gdLst>
                <a:gd name="T0" fmla="*/ 6350 w 3"/>
                <a:gd name="T1" fmla="*/ 1587 h 1"/>
                <a:gd name="T2" fmla="*/ 4233 w 3"/>
                <a:gd name="T3" fmla="*/ 0 h 1"/>
                <a:gd name="T4" fmla="*/ 0 w 3"/>
                <a:gd name="T5" fmla="*/ 1587 h 1"/>
                <a:gd name="T6" fmla="*/ 4233 w 3"/>
                <a:gd name="T7" fmla="*/ 1587 h 1"/>
                <a:gd name="T8" fmla="*/ 6350 w 3"/>
                <a:gd name="T9" fmla="*/ 1587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3" y="1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1" name="Freeform 251"/>
            <p:cNvSpPr>
              <a:spLocks noChangeAspect="1"/>
            </p:cNvSpPr>
            <p:nvPr/>
          </p:nvSpPr>
          <p:spPr bwMode="auto">
            <a:xfrm>
              <a:off x="4810125" y="2557463"/>
              <a:ext cx="4763" cy="4762"/>
            </a:xfrm>
            <a:custGeom>
              <a:avLst/>
              <a:gdLst>
                <a:gd name="T0" fmla="*/ 4763 w 3"/>
                <a:gd name="T1" fmla="*/ 2381 h 2"/>
                <a:gd name="T2" fmla="*/ 3175 w 3"/>
                <a:gd name="T3" fmla="*/ 0 h 2"/>
                <a:gd name="T4" fmla="*/ 0 w 3"/>
                <a:gd name="T5" fmla="*/ 2381 h 2"/>
                <a:gd name="T6" fmla="*/ 3175 w 3"/>
                <a:gd name="T7" fmla="*/ 4762 h 2"/>
                <a:gd name="T8" fmla="*/ 4763 w 3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1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2"/>
                    <a:pt x="1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2" name="Oval 252"/>
            <p:cNvSpPr>
              <a:spLocks noChangeAspect="1" noChangeArrowheads="1"/>
            </p:cNvSpPr>
            <p:nvPr/>
          </p:nvSpPr>
          <p:spPr bwMode="auto">
            <a:xfrm>
              <a:off x="4772025" y="2524125"/>
              <a:ext cx="3175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3" name="Freeform 253"/>
            <p:cNvSpPr>
              <a:spLocks noChangeAspect="1"/>
            </p:cNvSpPr>
            <p:nvPr/>
          </p:nvSpPr>
          <p:spPr bwMode="auto">
            <a:xfrm>
              <a:off x="4868863" y="2549525"/>
              <a:ext cx="7937" cy="7938"/>
            </a:xfrm>
            <a:custGeom>
              <a:avLst/>
              <a:gdLst>
                <a:gd name="T0" fmla="*/ 0 w 4"/>
                <a:gd name="T1" fmla="*/ 1985 h 4"/>
                <a:gd name="T2" fmla="*/ 1984 w 4"/>
                <a:gd name="T3" fmla="*/ 5953 h 4"/>
                <a:gd name="T4" fmla="*/ 5953 w 4"/>
                <a:gd name="T5" fmla="*/ 7938 h 4"/>
                <a:gd name="T6" fmla="*/ 5953 w 4"/>
                <a:gd name="T7" fmla="*/ 3969 h 4"/>
                <a:gd name="T8" fmla="*/ 0 w 4"/>
                <a:gd name="T9" fmla="*/ 198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0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4" y="4"/>
                    <a:pt x="3" y="3"/>
                    <a:pt x="3" y="2"/>
                  </a:cubicBezTo>
                  <a:cubicBezTo>
                    <a:pt x="2" y="1"/>
                    <a:pt x="1" y="0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4" name="Freeform 254"/>
            <p:cNvSpPr>
              <a:spLocks noChangeAspect="1"/>
            </p:cNvSpPr>
            <p:nvPr/>
          </p:nvSpPr>
          <p:spPr bwMode="auto">
            <a:xfrm>
              <a:off x="4727575" y="2490788"/>
              <a:ext cx="6350" cy="7937"/>
            </a:xfrm>
            <a:custGeom>
              <a:avLst/>
              <a:gdLst>
                <a:gd name="T0" fmla="*/ 4233 w 3"/>
                <a:gd name="T1" fmla="*/ 0 h 4"/>
                <a:gd name="T2" fmla="*/ 2117 w 3"/>
                <a:gd name="T3" fmla="*/ 1984 h 4"/>
                <a:gd name="T4" fmla="*/ 0 w 3"/>
                <a:gd name="T5" fmla="*/ 5953 h 4"/>
                <a:gd name="T6" fmla="*/ 4233 w 3"/>
                <a:gd name="T7" fmla="*/ 3969 h 4"/>
                <a:gd name="T8" fmla="*/ 4233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2" y="2"/>
                    <a:pt x="3" y="1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5" name="Freeform 255"/>
            <p:cNvSpPr>
              <a:spLocks noChangeAspect="1"/>
            </p:cNvSpPr>
            <p:nvPr/>
          </p:nvSpPr>
          <p:spPr bwMode="auto">
            <a:xfrm>
              <a:off x="4756150" y="2536825"/>
              <a:ext cx="20638" cy="20638"/>
            </a:xfrm>
            <a:custGeom>
              <a:avLst/>
              <a:gdLst>
                <a:gd name="T0" fmla="*/ 9381 w 11"/>
                <a:gd name="T1" fmla="*/ 0 h 11"/>
                <a:gd name="T2" fmla="*/ 16886 w 11"/>
                <a:gd name="T3" fmla="*/ 3752 h 11"/>
                <a:gd name="T4" fmla="*/ 20638 w 11"/>
                <a:gd name="T5" fmla="*/ 13133 h 11"/>
                <a:gd name="T6" fmla="*/ 16886 w 11"/>
                <a:gd name="T7" fmla="*/ 20638 h 11"/>
                <a:gd name="T8" fmla="*/ 5629 w 11"/>
                <a:gd name="T9" fmla="*/ 15009 h 11"/>
                <a:gd name="T10" fmla="*/ 0 w 11"/>
                <a:gd name="T11" fmla="*/ 9381 h 11"/>
                <a:gd name="T12" fmla="*/ 3752 w 11"/>
                <a:gd name="T13" fmla="*/ 1876 h 11"/>
                <a:gd name="T14" fmla="*/ 9381 w 11"/>
                <a:gd name="T15" fmla="*/ 0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1"/>
                <a:gd name="T26" fmla="*/ 11 w 11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1">
                  <a:moveTo>
                    <a:pt x="5" y="0"/>
                  </a:moveTo>
                  <a:cubicBezTo>
                    <a:pt x="7" y="0"/>
                    <a:pt x="8" y="1"/>
                    <a:pt x="9" y="2"/>
                  </a:cubicBezTo>
                  <a:cubicBezTo>
                    <a:pt x="10" y="3"/>
                    <a:pt x="11" y="5"/>
                    <a:pt x="11" y="7"/>
                  </a:cubicBezTo>
                  <a:cubicBezTo>
                    <a:pt x="11" y="9"/>
                    <a:pt x="10" y="10"/>
                    <a:pt x="9" y="11"/>
                  </a:cubicBezTo>
                  <a:cubicBezTo>
                    <a:pt x="7" y="11"/>
                    <a:pt x="5" y="9"/>
                    <a:pt x="3" y="8"/>
                  </a:cubicBezTo>
                  <a:cubicBezTo>
                    <a:pt x="2" y="7"/>
                    <a:pt x="1" y="6"/>
                    <a:pt x="0" y="5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6" name="Freeform 256"/>
            <p:cNvSpPr>
              <a:spLocks noChangeAspect="1"/>
            </p:cNvSpPr>
            <p:nvPr/>
          </p:nvSpPr>
          <p:spPr bwMode="auto">
            <a:xfrm>
              <a:off x="4779963" y="2517775"/>
              <a:ext cx="38100" cy="44450"/>
            </a:xfrm>
            <a:custGeom>
              <a:avLst/>
              <a:gdLst>
                <a:gd name="T0" fmla="*/ 22860 w 20"/>
                <a:gd name="T1" fmla="*/ 5798 h 23"/>
                <a:gd name="T2" fmla="*/ 32385 w 20"/>
                <a:gd name="T3" fmla="*/ 0 h 23"/>
                <a:gd name="T4" fmla="*/ 38100 w 20"/>
                <a:gd name="T5" fmla="*/ 5798 h 23"/>
                <a:gd name="T6" fmla="*/ 34290 w 20"/>
                <a:gd name="T7" fmla="*/ 21259 h 23"/>
                <a:gd name="T8" fmla="*/ 30480 w 20"/>
                <a:gd name="T9" fmla="*/ 25124 h 23"/>
                <a:gd name="T10" fmla="*/ 34290 w 20"/>
                <a:gd name="T11" fmla="*/ 30922 h 23"/>
                <a:gd name="T12" fmla="*/ 28575 w 20"/>
                <a:gd name="T13" fmla="*/ 32854 h 23"/>
                <a:gd name="T14" fmla="*/ 28575 w 20"/>
                <a:gd name="T15" fmla="*/ 42517 h 23"/>
                <a:gd name="T16" fmla="*/ 19050 w 20"/>
                <a:gd name="T17" fmla="*/ 36720 h 23"/>
                <a:gd name="T18" fmla="*/ 13335 w 20"/>
                <a:gd name="T19" fmla="*/ 34787 h 23"/>
                <a:gd name="T20" fmla="*/ 5715 w 20"/>
                <a:gd name="T21" fmla="*/ 28989 h 23"/>
                <a:gd name="T22" fmla="*/ 5715 w 20"/>
                <a:gd name="T23" fmla="*/ 21259 h 23"/>
                <a:gd name="T24" fmla="*/ 1905 w 20"/>
                <a:gd name="T25" fmla="*/ 15461 h 23"/>
                <a:gd name="T26" fmla="*/ 11430 w 20"/>
                <a:gd name="T27" fmla="*/ 13528 h 23"/>
                <a:gd name="T28" fmla="*/ 13335 w 20"/>
                <a:gd name="T29" fmla="*/ 7730 h 23"/>
                <a:gd name="T30" fmla="*/ 19050 w 20"/>
                <a:gd name="T31" fmla="*/ 11596 h 23"/>
                <a:gd name="T32" fmla="*/ 19050 w 20"/>
                <a:gd name="T33" fmla="*/ 15461 h 23"/>
                <a:gd name="T34" fmla="*/ 26670 w 20"/>
                <a:gd name="T35" fmla="*/ 17393 h 23"/>
                <a:gd name="T36" fmla="*/ 26670 w 20"/>
                <a:gd name="T37" fmla="*/ 9663 h 23"/>
                <a:gd name="T38" fmla="*/ 22860 w 20"/>
                <a:gd name="T39" fmla="*/ 5798 h 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23"/>
                <a:gd name="T62" fmla="*/ 20 w 20"/>
                <a:gd name="T63" fmla="*/ 23 h 2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23">
                  <a:moveTo>
                    <a:pt x="12" y="3"/>
                  </a:moveTo>
                  <a:cubicBezTo>
                    <a:pt x="13" y="1"/>
                    <a:pt x="15" y="0"/>
                    <a:pt x="17" y="0"/>
                  </a:cubicBezTo>
                  <a:cubicBezTo>
                    <a:pt x="18" y="0"/>
                    <a:pt x="20" y="2"/>
                    <a:pt x="20" y="3"/>
                  </a:cubicBezTo>
                  <a:cubicBezTo>
                    <a:pt x="20" y="6"/>
                    <a:pt x="19" y="8"/>
                    <a:pt x="18" y="11"/>
                  </a:cubicBezTo>
                  <a:cubicBezTo>
                    <a:pt x="18" y="12"/>
                    <a:pt x="16" y="12"/>
                    <a:pt x="16" y="13"/>
                  </a:cubicBezTo>
                  <a:cubicBezTo>
                    <a:pt x="16" y="14"/>
                    <a:pt x="19" y="15"/>
                    <a:pt x="18" y="16"/>
                  </a:cubicBezTo>
                  <a:cubicBezTo>
                    <a:pt x="18" y="18"/>
                    <a:pt x="15" y="16"/>
                    <a:pt x="15" y="17"/>
                  </a:cubicBezTo>
                  <a:cubicBezTo>
                    <a:pt x="14" y="19"/>
                    <a:pt x="16" y="22"/>
                    <a:pt x="15" y="22"/>
                  </a:cubicBezTo>
                  <a:cubicBezTo>
                    <a:pt x="13" y="23"/>
                    <a:pt x="12" y="20"/>
                    <a:pt x="10" y="19"/>
                  </a:cubicBezTo>
                  <a:cubicBezTo>
                    <a:pt x="9" y="19"/>
                    <a:pt x="8" y="18"/>
                    <a:pt x="7" y="18"/>
                  </a:cubicBezTo>
                  <a:cubicBezTo>
                    <a:pt x="6" y="17"/>
                    <a:pt x="4" y="16"/>
                    <a:pt x="3" y="15"/>
                  </a:cubicBezTo>
                  <a:cubicBezTo>
                    <a:pt x="2" y="13"/>
                    <a:pt x="3" y="12"/>
                    <a:pt x="3" y="11"/>
                  </a:cubicBezTo>
                  <a:cubicBezTo>
                    <a:pt x="3" y="10"/>
                    <a:pt x="0" y="9"/>
                    <a:pt x="1" y="8"/>
                  </a:cubicBezTo>
                  <a:cubicBezTo>
                    <a:pt x="2" y="6"/>
                    <a:pt x="4" y="8"/>
                    <a:pt x="6" y="7"/>
                  </a:cubicBezTo>
                  <a:cubicBezTo>
                    <a:pt x="7" y="7"/>
                    <a:pt x="6" y="4"/>
                    <a:pt x="7" y="4"/>
                  </a:cubicBezTo>
                  <a:cubicBezTo>
                    <a:pt x="8" y="4"/>
                    <a:pt x="9" y="5"/>
                    <a:pt x="10" y="6"/>
                  </a:cubicBezTo>
                  <a:cubicBezTo>
                    <a:pt x="10" y="6"/>
                    <a:pt x="10" y="8"/>
                    <a:pt x="10" y="8"/>
                  </a:cubicBezTo>
                  <a:cubicBezTo>
                    <a:pt x="11" y="9"/>
                    <a:pt x="13" y="10"/>
                    <a:pt x="14" y="9"/>
                  </a:cubicBezTo>
                  <a:cubicBezTo>
                    <a:pt x="15" y="8"/>
                    <a:pt x="14" y="6"/>
                    <a:pt x="14" y="5"/>
                  </a:cubicBezTo>
                  <a:cubicBezTo>
                    <a:pt x="14" y="4"/>
                    <a:pt x="12" y="3"/>
                    <a:pt x="1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7" name="Freeform 257"/>
            <p:cNvSpPr>
              <a:spLocks noChangeAspect="1"/>
            </p:cNvSpPr>
            <p:nvPr/>
          </p:nvSpPr>
          <p:spPr bwMode="auto">
            <a:xfrm>
              <a:off x="4799013" y="2562225"/>
              <a:ext cx="9525" cy="11113"/>
            </a:xfrm>
            <a:custGeom>
              <a:avLst/>
              <a:gdLst>
                <a:gd name="T0" fmla="*/ 9525 w 5"/>
                <a:gd name="T1" fmla="*/ 1852 h 6"/>
                <a:gd name="T2" fmla="*/ 1905 w 5"/>
                <a:gd name="T3" fmla="*/ 0 h 6"/>
                <a:gd name="T4" fmla="*/ 3810 w 5"/>
                <a:gd name="T5" fmla="*/ 5557 h 6"/>
                <a:gd name="T6" fmla="*/ 5715 w 5"/>
                <a:gd name="T7" fmla="*/ 11113 h 6"/>
                <a:gd name="T8" fmla="*/ 9525 w 5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5" y="1"/>
                  </a:moveTo>
                  <a:cubicBezTo>
                    <a:pt x="4" y="1"/>
                    <a:pt x="1" y="0"/>
                    <a:pt x="1" y="0"/>
                  </a:cubicBezTo>
                  <a:cubicBezTo>
                    <a:pt x="0" y="0"/>
                    <a:pt x="2" y="2"/>
                    <a:pt x="2" y="3"/>
                  </a:cubicBezTo>
                  <a:cubicBezTo>
                    <a:pt x="2" y="4"/>
                    <a:pt x="2" y="6"/>
                    <a:pt x="3" y="6"/>
                  </a:cubicBezTo>
                  <a:cubicBezTo>
                    <a:pt x="4" y="5"/>
                    <a:pt x="4" y="2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8" name="Freeform 258"/>
            <p:cNvSpPr>
              <a:spLocks noChangeAspect="1"/>
            </p:cNvSpPr>
            <p:nvPr/>
          </p:nvSpPr>
          <p:spPr bwMode="auto">
            <a:xfrm>
              <a:off x="4783138" y="2559050"/>
              <a:ext cx="17462" cy="12700"/>
            </a:xfrm>
            <a:custGeom>
              <a:avLst/>
              <a:gdLst>
                <a:gd name="T0" fmla="*/ 3880 w 9"/>
                <a:gd name="T1" fmla="*/ 0 h 6"/>
                <a:gd name="T2" fmla="*/ 13582 w 9"/>
                <a:gd name="T3" fmla="*/ 6350 h 6"/>
                <a:gd name="T4" fmla="*/ 17462 w 9"/>
                <a:gd name="T5" fmla="*/ 12700 h 6"/>
                <a:gd name="T6" fmla="*/ 5821 w 9"/>
                <a:gd name="T7" fmla="*/ 10583 h 6"/>
                <a:gd name="T8" fmla="*/ 0 w 9"/>
                <a:gd name="T9" fmla="*/ 6350 h 6"/>
                <a:gd name="T10" fmla="*/ 0 w 9"/>
                <a:gd name="T11" fmla="*/ 2117 h 6"/>
                <a:gd name="T12" fmla="*/ 3880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2" y="0"/>
                  </a:moveTo>
                  <a:cubicBezTo>
                    <a:pt x="4" y="0"/>
                    <a:pt x="5" y="2"/>
                    <a:pt x="7" y="3"/>
                  </a:cubicBezTo>
                  <a:cubicBezTo>
                    <a:pt x="8" y="4"/>
                    <a:pt x="9" y="5"/>
                    <a:pt x="9" y="6"/>
                  </a:cubicBezTo>
                  <a:cubicBezTo>
                    <a:pt x="7" y="6"/>
                    <a:pt x="5" y="5"/>
                    <a:pt x="3" y="5"/>
                  </a:cubicBezTo>
                  <a:cubicBezTo>
                    <a:pt x="2" y="4"/>
                    <a:pt x="1" y="4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59" name="Freeform 259"/>
            <p:cNvSpPr>
              <a:spLocks noChangeAspect="1"/>
            </p:cNvSpPr>
            <p:nvPr/>
          </p:nvSpPr>
          <p:spPr bwMode="auto">
            <a:xfrm>
              <a:off x="4775200" y="2555875"/>
              <a:ext cx="4763" cy="12700"/>
            </a:xfrm>
            <a:custGeom>
              <a:avLst/>
              <a:gdLst>
                <a:gd name="T0" fmla="*/ 4763 w 2"/>
                <a:gd name="T1" fmla="*/ 0 h 7"/>
                <a:gd name="T2" fmla="*/ 0 w 2"/>
                <a:gd name="T3" fmla="*/ 12700 h 7"/>
                <a:gd name="T4" fmla="*/ 0 w 2"/>
                <a:gd name="T5" fmla="*/ 5443 h 7"/>
                <a:gd name="T6" fmla="*/ 4763 w 2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7"/>
                <a:gd name="T14" fmla="*/ 2 w 2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7">
                  <a:moveTo>
                    <a:pt x="2" y="0"/>
                  </a:moveTo>
                  <a:cubicBezTo>
                    <a:pt x="2" y="3"/>
                    <a:pt x="2" y="5"/>
                    <a:pt x="0" y="7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0" name="Freeform 260"/>
            <p:cNvSpPr>
              <a:spLocks noChangeAspect="1"/>
            </p:cNvSpPr>
            <p:nvPr/>
          </p:nvSpPr>
          <p:spPr bwMode="auto">
            <a:xfrm>
              <a:off x="4830763" y="2568575"/>
              <a:ext cx="12700" cy="15875"/>
            </a:xfrm>
            <a:custGeom>
              <a:avLst/>
              <a:gdLst>
                <a:gd name="T0" fmla="*/ 5443 w 7"/>
                <a:gd name="T1" fmla="*/ 1984 h 8"/>
                <a:gd name="T2" fmla="*/ 10886 w 7"/>
                <a:gd name="T3" fmla="*/ 5953 h 8"/>
                <a:gd name="T4" fmla="*/ 9071 w 7"/>
                <a:gd name="T5" fmla="*/ 13891 h 8"/>
                <a:gd name="T6" fmla="*/ 1814 w 7"/>
                <a:gd name="T7" fmla="*/ 9922 h 8"/>
                <a:gd name="T8" fmla="*/ 1814 w 7"/>
                <a:gd name="T9" fmla="*/ 3969 h 8"/>
                <a:gd name="T10" fmla="*/ 5443 w 7"/>
                <a:gd name="T11" fmla="*/ 198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8"/>
                <a:gd name="T20" fmla="*/ 7 w 7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8">
                  <a:moveTo>
                    <a:pt x="3" y="1"/>
                  </a:moveTo>
                  <a:cubicBezTo>
                    <a:pt x="4" y="1"/>
                    <a:pt x="6" y="1"/>
                    <a:pt x="6" y="3"/>
                  </a:cubicBezTo>
                  <a:cubicBezTo>
                    <a:pt x="7" y="4"/>
                    <a:pt x="7" y="7"/>
                    <a:pt x="5" y="7"/>
                  </a:cubicBezTo>
                  <a:cubicBezTo>
                    <a:pt x="4" y="8"/>
                    <a:pt x="2" y="6"/>
                    <a:pt x="1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1" name="Freeform 261"/>
            <p:cNvSpPr>
              <a:spLocks noChangeAspect="1"/>
            </p:cNvSpPr>
            <p:nvPr/>
          </p:nvSpPr>
          <p:spPr bwMode="auto">
            <a:xfrm>
              <a:off x="4403725" y="2425700"/>
              <a:ext cx="171450" cy="301625"/>
            </a:xfrm>
            <a:custGeom>
              <a:avLst/>
              <a:gdLst>
                <a:gd name="T0" fmla="*/ 167640 w 90"/>
                <a:gd name="T1" fmla="*/ 253900 h 158"/>
                <a:gd name="T2" fmla="*/ 125730 w 90"/>
                <a:gd name="T3" fmla="*/ 269172 h 158"/>
                <a:gd name="T4" fmla="*/ 87630 w 90"/>
                <a:gd name="T5" fmla="*/ 272990 h 158"/>
                <a:gd name="T6" fmla="*/ 55245 w 90"/>
                <a:gd name="T7" fmla="*/ 276808 h 158"/>
                <a:gd name="T8" fmla="*/ 20955 w 90"/>
                <a:gd name="T9" fmla="*/ 292080 h 158"/>
                <a:gd name="T10" fmla="*/ 0 w 90"/>
                <a:gd name="T11" fmla="*/ 297807 h 158"/>
                <a:gd name="T12" fmla="*/ 30480 w 90"/>
                <a:gd name="T13" fmla="*/ 263445 h 158"/>
                <a:gd name="T14" fmla="*/ 62865 w 90"/>
                <a:gd name="T15" fmla="*/ 255809 h 158"/>
                <a:gd name="T16" fmla="*/ 57150 w 90"/>
                <a:gd name="T17" fmla="*/ 251991 h 158"/>
                <a:gd name="T18" fmla="*/ 34290 w 90"/>
                <a:gd name="T19" fmla="*/ 240536 h 158"/>
                <a:gd name="T20" fmla="*/ 30480 w 90"/>
                <a:gd name="T21" fmla="*/ 225264 h 158"/>
                <a:gd name="T22" fmla="*/ 28575 w 90"/>
                <a:gd name="T23" fmla="*/ 202356 h 158"/>
                <a:gd name="T24" fmla="*/ 57150 w 90"/>
                <a:gd name="T25" fmla="*/ 185175 h 158"/>
                <a:gd name="T26" fmla="*/ 68580 w 90"/>
                <a:gd name="T27" fmla="*/ 169903 h 158"/>
                <a:gd name="T28" fmla="*/ 62865 w 90"/>
                <a:gd name="T29" fmla="*/ 158449 h 158"/>
                <a:gd name="T30" fmla="*/ 60960 w 90"/>
                <a:gd name="T31" fmla="*/ 129813 h 158"/>
                <a:gd name="T32" fmla="*/ 30480 w 90"/>
                <a:gd name="T33" fmla="*/ 133631 h 158"/>
                <a:gd name="T34" fmla="*/ 26670 w 90"/>
                <a:gd name="T35" fmla="*/ 114541 h 158"/>
                <a:gd name="T36" fmla="*/ 22860 w 90"/>
                <a:gd name="T37" fmla="*/ 97360 h 158"/>
                <a:gd name="T38" fmla="*/ 11430 w 90"/>
                <a:gd name="T39" fmla="*/ 99269 h 158"/>
                <a:gd name="T40" fmla="*/ 13335 w 90"/>
                <a:gd name="T41" fmla="*/ 78270 h 158"/>
                <a:gd name="T42" fmla="*/ 0 w 90"/>
                <a:gd name="T43" fmla="*/ 70634 h 158"/>
                <a:gd name="T44" fmla="*/ 9525 w 90"/>
                <a:gd name="T45" fmla="*/ 59180 h 158"/>
                <a:gd name="T46" fmla="*/ 7620 w 90"/>
                <a:gd name="T47" fmla="*/ 49634 h 158"/>
                <a:gd name="T48" fmla="*/ 5715 w 90"/>
                <a:gd name="T49" fmla="*/ 34362 h 158"/>
                <a:gd name="T50" fmla="*/ 13335 w 90"/>
                <a:gd name="T51" fmla="*/ 20999 h 158"/>
                <a:gd name="T52" fmla="*/ 22860 w 90"/>
                <a:gd name="T53" fmla="*/ 13363 h 158"/>
                <a:gd name="T54" fmla="*/ 36195 w 90"/>
                <a:gd name="T55" fmla="*/ 5727 h 158"/>
                <a:gd name="T56" fmla="*/ 64770 w 90"/>
                <a:gd name="T57" fmla="*/ 7636 h 158"/>
                <a:gd name="T58" fmla="*/ 40005 w 90"/>
                <a:gd name="T59" fmla="*/ 30544 h 158"/>
                <a:gd name="T60" fmla="*/ 38100 w 90"/>
                <a:gd name="T61" fmla="*/ 43907 h 158"/>
                <a:gd name="T62" fmla="*/ 76200 w 90"/>
                <a:gd name="T63" fmla="*/ 34362 h 158"/>
                <a:gd name="T64" fmla="*/ 91440 w 90"/>
                <a:gd name="T65" fmla="*/ 49634 h 158"/>
                <a:gd name="T66" fmla="*/ 68580 w 90"/>
                <a:gd name="T67" fmla="*/ 78270 h 158"/>
                <a:gd name="T68" fmla="*/ 59055 w 90"/>
                <a:gd name="T69" fmla="*/ 95451 h 158"/>
                <a:gd name="T70" fmla="*/ 87630 w 90"/>
                <a:gd name="T71" fmla="*/ 99269 h 158"/>
                <a:gd name="T72" fmla="*/ 106680 w 90"/>
                <a:gd name="T73" fmla="*/ 139358 h 158"/>
                <a:gd name="T74" fmla="*/ 135255 w 90"/>
                <a:gd name="T75" fmla="*/ 177539 h 158"/>
                <a:gd name="T76" fmla="*/ 142875 w 90"/>
                <a:gd name="T77" fmla="*/ 190902 h 158"/>
                <a:gd name="T78" fmla="*/ 142875 w 90"/>
                <a:gd name="T79" fmla="*/ 204265 h 158"/>
                <a:gd name="T80" fmla="*/ 171450 w 90"/>
                <a:gd name="T81" fmla="*/ 215719 h 158"/>
                <a:gd name="T82" fmla="*/ 160020 w 90"/>
                <a:gd name="T83" fmla="*/ 238627 h 158"/>
                <a:gd name="T84" fmla="*/ 146685 w 90"/>
                <a:gd name="T85" fmla="*/ 248172 h 15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0"/>
                <a:gd name="T130" fmla="*/ 0 h 158"/>
                <a:gd name="T131" fmla="*/ 90 w 90"/>
                <a:gd name="T132" fmla="*/ 158 h 15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0" h="158">
                  <a:moveTo>
                    <a:pt x="76" y="131"/>
                  </a:moveTo>
                  <a:cubicBezTo>
                    <a:pt x="77" y="132"/>
                    <a:pt x="79" y="133"/>
                    <a:pt x="80" y="133"/>
                  </a:cubicBezTo>
                  <a:cubicBezTo>
                    <a:pt x="83" y="133"/>
                    <a:pt x="87" y="131"/>
                    <a:pt x="88" y="133"/>
                  </a:cubicBezTo>
                  <a:cubicBezTo>
                    <a:pt x="88" y="135"/>
                    <a:pt x="84" y="137"/>
                    <a:pt x="82" y="138"/>
                  </a:cubicBezTo>
                  <a:cubicBezTo>
                    <a:pt x="79" y="140"/>
                    <a:pt x="76" y="142"/>
                    <a:pt x="73" y="142"/>
                  </a:cubicBezTo>
                  <a:cubicBezTo>
                    <a:pt x="70" y="143"/>
                    <a:pt x="68" y="141"/>
                    <a:pt x="66" y="141"/>
                  </a:cubicBezTo>
                  <a:cubicBezTo>
                    <a:pt x="64" y="141"/>
                    <a:pt x="62" y="142"/>
                    <a:pt x="60" y="142"/>
                  </a:cubicBezTo>
                  <a:cubicBezTo>
                    <a:pt x="58" y="142"/>
                    <a:pt x="56" y="141"/>
                    <a:pt x="54" y="141"/>
                  </a:cubicBezTo>
                  <a:cubicBezTo>
                    <a:pt x="51" y="141"/>
                    <a:pt x="49" y="142"/>
                    <a:pt x="46" y="143"/>
                  </a:cubicBezTo>
                  <a:cubicBezTo>
                    <a:pt x="44" y="143"/>
                    <a:pt x="43" y="146"/>
                    <a:pt x="41" y="146"/>
                  </a:cubicBezTo>
                  <a:cubicBezTo>
                    <a:pt x="38" y="146"/>
                    <a:pt x="37" y="143"/>
                    <a:pt x="35" y="143"/>
                  </a:cubicBezTo>
                  <a:cubicBezTo>
                    <a:pt x="33" y="143"/>
                    <a:pt x="30" y="144"/>
                    <a:pt x="29" y="145"/>
                  </a:cubicBezTo>
                  <a:cubicBezTo>
                    <a:pt x="27" y="147"/>
                    <a:pt x="28" y="151"/>
                    <a:pt x="26" y="152"/>
                  </a:cubicBezTo>
                  <a:cubicBezTo>
                    <a:pt x="23" y="153"/>
                    <a:pt x="21" y="151"/>
                    <a:pt x="18" y="151"/>
                  </a:cubicBezTo>
                  <a:cubicBezTo>
                    <a:pt x="16" y="151"/>
                    <a:pt x="13" y="152"/>
                    <a:pt x="11" y="153"/>
                  </a:cubicBezTo>
                  <a:cubicBezTo>
                    <a:pt x="10" y="154"/>
                    <a:pt x="9" y="157"/>
                    <a:pt x="8" y="157"/>
                  </a:cubicBezTo>
                  <a:cubicBezTo>
                    <a:pt x="6" y="158"/>
                    <a:pt x="5" y="156"/>
                    <a:pt x="3" y="156"/>
                  </a:cubicBezTo>
                  <a:cubicBezTo>
                    <a:pt x="2" y="156"/>
                    <a:pt x="0" y="157"/>
                    <a:pt x="0" y="156"/>
                  </a:cubicBezTo>
                  <a:cubicBezTo>
                    <a:pt x="2" y="154"/>
                    <a:pt x="5" y="153"/>
                    <a:pt x="8" y="151"/>
                  </a:cubicBezTo>
                  <a:cubicBezTo>
                    <a:pt x="10" y="149"/>
                    <a:pt x="12" y="146"/>
                    <a:pt x="14" y="144"/>
                  </a:cubicBezTo>
                  <a:cubicBezTo>
                    <a:pt x="15" y="142"/>
                    <a:pt x="15" y="140"/>
                    <a:pt x="16" y="138"/>
                  </a:cubicBezTo>
                  <a:cubicBezTo>
                    <a:pt x="17" y="137"/>
                    <a:pt x="18" y="138"/>
                    <a:pt x="19" y="135"/>
                  </a:cubicBezTo>
                  <a:cubicBezTo>
                    <a:pt x="23" y="134"/>
                    <a:pt x="26" y="135"/>
                    <a:pt x="30" y="135"/>
                  </a:cubicBezTo>
                  <a:cubicBezTo>
                    <a:pt x="31" y="135"/>
                    <a:pt x="32" y="135"/>
                    <a:pt x="33" y="134"/>
                  </a:cubicBezTo>
                  <a:cubicBezTo>
                    <a:pt x="36" y="132"/>
                    <a:pt x="39" y="130"/>
                    <a:pt x="41" y="127"/>
                  </a:cubicBezTo>
                  <a:cubicBezTo>
                    <a:pt x="41" y="126"/>
                    <a:pt x="40" y="127"/>
                    <a:pt x="39" y="127"/>
                  </a:cubicBezTo>
                  <a:cubicBezTo>
                    <a:pt x="36" y="128"/>
                    <a:pt x="33" y="132"/>
                    <a:pt x="30" y="132"/>
                  </a:cubicBezTo>
                  <a:cubicBezTo>
                    <a:pt x="27" y="132"/>
                    <a:pt x="26" y="128"/>
                    <a:pt x="23" y="127"/>
                  </a:cubicBezTo>
                  <a:cubicBezTo>
                    <a:pt x="22" y="127"/>
                    <a:pt x="21" y="130"/>
                    <a:pt x="20" y="129"/>
                  </a:cubicBezTo>
                  <a:cubicBezTo>
                    <a:pt x="18" y="129"/>
                    <a:pt x="19" y="126"/>
                    <a:pt x="18" y="126"/>
                  </a:cubicBezTo>
                  <a:cubicBezTo>
                    <a:pt x="15" y="125"/>
                    <a:pt x="13" y="129"/>
                    <a:pt x="10" y="128"/>
                  </a:cubicBezTo>
                  <a:cubicBezTo>
                    <a:pt x="9" y="123"/>
                    <a:pt x="5" y="124"/>
                    <a:pt x="7" y="122"/>
                  </a:cubicBezTo>
                  <a:cubicBezTo>
                    <a:pt x="8" y="119"/>
                    <a:pt x="13" y="120"/>
                    <a:pt x="16" y="118"/>
                  </a:cubicBezTo>
                  <a:cubicBezTo>
                    <a:pt x="18" y="117"/>
                    <a:pt x="21" y="114"/>
                    <a:pt x="22" y="112"/>
                  </a:cubicBezTo>
                  <a:cubicBezTo>
                    <a:pt x="23" y="110"/>
                    <a:pt x="23" y="106"/>
                    <a:pt x="21" y="105"/>
                  </a:cubicBezTo>
                  <a:cubicBezTo>
                    <a:pt x="20" y="104"/>
                    <a:pt x="15" y="108"/>
                    <a:pt x="15" y="106"/>
                  </a:cubicBezTo>
                  <a:cubicBezTo>
                    <a:pt x="15" y="103"/>
                    <a:pt x="19" y="102"/>
                    <a:pt x="21" y="100"/>
                  </a:cubicBezTo>
                  <a:cubicBezTo>
                    <a:pt x="22" y="99"/>
                    <a:pt x="24" y="98"/>
                    <a:pt x="26" y="97"/>
                  </a:cubicBezTo>
                  <a:cubicBezTo>
                    <a:pt x="27" y="97"/>
                    <a:pt x="29" y="97"/>
                    <a:pt x="30" y="97"/>
                  </a:cubicBezTo>
                  <a:cubicBezTo>
                    <a:pt x="32" y="98"/>
                    <a:pt x="34" y="99"/>
                    <a:pt x="34" y="98"/>
                  </a:cubicBezTo>
                  <a:cubicBezTo>
                    <a:pt x="35" y="96"/>
                    <a:pt x="33" y="94"/>
                    <a:pt x="33" y="93"/>
                  </a:cubicBezTo>
                  <a:cubicBezTo>
                    <a:pt x="34" y="91"/>
                    <a:pt x="36" y="91"/>
                    <a:pt x="36" y="89"/>
                  </a:cubicBezTo>
                  <a:cubicBezTo>
                    <a:pt x="36" y="88"/>
                    <a:pt x="33" y="88"/>
                    <a:pt x="34" y="87"/>
                  </a:cubicBezTo>
                  <a:cubicBezTo>
                    <a:pt x="34" y="85"/>
                    <a:pt x="38" y="84"/>
                    <a:pt x="37" y="83"/>
                  </a:cubicBezTo>
                  <a:cubicBezTo>
                    <a:pt x="37" y="81"/>
                    <a:pt x="34" y="83"/>
                    <a:pt x="33" y="83"/>
                  </a:cubicBezTo>
                  <a:cubicBezTo>
                    <a:pt x="31" y="81"/>
                    <a:pt x="29" y="78"/>
                    <a:pt x="28" y="75"/>
                  </a:cubicBezTo>
                  <a:cubicBezTo>
                    <a:pt x="27" y="74"/>
                    <a:pt x="28" y="72"/>
                    <a:pt x="29" y="71"/>
                  </a:cubicBezTo>
                  <a:cubicBezTo>
                    <a:pt x="30" y="70"/>
                    <a:pt x="32" y="69"/>
                    <a:pt x="32" y="68"/>
                  </a:cubicBezTo>
                  <a:cubicBezTo>
                    <a:pt x="31" y="67"/>
                    <a:pt x="29" y="68"/>
                    <a:pt x="28" y="68"/>
                  </a:cubicBezTo>
                  <a:cubicBezTo>
                    <a:pt x="26" y="69"/>
                    <a:pt x="25" y="71"/>
                    <a:pt x="22" y="71"/>
                  </a:cubicBezTo>
                  <a:cubicBezTo>
                    <a:pt x="20" y="72"/>
                    <a:pt x="18" y="71"/>
                    <a:pt x="16" y="70"/>
                  </a:cubicBezTo>
                  <a:cubicBezTo>
                    <a:pt x="15" y="70"/>
                    <a:pt x="13" y="70"/>
                    <a:pt x="12" y="69"/>
                  </a:cubicBezTo>
                  <a:cubicBezTo>
                    <a:pt x="11" y="67"/>
                    <a:pt x="12" y="66"/>
                    <a:pt x="12" y="64"/>
                  </a:cubicBezTo>
                  <a:cubicBezTo>
                    <a:pt x="12" y="63"/>
                    <a:pt x="13" y="62"/>
                    <a:pt x="14" y="60"/>
                  </a:cubicBezTo>
                  <a:cubicBezTo>
                    <a:pt x="14" y="59"/>
                    <a:pt x="15" y="57"/>
                    <a:pt x="15" y="56"/>
                  </a:cubicBezTo>
                  <a:cubicBezTo>
                    <a:pt x="14" y="55"/>
                    <a:pt x="12" y="56"/>
                    <a:pt x="12" y="55"/>
                  </a:cubicBezTo>
                  <a:cubicBezTo>
                    <a:pt x="11" y="54"/>
                    <a:pt x="13" y="52"/>
                    <a:pt x="12" y="51"/>
                  </a:cubicBezTo>
                  <a:cubicBezTo>
                    <a:pt x="12" y="50"/>
                    <a:pt x="10" y="51"/>
                    <a:pt x="9" y="51"/>
                  </a:cubicBezTo>
                  <a:cubicBezTo>
                    <a:pt x="8" y="50"/>
                    <a:pt x="8" y="48"/>
                    <a:pt x="7" y="48"/>
                  </a:cubicBezTo>
                  <a:cubicBezTo>
                    <a:pt x="6" y="49"/>
                    <a:pt x="7" y="51"/>
                    <a:pt x="6" y="52"/>
                  </a:cubicBezTo>
                  <a:cubicBezTo>
                    <a:pt x="5" y="53"/>
                    <a:pt x="4" y="51"/>
                    <a:pt x="4" y="50"/>
                  </a:cubicBezTo>
                  <a:cubicBezTo>
                    <a:pt x="4" y="48"/>
                    <a:pt x="4" y="45"/>
                    <a:pt x="5" y="43"/>
                  </a:cubicBezTo>
                  <a:cubicBezTo>
                    <a:pt x="5" y="42"/>
                    <a:pt x="6" y="42"/>
                    <a:pt x="7" y="41"/>
                  </a:cubicBezTo>
                  <a:cubicBezTo>
                    <a:pt x="7" y="40"/>
                    <a:pt x="9" y="37"/>
                    <a:pt x="7" y="37"/>
                  </a:cubicBezTo>
                  <a:cubicBezTo>
                    <a:pt x="6" y="36"/>
                    <a:pt x="5" y="39"/>
                    <a:pt x="4" y="39"/>
                  </a:cubicBezTo>
                  <a:cubicBezTo>
                    <a:pt x="3" y="39"/>
                    <a:pt x="1" y="39"/>
                    <a:pt x="0" y="37"/>
                  </a:cubicBezTo>
                  <a:cubicBezTo>
                    <a:pt x="0" y="37"/>
                    <a:pt x="2" y="36"/>
                    <a:pt x="2" y="36"/>
                  </a:cubicBezTo>
                  <a:cubicBezTo>
                    <a:pt x="2" y="34"/>
                    <a:pt x="1" y="33"/>
                    <a:pt x="1" y="32"/>
                  </a:cubicBezTo>
                  <a:cubicBezTo>
                    <a:pt x="2" y="31"/>
                    <a:pt x="4" y="32"/>
                    <a:pt x="5" y="31"/>
                  </a:cubicBezTo>
                  <a:cubicBezTo>
                    <a:pt x="5" y="30"/>
                    <a:pt x="3" y="30"/>
                    <a:pt x="3" y="29"/>
                  </a:cubicBezTo>
                  <a:cubicBezTo>
                    <a:pt x="3" y="28"/>
                    <a:pt x="5" y="29"/>
                    <a:pt x="6" y="28"/>
                  </a:cubicBezTo>
                  <a:cubicBezTo>
                    <a:pt x="6" y="27"/>
                    <a:pt x="4" y="27"/>
                    <a:pt x="4" y="26"/>
                  </a:cubicBezTo>
                  <a:cubicBezTo>
                    <a:pt x="4" y="25"/>
                    <a:pt x="7" y="25"/>
                    <a:pt x="6" y="24"/>
                  </a:cubicBezTo>
                  <a:cubicBezTo>
                    <a:pt x="5" y="22"/>
                    <a:pt x="2" y="23"/>
                    <a:pt x="2" y="22"/>
                  </a:cubicBezTo>
                  <a:cubicBezTo>
                    <a:pt x="1" y="21"/>
                    <a:pt x="3" y="19"/>
                    <a:pt x="3" y="18"/>
                  </a:cubicBezTo>
                  <a:cubicBezTo>
                    <a:pt x="3" y="17"/>
                    <a:pt x="2" y="16"/>
                    <a:pt x="3" y="15"/>
                  </a:cubicBezTo>
                  <a:cubicBezTo>
                    <a:pt x="5" y="14"/>
                    <a:pt x="8" y="15"/>
                    <a:pt x="10" y="14"/>
                  </a:cubicBezTo>
                  <a:cubicBezTo>
                    <a:pt x="11" y="13"/>
                    <a:pt x="7" y="12"/>
                    <a:pt x="7" y="11"/>
                  </a:cubicBezTo>
                  <a:cubicBezTo>
                    <a:pt x="7" y="10"/>
                    <a:pt x="8" y="10"/>
                    <a:pt x="8" y="9"/>
                  </a:cubicBezTo>
                  <a:cubicBezTo>
                    <a:pt x="8" y="8"/>
                    <a:pt x="7" y="8"/>
                    <a:pt x="7" y="7"/>
                  </a:cubicBezTo>
                  <a:cubicBezTo>
                    <a:pt x="9" y="7"/>
                    <a:pt x="11" y="8"/>
                    <a:pt x="12" y="7"/>
                  </a:cubicBezTo>
                  <a:cubicBezTo>
                    <a:pt x="13" y="5"/>
                    <a:pt x="10" y="3"/>
                    <a:pt x="11" y="1"/>
                  </a:cubicBezTo>
                  <a:cubicBezTo>
                    <a:pt x="12" y="0"/>
                    <a:pt x="14" y="1"/>
                    <a:pt x="16" y="2"/>
                  </a:cubicBezTo>
                  <a:cubicBezTo>
                    <a:pt x="17" y="2"/>
                    <a:pt x="18" y="3"/>
                    <a:pt x="19" y="3"/>
                  </a:cubicBezTo>
                  <a:cubicBezTo>
                    <a:pt x="22" y="2"/>
                    <a:pt x="25" y="1"/>
                    <a:pt x="29" y="0"/>
                  </a:cubicBezTo>
                  <a:cubicBezTo>
                    <a:pt x="30" y="0"/>
                    <a:pt x="32" y="0"/>
                    <a:pt x="34" y="1"/>
                  </a:cubicBezTo>
                  <a:cubicBezTo>
                    <a:pt x="35" y="1"/>
                    <a:pt x="34" y="3"/>
                    <a:pt x="34" y="4"/>
                  </a:cubicBezTo>
                  <a:cubicBezTo>
                    <a:pt x="33" y="5"/>
                    <a:pt x="31" y="7"/>
                    <a:pt x="29" y="8"/>
                  </a:cubicBezTo>
                  <a:cubicBezTo>
                    <a:pt x="26" y="11"/>
                    <a:pt x="23" y="12"/>
                    <a:pt x="20" y="14"/>
                  </a:cubicBezTo>
                  <a:cubicBezTo>
                    <a:pt x="19" y="15"/>
                    <a:pt x="20" y="16"/>
                    <a:pt x="21" y="16"/>
                  </a:cubicBezTo>
                  <a:cubicBezTo>
                    <a:pt x="22" y="16"/>
                    <a:pt x="25" y="15"/>
                    <a:pt x="25" y="16"/>
                  </a:cubicBezTo>
                  <a:cubicBezTo>
                    <a:pt x="24" y="18"/>
                    <a:pt x="21" y="19"/>
                    <a:pt x="19" y="21"/>
                  </a:cubicBezTo>
                  <a:cubicBezTo>
                    <a:pt x="19" y="22"/>
                    <a:pt x="19" y="24"/>
                    <a:pt x="20" y="23"/>
                  </a:cubicBezTo>
                  <a:cubicBezTo>
                    <a:pt x="23" y="22"/>
                    <a:pt x="24" y="20"/>
                    <a:pt x="27" y="19"/>
                  </a:cubicBezTo>
                  <a:cubicBezTo>
                    <a:pt x="29" y="18"/>
                    <a:pt x="32" y="19"/>
                    <a:pt x="34" y="18"/>
                  </a:cubicBezTo>
                  <a:cubicBezTo>
                    <a:pt x="36" y="18"/>
                    <a:pt x="38" y="19"/>
                    <a:pt x="40" y="18"/>
                  </a:cubicBezTo>
                  <a:cubicBezTo>
                    <a:pt x="43" y="18"/>
                    <a:pt x="45" y="18"/>
                    <a:pt x="47" y="18"/>
                  </a:cubicBezTo>
                  <a:cubicBezTo>
                    <a:pt x="48" y="18"/>
                    <a:pt x="49" y="19"/>
                    <a:pt x="49" y="20"/>
                  </a:cubicBezTo>
                  <a:cubicBezTo>
                    <a:pt x="49" y="22"/>
                    <a:pt x="49" y="24"/>
                    <a:pt x="48" y="26"/>
                  </a:cubicBezTo>
                  <a:cubicBezTo>
                    <a:pt x="47" y="27"/>
                    <a:pt x="46" y="29"/>
                    <a:pt x="45" y="31"/>
                  </a:cubicBezTo>
                  <a:cubicBezTo>
                    <a:pt x="43" y="33"/>
                    <a:pt x="42" y="36"/>
                    <a:pt x="40" y="39"/>
                  </a:cubicBezTo>
                  <a:cubicBezTo>
                    <a:pt x="39" y="40"/>
                    <a:pt x="37" y="39"/>
                    <a:pt x="36" y="41"/>
                  </a:cubicBezTo>
                  <a:cubicBezTo>
                    <a:pt x="36" y="42"/>
                    <a:pt x="39" y="44"/>
                    <a:pt x="38" y="46"/>
                  </a:cubicBezTo>
                  <a:cubicBezTo>
                    <a:pt x="37" y="47"/>
                    <a:pt x="35" y="45"/>
                    <a:pt x="34" y="46"/>
                  </a:cubicBezTo>
                  <a:cubicBezTo>
                    <a:pt x="33" y="47"/>
                    <a:pt x="30" y="48"/>
                    <a:pt x="31" y="50"/>
                  </a:cubicBezTo>
                  <a:cubicBezTo>
                    <a:pt x="31" y="51"/>
                    <a:pt x="34" y="50"/>
                    <a:pt x="35" y="49"/>
                  </a:cubicBezTo>
                  <a:cubicBezTo>
                    <a:pt x="36" y="49"/>
                    <a:pt x="38" y="48"/>
                    <a:pt x="39" y="48"/>
                  </a:cubicBezTo>
                  <a:cubicBezTo>
                    <a:pt x="41" y="49"/>
                    <a:pt x="44" y="50"/>
                    <a:pt x="46" y="52"/>
                  </a:cubicBezTo>
                  <a:cubicBezTo>
                    <a:pt x="48" y="54"/>
                    <a:pt x="50" y="56"/>
                    <a:pt x="51" y="59"/>
                  </a:cubicBezTo>
                  <a:cubicBezTo>
                    <a:pt x="52" y="61"/>
                    <a:pt x="51" y="63"/>
                    <a:pt x="52" y="65"/>
                  </a:cubicBezTo>
                  <a:cubicBezTo>
                    <a:pt x="53" y="68"/>
                    <a:pt x="54" y="71"/>
                    <a:pt x="56" y="73"/>
                  </a:cubicBezTo>
                  <a:cubicBezTo>
                    <a:pt x="58" y="76"/>
                    <a:pt x="61" y="76"/>
                    <a:pt x="63" y="79"/>
                  </a:cubicBezTo>
                  <a:cubicBezTo>
                    <a:pt x="66" y="82"/>
                    <a:pt x="67" y="86"/>
                    <a:pt x="69" y="90"/>
                  </a:cubicBezTo>
                  <a:cubicBezTo>
                    <a:pt x="69" y="91"/>
                    <a:pt x="71" y="92"/>
                    <a:pt x="71" y="93"/>
                  </a:cubicBezTo>
                  <a:cubicBezTo>
                    <a:pt x="70" y="94"/>
                    <a:pt x="68" y="91"/>
                    <a:pt x="67" y="92"/>
                  </a:cubicBezTo>
                  <a:cubicBezTo>
                    <a:pt x="66" y="93"/>
                    <a:pt x="68" y="93"/>
                    <a:pt x="69" y="94"/>
                  </a:cubicBezTo>
                  <a:cubicBezTo>
                    <a:pt x="71" y="96"/>
                    <a:pt x="74" y="98"/>
                    <a:pt x="75" y="100"/>
                  </a:cubicBezTo>
                  <a:cubicBezTo>
                    <a:pt x="75" y="102"/>
                    <a:pt x="72" y="103"/>
                    <a:pt x="71" y="105"/>
                  </a:cubicBezTo>
                  <a:cubicBezTo>
                    <a:pt x="71" y="105"/>
                    <a:pt x="71" y="107"/>
                    <a:pt x="72" y="107"/>
                  </a:cubicBezTo>
                  <a:cubicBezTo>
                    <a:pt x="73" y="107"/>
                    <a:pt x="74" y="107"/>
                    <a:pt x="75" y="107"/>
                  </a:cubicBezTo>
                  <a:cubicBezTo>
                    <a:pt x="77" y="106"/>
                    <a:pt x="77" y="104"/>
                    <a:pt x="78" y="104"/>
                  </a:cubicBezTo>
                  <a:cubicBezTo>
                    <a:pt x="82" y="104"/>
                    <a:pt x="86" y="105"/>
                    <a:pt x="89" y="107"/>
                  </a:cubicBezTo>
                  <a:cubicBezTo>
                    <a:pt x="90" y="108"/>
                    <a:pt x="90" y="111"/>
                    <a:pt x="90" y="113"/>
                  </a:cubicBezTo>
                  <a:cubicBezTo>
                    <a:pt x="89" y="115"/>
                    <a:pt x="89" y="118"/>
                    <a:pt x="87" y="120"/>
                  </a:cubicBezTo>
                  <a:cubicBezTo>
                    <a:pt x="86" y="121"/>
                    <a:pt x="84" y="121"/>
                    <a:pt x="83" y="122"/>
                  </a:cubicBezTo>
                  <a:cubicBezTo>
                    <a:pt x="82" y="123"/>
                    <a:pt x="85" y="125"/>
                    <a:pt x="84" y="125"/>
                  </a:cubicBezTo>
                  <a:cubicBezTo>
                    <a:pt x="82" y="126"/>
                    <a:pt x="80" y="124"/>
                    <a:pt x="78" y="125"/>
                  </a:cubicBezTo>
                  <a:cubicBezTo>
                    <a:pt x="77" y="126"/>
                    <a:pt x="81" y="127"/>
                    <a:pt x="80" y="128"/>
                  </a:cubicBezTo>
                  <a:cubicBezTo>
                    <a:pt x="80" y="129"/>
                    <a:pt x="78" y="129"/>
                    <a:pt x="77" y="130"/>
                  </a:cubicBezTo>
                  <a:cubicBezTo>
                    <a:pt x="77" y="130"/>
                    <a:pt x="75" y="130"/>
                    <a:pt x="76" y="13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2" name="Freeform 262"/>
            <p:cNvSpPr>
              <a:spLocks noChangeAspect="1"/>
            </p:cNvSpPr>
            <p:nvPr/>
          </p:nvSpPr>
          <p:spPr bwMode="auto">
            <a:xfrm>
              <a:off x="4406900" y="2530475"/>
              <a:ext cx="7938" cy="12700"/>
            </a:xfrm>
            <a:custGeom>
              <a:avLst/>
              <a:gdLst>
                <a:gd name="T0" fmla="*/ 1985 w 4"/>
                <a:gd name="T1" fmla="*/ 10583 h 6"/>
                <a:gd name="T2" fmla="*/ 3969 w 4"/>
                <a:gd name="T3" fmla="*/ 0 h 6"/>
                <a:gd name="T4" fmla="*/ 5953 w 4"/>
                <a:gd name="T5" fmla="*/ 0 h 6"/>
                <a:gd name="T6" fmla="*/ 5953 w 4"/>
                <a:gd name="T7" fmla="*/ 10583 h 6"/>
                <a:gd name="T8" fmla="*/ 1985 w 4"/>
                <a:gd name="T9" fmla="*/ 10583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1" y="5"/>
                  </a:moveTo>
                  <a:cubicBezTo>
                    <a:pt x="0" y="3"/>
                    <a:pt x="1" y="2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2"/>
                    <a:pt x="4" y="4"/>
                    <a:pt x="3" y="5"/>
                  </a:cubicBezTo>
                  <a:cubicBezTo>
                    <a:pt x="2" y="6"/>
                    <a:pt x="1" y="6"/>
                    <a:pt x="1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3" name="Freeform 263"/>
            <p:cNvSpPr>
              <a:spLocks noChangeAspect="1"/>
            </p:cNvSpPr>
            <p:nvPr/>
          </p:nvSpPr>
          <p:spPr bwMode="auto">
            <a:xfrm>
              <a:off x="4378325" y="2430463"/>
              <a:ext cx="22225" cy="30162"/>
            </a:xfrm>
            <a:custGeom>
              <a:avLst/>
              <a:gdLst>
                <a:gd name="T0" fmla="*/ 22225 w 11"/>
                <a:gd name="T1" fmla="*/ 1885 h 16"/>
                <a:gd name="T2" fmla="*/ 16164 w 11"/>
                <a:gd name="T3" fmla="*/ 20736 h 16"/>
                <a:gd name="T4" fmla="*/ 2020 w 11"/>
                <a:gd name="T5" fmla="*/ 28277 h 16"/>
                <a:gd name="T6" fmla="*/ 4041 w 11"/>
                <a:gd name="T7" fmla="*/ 20736 h 16"/>
                <a:gd name="T8" fmla="*/ 2020 w 11"/>
                <a:gd name="T9" fmla="*/ 11311 h 16"/>
                <a:gd name="T10" fmla="*/ 8082 w 11"/>
                <a:gd name="T11" fmla="*/ 11311 h 16"/>
                <a:gd name="T12" fmla="*/ 14143 w 11"/>
                <a:gd name="T13" fmla="*/ 3770 h 16"/>
                <a:gd name="T14" fmla="*/ 22225 w 11"/>
                <a:gd name="T15" fmla="*/ 1885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6"/>
                <a:gd name="T26" fmla="*/ 11 w 11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6">
                  <a:moveTo>
                    <a:pt x="11" y="1"/>
                  </a:moveTo>
                  <a:cubicBezTo>
                    <a:pt x="11" y="5"/>
                    <a:pt x="10" y="8"/>
                    <a:pt x="8" y="11"/>
                  </a:cubicBezTo>
                  <a:cubicBezTo>
                    <a:pt x="6" y="10"/>
                    <a:pt x="3" y="13"/>
                    <a:pt x="1" y="15"/>
                  </a:cubicBezTo>
                  <a:cubicBezTo>
                    <a:pt x="0" y="16"/>
                    <a:pt x="2" y="12"/>
                    <a:pt x="2" y="11"/>
                  </a:cubicBezTo>
                  <a:cubicBezTo>
                    <a:pt x="2" y="9"/>
                    <a:pt x="0" y="7"/>
                    <a:pt x="1" y="6"/>
                  </a:cubicBezTo>
                  <a:cubicBezTo>
                    <a:pt x="1" y="5"/>
                    <a:pt x="3" y="7"/>
                    <a:pt x="4" y="6"/>
                  </a:cubicBezTo>
                  <a:cubicBezTo>
                    <a:pt x="6" y="5"/>
                    <a:pt x="6" y="3"/>
                    <a:pt x="7" y="2"/>
                  </a:cubicBezTo>
                  <a:cubicBezTo>
                    <a:pt x="8" y="2"/>
                    <a:pt x="11" y="0"/>
                    <a:pt x="1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4" name="Freeform 264"/>
            <p:cNvSpPr>
              <a:spLocks noChangeAspect="1"/>
            </p:cNvSpPr>
            <p:nvPr/>
          </p:nvSpPr>
          <p:spPr bwMode="auto">
            <a:xfrm>
              <a:off x="4384675" y="2460625"/>
              <a:ext cx="25400" cy="19050"/>
            </a:xfrm>
            <a:custGeom>
              <a:avLst/>
              <a:gdLst>
                <a:gd name="T0" fmla="*/ 15631 w 13"/>
                <a:gd name="T1" fmla="*/ 0 h 10"/>
                <a:gd name="T2" fmla="*/ 17585 w 13"/>
                <a:gd name="T3" fmla="*/ 11430 h 10"/>
                <a:gd name="T4" fmla="*/ 23446 w 13"/>
                <a:gd name="T5" fmla="*/ 15240 h 10"/>
                <a:gd name="T6" fmla="*/ 15631 w 13"/>
                <a:gd name="T7" fmla="*/ 17145 h 10"/>
                <a:gd name="T8" fmla="*/ 7815 w 13"/>
                <a:gd name="T9" fmla="*/ 11430 h 10"/>
                <a:gd name="T10" fmla="*/ 1954 w 13"/>
                <a:gd name="T11" fmla="*/ 5715 h 10"/>
                <a:gd name="T12" fmla="*/ 11723 w 13"/>
                <a:gd name="T13" fmla="*/ 5715 h 10"/>
                <a:gd name="T14" fmla="*/ 15631 w 13"/>
                <a:gd name="T15" fmla="*/ 0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0"/>
                <a:gd name="T26" fmla="*/ 13 w 13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0">
                  <a:moveTo>
                    <a:pt x="8" y="0"/>
                  </a:moveTo>
                  <a:cubicBezTo>
                    <a:pt x="9" y="2"/>
                    <a:pt x="8" y="5"/>
                    <a:pt x="9" y="6"/>
                  </a:cubicBezTo>
                  <a:cubicBezTo>
                    <a:pt x="10" y="7"/>
                    <a:pt x="13" y="7"/>
                    <a:pt x="12" y="8"/>
                  </a:cubicBezTo>
                  <a:cubicBezTo>
                    <a:pt x="12" y="10"/>
                    <a:pt x="9" y="10"/>
                    <a:pt x="8" y="9"/>
                  </a:cubicBezTo>
                  <a:cubicBezTo>
                    <a:pt x="6" y="9"/>
                    <a:pt x="5" y="8"/>
                    <a:pt x="4" y="6"/>
                  </a:cubicBezTo>
                  <a:cubicBezTo>
                    <a:pt x="3" y="5"/>
                    <a:pt x="0" y="4"/>
                    <a:pt x="1" y="3"/>
                  </a:cubicBezTo>
                  <a:cubicBezTo>
                    <a:pt x="2" y="1"/>
                    <a:pt x="5" y="4"/>
                    <a:pt x="6" y="3"/>
                  </a:cubicBezTo>
                  <a:cubicBezTo>
                    <a:pt x="7" y="3"/>
                    <a:pt x="7" y="0"/>
                    <a:pt x="8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5" name="Freeform 265"/>
            <p:cNvSpPr>
              <a:spLocks noChangeAspect="1"/>
            </p:cNvSpPr>
            <p:nvPr/>
          </p:nvSpPr>
          <p:spPr bwMode="auto">
            <a:xfrm>
              <a:off x="4391025" y="2520950"/>
              <a:ext cx="12700" cy="12700"/>
            </a:xfrm>
            <a:custGeom>
              <a:avLst/>
              <a:gdLst>
                <a:gd name="T0" fmla="*/ 0 w 7"/>
                <a:gd name="T1" fmla="*/ 8467 h 6"/>
                <a:gd name="T2" fmla="*/ 7257 w 7"/>
                <a:gd name="T3" fmla="*/ 0 h 6"/>
                <a:gd name="T4" fmla="*/ 12700 w 7"/>
                <a:gd name="T5" fmla="*/ 10583 h 6"/>
                <a:gd name="T6" fmla="*/ 9071 w 7"/>
                <a:gd name="T7" fmla="*/ 12700 h 6"/>
                <a:gd name="T8" fmla="*/ 5443 w 7"/>
                <a:gd name="T9" fmla="*/ 10583 h 6"/>
                <a:gd name="T10" fmla="*/ 0 w 7"/>
                <a:gd name="T11" fmla="*/ 846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6"/>
                <a:gd name="T20" fmla="*/ 7 w 7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6">
                  <a:moveTo>
                    <a:pt x="0" y="4"/>
                  </a:move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7" y="3"/>
                    <a:pt x="7" y="5"/>
                  </a:cubicBezTo>
                  <a:cubicBezTo>
                    <a:pt x="7" y="5"/>
                    <a:pt x="6" y="6"/>
                    <a:pt x="5" y="6"/>
                  </a:cubicBezTo>
                  <a:cubicBezTo>
                    <a:pt x="4" y="6"/>
                    <a:pt x="4" y="5"/>
                    <a:pt x="3" y="5"/>
                  </a:cubicBezTo>
                  <a:cubicBezTo>
                    <a:pt x="2" y="4"/>
                    <a:pt x="0" y="5"/>
                    <a:pt x="0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6" name="Freeform 266"/>
            <p:cNvSpPr>
              <a:spLocks noChangeAspect="1"/>
            </p:cNvSpPr>
            <p:nvPr/>
          </p:nvSpPr>
          <p:spPr bwMode="auto">
            <a:xfrm>
              <a:off x="4462463" y="2403475"/>
              <a:ext cx="20637" cy="17463"/>
            </a:xfrm>
            <a:custGeom>
              <a:avLst/>
              <a:gdLst>
                <a:gd name="T0" fmla="*/ 1876 w 11"/>
                <a:gd name="T1" fmla="*/ 3881 h 9"/>
                <a:gd name="T2" fmla="*/ 3752 w 11"/>
                <a:gd name="T3" fmla="*/ 13582 h 9"/>
                <a:gd name="T4" fmla="*/ 15009 w 11"/>
                <a:gd name="T5" fmla="*/ 15523 h 9"/>
                <a:gd name="T6" fmla="*/ 9380 w 11"/>
                <a:gd name="T7" fmla="*/ 5821 h 9"/>
                <a:gd name="T8" fmla="*/ 18761 w 11"/>
                <a:gd name="T9" fmla="*/ 5821 h 9"/>
                <a:gd name="T10" fmla="*/ 15009 w 11"/>
                <a:gd name="T11" fmla="*/ 1940 h 9"/>
                <a:gd name="T12" fmla="*/ 7504 w 11"/>
                <a:gd name="T13" fmla="*/ 1940 h 9"/>
                <a:gd name="T14" fmla="*/ 9380 w 11"/>
                <a:gd name="T15" fmla="*/ 5821 h 9"/>
                <a:gd name="T16" fmla="*/ 1876 w 11"/>
                <a:gd name="T17" fmla="*/ 388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9"/>
                <a:gd name="T29" fmla="*/ 11 w 1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9">
                  <a:moveTo>
                    <a:pt x="1" y="2"/>
                  </a:moveTo>
                  <a:cubicBezTo>
                    <a:pt x="0" y="4"/>
                    <a:pt x="1" y="6"/>
                    <a:pt x="2" y="7"/>
                  </a:cubicBezTo>
                  <a:cubicBezTo>
                    <a:pt x="3" y="8"/>
                    <a:pt x="6" y="9"/>
                    <a:pt x="8" y="8"/>
                  </a:cubicBezTo>
                  <a:cubicBezTo>
                    <a:pt x="9" y="7"/>
                    <a:pt x="5" y="5"/>
                    <a:pt x="5" y="3"/>
                  </a:cubicBezTo>
                  <a:cubicBezTo>
                    <a:pt x="6" y="2"/>
                    <a:pt x="9" y="4"/>
                    <a:pt x="10" y="3"/>
                  </a:cubicBezTo>
                  <a:cubicBezTo>
                    <a:pt x="11" y="2"/>
                    <a:pt x="9" y="1"/>
                    <a:pt x="8" y="1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3" y="1"/>
                    <a:pt x="5" y="2"/>
                    <a:pt x="5" y="3"/>
                  </a:cubicBezTo>
                  <a:cubicBezTo>
                    <a:pt x="3" y="3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7" name="Freeform 267"/>
            <p:cNvSpPr>
              <a:spLocks noChangeAspect="1"/>
            </p:cNvSpPr>
            <p:nvPr/>
          </p:nvSpPr>
          <p:spPr bwMode="auto">
            <a:xfrm>
              <a:off x="4392613" y="2482850"/>
              <a:ext cx="7937" cy="6350"/>
            </a:xfrm>
            <a:custGeom>
              <a:avLst/>
              <a:gdLst>
                <a:gd name="T0" fmla="*/ 3969 w 4"/>
                <a:gd name="T1" fmla="*/ 0 h 3"/>
                <a:gd name="T2" fmla="*/ 7937 w 4"/>
                <a:gd name="T3" fmla="*/ 4233 h 3"/>
                <a:gd name="T4" fmla="*/ 3969 w 4"/>
                <a:gd name="T5" fmla="*/ 6350 h 3"/>
                <a:gd name="T6" fmla="*/ 0 w 4"/>
                <a:gd name="T7" fmla="*/ 2117 h 3"/>
                <a:gd name="T8" fmla="*/ 3969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4" y="2"/>
                    <a:pt x="3" y="3"/>
                    <a:pt x="2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8" name="Freeform 268"/>
            <p:cNvSpPr>
              <a:spLocks noChangeAspect="1"/>
            </p:cNvSpPr>
            <p:nvPr/>
          </p:nvSpPr>
          <p:spPr bwMode="auto">
            <a:xfrm>
              <a:off x="4371975" y="2460625"/>
              <a:ext cx="4763" cy="3175"/>
            </a:xfrm>
            <a:custGeom>
              <a:avLst/>
              <a:gdLst>
                <a:gd name="T0" fmla="*/ 1588 w 3"/>
                <a:gd name="T1" fmla="*/ 0 h 2"/>
                <a:gd name="T2" fmla="*/ 4763 w 3"/>
                <a:gd name="T3" fmla="*/ 1588 h 2"/>
                <a:gd name="T4" fmla="*/ 1588 w 3"/>
                <a:gd name="T5" fmla="*/ 3175 h 2"/>
                <a:gd name="T6" fmla="*/ 0 w 3"/>
                <a:gd name="T7" fmla="*/ 1588 h 2"/>
                <a:gd name="T8" fmla="*/ 1588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69" name="Freeform 269"/>
            <p:cNvSpPr>
              <a:spLocks noChangeAspect="1"/>
            </p:cNvSpPr>
            <p:nvPr/>
          </p:nvSpPr>
          <p:spPr bwMode="auto">
            <a:xfrm>
              <a:off x="4371975" y="2466975"/>
              <a:ext cx="4763" cy="3175"/>
            </a:xfrm>
            <a:custGeom>
              <a:avLst/>
              <a:gdLst>
                <a:gd name="T0" fmla="*/ 1588 w 3"/>
                <a:gd name="T1" fmla="*/ 0 h 2"/>
                <a:gd name="T2" fmla="*/ 4763 w 3"/>
                <a:gd name="T3" fmla="*/ 1588 h 2"/>
                <a:gd name="T4" fmla="*/ 3175 w 3"/>
                <a:gd name="T5" fmla="*/ 3175 h 2"/>
                <a:gd name="T6" fmla="*/ 0 w 3"/>
                <a:gd name="T7" fmla="*/ 1588 h 2"/>
                <a:gd name="T8" fmla="*/ 1588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0" name="Freeform 270"/>
            <p:cNvSpPr>
              <a:spLocks noChangeAspect="1"/>
            </p:cNvSpPr>
            <p:nvPr/>
          </p:nvSpPr>
          <p:spPr bwMode="auto">
            <a:xfrm>
              <a:off x="4371975" y="2471738"/>
              <a:ext cx="4763" cy="4762"/>
            </a:xfrm>
            <a:custGeom>
              <a:avLst/>
              <a:gdLst>
                <a:gd name="T0" fmla="*/ 1588 w 3"/>
                <a:gd name="T1" fmla="*/ 2381 h 2"/>
                <a:gd name="T2" fmla="*/ 4763 w 3"/>
                <a:gd name="T3" fmla="*/ 4762 h 2"/>
                <a:gd name="T4" fmla="*/ 1588 w 3"/>
                <a:gd name="T5" fmla="*/ 4762 h 2"/>
                <a:gd name="T6" fmla="*/ 0 w 3"/>
                <a:gd name="T7" fmla="*/ 2381 h 2"/>
                <a:gd name="T8" fmla="*/ 1588 w 3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1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1" name="Freeform 271"/>
            <p:cNvSpPr>
              <a:spLocks noChangeAspect="1"/>
            </p:cNvSpPr>
            <p:nvPr/>
          </p:nvSpPr>
          <p:spPr bwMode="auto">
            <a:xfrm>
              <a:off x="4368800" y="2478088"/>
              <a:ext cx="6350" cy="3175"/>
            </a:xfrm>
            <a:custGeom>
              <a:avLst/>
              <a:gdLst>
                <a:gd name="T0" fmla="*/ 4233 w 3"/>
                <a:gd name="T1" fmla="*/ 1588 h 2"/>
                <a:gd name="T2" fmla="*/ 6350 w 3"/>
                <a:gd name="T3" fmla="*/ 3175 h 2"/>
                <a:gd name="T4" fmla="*/ 4233 w 3"/>
                <a:gd name="T5" fmla="*/ 3175 h 2"/>
                <a:gd name="T6" fmla="*/ 0 w 3"/>
                <a:gd name="T7" fmla="*/ 1588 h 2"/>
                <a:gd name="T8" fmla="*/ 4233 w 3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2" name="Oval 272"/>
            <p:cNvSpPr>
              <a:spLocks noChangeAspect="1" noChangeArrowheads="1"/>
            </p:cNvSpPr>
            <p:nvPr/>
          </p:nvSpPr>
          <p:spPr bwMode="auto">
            <a:xfrm>
              <a:off x="4368800" y="2486025"/>
              <a:ext cx="4763" cy="1588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3" name="Freeform 273"/>
            <p:cNvSpPr>
              <a:spLocks noChangeAspect="1"/>
            </p:cNvSpPr>
            <p:nvPr/>
          </p:nvSpPr>
          <p:spPr bwMode="auto">
            <a:xfrm>
              <a:off x="4392613" y="2498725"/>
              <a:ext cx="17462" cy="12700"/>
            </a:xfrm>
            <a:custGeom>
              <a:avLst/>
              <a:gdLst>
                <a:gd name="T0" fmla="*/ 7761 w 9"/>
                <a:gd name="T1" fmla="*/ 0 h 7"/>
                <a:gd name="T2" fmla="*/ 17462 w 9"/>
                <a:gd name="T3" fmla="*/ 5443 h 7"/>
                <a:gd name="T4" fmla="*/ 13582 w 9"/>
                <a:gd name="T5" fmla="*/ 10886 h 7"/>
                <a:gd name="T6" fmla="*/ 1940 w 9"/>
                <a:gd name="T7" fmla="*/ 10886 h 7"/>
                <a:gd name="T8" fmla="*/ 7761 w 9"/>
                <a:gd name="T9" fmla="*/ 5443 h 7"/>
                <a:gd name="T10" fmla="*/ 5821 w 9"/>
                <a:gd name="T11" fmla="*/ 0 h 7"/>
                <a:gd name="T12" fmla="*/ 7761 w 9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7"/>
                <a:gd name="T23" fmla="*/ 9 w 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7">
                  <a:moveTo>
                    <a:pt x="4" y="0"/>
                  </a:moveTo>
                  <a:cubicBezTo>
                    <a:pt x="6" y="1"/>
                    <a:pt x="8" y="2"/>
                    <a:pt x="9" y="3"/>
                  </a:cubicBezTo>
                  <a:cubicBezTo>
                    <a:pt x="9" y="4"/>
                    <a:pt x="8" y="6"/>
                    <a:pt x="7" y="6"/>
                  </a:cubicBezTo>
                  <a:cubicBezTo>
                    <a:pt x="5" y="7"/>
                    <a:pt x="3" y="7"/>
                    <a:pt x="1" y="6"/>
                  </a:cubicBezTo>
                  <a:cubicBezTo>
                    <a:pt x="0" y="5"/>
                    <a:pt x="4" y="4"/>
                    <a:pt x="4" y="3"/>
                  </a:cubicBezTo>
                  <a:cubicBezTo>
                    <a:pt x="4" y="2"/>
                    <a:pt x="2" y="1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4" name="Freeform 274"/>
            <p:cNvSpPr>
              <a:spLocks noChangeAspect="1"/>
            </p:cNvSpPr>
            <p:nvPr/>
          </p:nvSpPr>
          <p:spPr bwMode="auto">
            <a:xfrm>
              <a:off x="4381500" y="2495550"/>
              <a:ext cx="11113" cy="12700"/>
            </a:xfrm>
            <a:custGeom>
              <a:avLst/>
              <a:gdLst>
                <a:gd name="T0" fmla="*/ 11113 w 6"/>
                <a:gd name="T1" fmla="*/ 1814 h 7"/>
                <a:gd name="T2" fmla="*/ 1852 w 6"/>
                <a:gd name="T3" fmla="*/ 12700 h 7"/>
                <a:gd name="T4" fmla="*/ 1852 w 6"/>
                <a:gd name="T5" fmla="*/ 5443 h 7"/>
                <a:gd name="T6" fmla="*/ 11113 w 6"/>
                <a:gd name="T7" fmla="*/ 1814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7"/>
                <a:gd name="T14" fmla="*/ 6 w 6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7">
                  <a:moveTo>
                    <a:pt x="6" y="1"/>
                  </a:moveTo>
                  <a:cubicBezTo>
                    <a:pt x="6" y="4"/>
                    <a:pt x="3" y="6"/>
                    <a:pt x="1" y="7"/>
                  </a:cubicBezTo>
                  <a:cubicBezTo>
                    <a:pt x="0" y="7"/>
                    <a:pt x="0" y="4"/>
                    <a:pt x="1" y="3"/>
                  </a:cubicBezTo>
                  <a:cubicBezTo>
                    <a:pt x="2" y="2"/>
                    <a:pt x="6" y="0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5" name="Freeform 275"/>
            <p:cNvSpPr>
              <a:spLocks noChangeAspect="1"/>
            </p:cNvSpPr>
            <p:nvPr/>
          </p:nvSpPr>
          <p:spPr bwMode="auto">
            <a:xfrm>
              <a:off x="4497388" y="2363788"/>
              <a:ext cx="17462" cy="20637"/>
            </a:xfrm>
            <a:custGeom>
              <a:avLst/>
              <a:gdLst>
                <a:gd name="T0" fmla="*/ 1940 w 9"/>
                <a:gd name="T1" fmla="*/ 1876 h 11"/>
                <a:gd name="T2" fmla="*/ 11641 w 9"/>
                <a:gd name="T3" fmla="*/ 0 h 11"/>
                <a:gd name="T4" fmla="*/ 17462 w 9"/>
                <a:gd name="T5" fmla="*/ 3752 h 11"/>
                <a:gd name="T6" fmla="*/ 11641 w 9"/>
                <a:gd name="T7" fmla="*/ 20637 h 11"/>
                <a:gd name="T8" fmla="*/ 11641 w 9"/>
                <a:gd name="T9" fmla="*/ 11257 h 11"/>
                <a:gd name="T10" fmla="*/ 3880 w 9"/>
                <a:gd name="T11" fmla="*/ 7504 h 11"/>
                <a:gd name="T12" fmla="*/ 1940 w 9"/>
                <a:gd name="T13" fmla="*/ 1876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1"/>
                <a:gd name="T23" fmla="*/ 9 w 9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1">
                  <a:moveTo>
                    <a:pt x="1" y="1"/>
                  </a:moveTo>
                  <a:cubicBezTo>
                    <a:pt x="2" y="0"/>
                    <a:pt x="4" y="0"/>
                    <a:pt x="6" y="0"/>
                  </a:cubicBezTo>
                  <a:cubicBezTo>
                    <a:pt x="7" y="1"/>
                    <a:pt x="9" y="1"/>
                    <a:pt x="9" y="2"/>
                  </a:cubicBezTo>
                  <a:cubicBezTo>
                    <a:pt x="9" y="5"/>
                    <a:pt x="8" y="11"/>
                    <a:pt x="6" y="11"/>
                  </a:cubicBezTo>
                  <a:cubicBezTo>
                    <a:pt x="4" y="10"/>
                    <a:pt x="6" y="6"/>
                    <a:pt x="6" y="6"/>
                  </a:cubicBezTo>
                  <a:cubicBezTo>
                    <a:pt x="5" y="4"/>
                    <a:pt x="3" y="5"/>
                    <a:pt x="2" y="4"/>
                  </a:cubicBezTo>
                  <a:cubicBezTo>
                    <a:pt x="1" y="4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6" name="Freeform 276"/>
            <p:cNvSpPr>
              <a:spLocks noChangeAspect="1"/>
            </p:cNvSpPr>
            <p:nvPr/>
          </p:nvSpPr>
          <p:spPr bwMode="auto">
            <a:xfrm>
              <a:off x="4518025" y="2346325"/>
              <a:ext cx="6350" cy="7938"/>
            </a:xfrm>
            <a:custGeom>
              <a:avLst/>
              <a:gdLst>
                <a:gd name="T0" fmla="*/ 4233 w 3"/>
                <a:gd name="T1" fmla="*/ 0 h 4"/>
                <a:gd name="T2" fmla="*/ 6350 w 3"/>
                <a:gd name="T3" fmla="*/ 3969 h 4"/>
                <a:gd name="T4" fmla="*/ 2117 w 3"/>
                <a:gd name="T5" fmla="*/ 7938 h 4"/>
                <a:gd name="T6" fmla="*/ 0 w 3"/>
                <a:gd name="T7" fmla="*/ 1985 h 4"/>
                <a:gd name="T8" fmla="*/ 4233 w 3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0"/>
                  </a:moveTo>
                  <a:cubicBezTo>
                    <a:pt x="2" y="0"/>
                    <a:pt x="3" y="1"/>
                    <a:pt x="3" y="2"/>
                  </a:cubicBezTo>
                  <a:cubicBezTo>
                    <a:pt x="2" y="3"/>
                    <a:pt x="2" y="4"/>
                    <a:pt x="1" y="4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7" name="Freeform 277"/>
            <p:cNvSpPr>
              <a:spLocks noChangeAspect="1"/>
            </p:cNvSpPr>
            <p:nvPr/>
          </p:nvSpPr>
          <p:spPr bwMode="auto">
            <a:xfrm>
              <a:off x="4510088" y="2349500"/>
              <a:ext cx="6350" cy="9525"/>
            </a:xfrm>
            <a:custGeom>
              <a:avLst/>
              <a:gdLst>
                <a:gd name="T0" fmla="*/ 4233 w 3"/>
                <a:gd name="T1" fmla="*/ 0 h 5"/>
                <a:gd name="T2" fmla="*/ 6350 w 3"/>
                <a:gd name="T3" fmla="*/ 5715 h 5"/>
                <a:gd name="T4" fmla="*/ 4233 w 3"/>
                <a:gd name="T5" fmla="*/ 9525 h 5"/>
                <a:gd name="T6" fmla="*/ 0 w 3"/>
                <a:gd name="T7" fmla="*/ 3810 h 5"/>
                <a:gd name="T8" fmla="*/ 4233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0"/>
                  </a:moveTo>
                  <a:cubicBezTo>
                    <a:pt x="3" y="0"/>
                    <a:pt x="3" y="2"/>
                    <a:pt x="3" y="3"/>
                  </a:cubicBezTo>
                  <a:cubicBezTo>
                    <a:pt x="3" y="3"/>
                    <a:pt x="2" y="5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8" name="Freeform 278"/>
            <p:cNvSpPr>
              <a:spLocks noChangeAspect="1"/>
            </p:cNvSpPr>
            <p:nvPr/>
          </p:nvSpPr>
          <p:spPr bwMode="auto">
            <a:xfrm>
              <a:off x="4651375" y="2376488"/>
              <a:ext cx="6350" cy="9525"/>
            </a:xfrm>
            <a:custGeom>
              <a:avLst/>
              <a:gdLst>
                <a:gd name="T0" fmla="*/ 4233 w 3"/>
                <a:gd name="T1" fmla="*/ 1905 h 5"/>
                <a:gd name="T2" fmla="*/ 6350 w 3"/>
                <a:gd name="T3" fmla="*/ 5715 h 5"/>
                <a:gd name="T4" fmla="*/ 4233 w 3"/>
                <a:gd name="T5" fmla="*/ 9525 h 5"/>
                <a:gd name="T6" fmla="*/ 0 w 3"/>
                <a:gd name="T7" fmla="*/ 3810 h 5"/>
                <a:gd name="T8" fmla="*/ 4233 w 3"/>
                <a:gd name="T9" fmla="*/ 190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1"/>
                  </a:moveTo>
                  <a:cubicBezTo>
                    <a:pt x="3" y="1"/>
                    <a:pt x="3" y="2"/>
                    <a:pt x="3" y="3"/>
                  </a:cubicBezTo>
                  <a:cubicBezTo>
                    <a:pt x="3" y="4"/>
                    <a:pt x="3" y="5"/>
                    <a:pt x="2" y="5"/>
                  </a:cubicBezTo>
                  <a:cubicBezTo>
                    <a:pt x="1" y="5"/>
                    <a:pt x="0" y="3"/>
                    <a:pt x="0" y="2"/>
                  </a:cubicBezTo>
                  <a:cubicBezTo>
                    <a:pt x="0" y="1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79" name="Freeform 279"/>
            <p:cNvSpPr>
              <a:spLocks noChangeAspect="1"/>
            </p:cNvSpPr>
            <p:nvPr/>
          </p:nvSpPr>
          <p:spPr bwMode="auto">
            <a:xfrm>
              <a:off x="4662488" y="2405063"/>
              <a:ext cx="9525" cy="6350"/>
            </a:xfrm>
            <a:custGeom>
              <a:avLst/>
              <a:gdLst>
                <a:gd name="T0" fmla="*/ 7620 w 5"/>
                <a:gd name="T1" fmla="*/ 4233 h 3"/>
                <a:gd name="T2" fmla="*/ 3810 w 5"/>
                <a:gd name="T3" fmla="*/ 6350 h 3"/>
                <a:gd name="T4" fmla="*/ 0 w 5"/>
                <a:gd name="T5" fmla="*/ 4233 h 3"/>
                <a:gd name="T6" fmla="*/ 5715 w 5"/>
                <a:gd name="T7" fmla="*/ 0 h 3"/>
                <a:gd name="T8" fmla="*/ 7620 w 5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4" y="2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0" name="Freeform 280"/>
            <p:cNvSpPr>
              <a:spLocks noChangeAspect="1"/>
            </p:cNvSpPr>
            <p:nvPr/>
          </p:nvSpPr>
          <p:spPr bwMode="auto">
            <a:xfrm>
              <a:off x="4656138" y="2290763"/>
              <a:ext cx="9525" cy="6350"/>
            </a:xfrm>
            <a:custGeom>
              <a:avLst/>
              <a:gdLst>
                <a:gd name="T0" fmla="*/ 9525 w 5"/>
                <a:gd name="T1" fmla="*/ 4233 h 3"/>
                <a:gd name="T2" fmla="*/ 5715 w 5"/>
                <a:gd name="T3" fmla="*/ 6350 h 3"/>
                <a:gd name="T4" fmla="*/ 1905 w 5"/>
                <a:gd name="T5" fmla="*/ 2117 h 3"/>
                <a:gd name="T6" fmla="*/ 5715 w 5"/>
                <a:gd name="T7" fmla="*/ 0 h 3"/>
                <a:gd name="T8" fmla="*/ 9525 w 5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2"/>
                  </a:moveTo>
                  <a:cubicBezTo>
                    <a:pt x="5" y="2"/>
                    <a:pt x="3" y="3"/>
                    <a:pt x="3" y="3"/>
                  </a:cubicBezTo>
                  <a:cubicBezTo>
                    <a:pt x="2" y="3"/>
                    <a:pt x="0" y="2"/>
                    <a:pt x="1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1" name="Freeform 281"/>
            <p:cNvSpPr>
              <a:spLocks noChangeAspect="1"/>
            </p:cNvSpPr>
            <p:nvPr/>
          </p:nvSpPr>
          <p:spPr bwMode="auto">
            <a:xfrm>
              <a:off x="4697413" y="2262188"/>
              <a:ext cx="7937" cy="4762"/>
            </a:xfrm>
            <a:custGeom>
              <a:avLst/>
              <a:gdLst>
                <a:gd name="T0" fmla="*/ 7937 w 4"/>
                <a:gd name="T1" fmla="*/ 2381 h 2"/>
                <a:gd name="T2" fmla="*/ 3969 w 4"/>
                <a:gd name="T3" fmla="*/ 4762 h 2"/>
                <a:gd name="T4" fmla="*/ 0 w 4"/>
                <a:gd name="T5" fmla="*/ 2381 h 2"/>
                <a:gd name="T6" fmla="*/ 3969 w 4"/>
                <a:gd name="T7" fmla="*/ 0 h 2"/>
                <a:gd name="T8" fmla="*/ 7937 w 4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1"/>
                  </a:moveTo>
                  <a:cubicBezTo>
                    <a:pt x="4" y="2"/>
                    <a:pt x="3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2" name="Freeform 282"/>
            <p:cNvSpPr>
              <a:spLocks noChangeAspect="1"/>
            </p:cNvSpPr>
            <p:nvPr/>
          </p:nvSpPr>
          <p:spPr bwMode="auto">
            <a:xfrm>
              <a:off x="4705350" y="2251075"/>
              <a:ext cx="9525" cy="6350"/>
            </a:xfrm>
            <a:custGeom>
              <a:avLst/>
              <a:gdLst>
                <a:gd name="T0" fmla="*/ 9525 w 5"/>
                <a:gd name="T1" fmla="*/ 4233 h 3"/>
                <a:gd name="T2" fmla="*/ 3810 w 5"/>
                <a:gd name="T3" fmla="*/ 6350 h 3"/>
                <a:gd name="T4" fmla="*/ 0 w 5"/>
                <a:gd name="T5" fmla="*/ 2117 h 3"/>
                <a:gd name="T6" fmla="*/ 5715 w 5"/>
                <a:gd name="T7" fmla="*/ 0 h 3"/>
                <a:gd name="T8" fmla="*/ 9525 w 5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2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3" name="Freeform 283"/>
            <p:cNvSpPr>
              <a:spLocks noChangeAspect="1"/>
            </p:cNvSpPr>
            <p:nvPr/>
          </p:nvSpPr>
          <p:spPr bwMode="auto">
            <a:xfrm>
              <a:off x="4784725" y="2163763"/>
              <a:ext cx="9525" cy="4762"/>
            </a:xfrm>
            <a:custGeom>
              <a:avLst/>
              <a:gdLst>
                <a:gd name="T0" fmla="*/ 9525 w 5"/>
                <a:gd name="T1" fmla="*/ 3175 h 3"/>
                <a:gd name="T2" fmla="*/ 5715 w 5"/>
                <a:gd name="T3" fmla="*/ 4762 h 3"/>
                <a:gd name="T4" fmla="*/ 1905 w 5"/>
                <a:gd name="T5" fmla="*/ 3175 h 3"/>
                <a:gd name="T6" fmla="*/ 5715 w 5"/>
                <a:gd name="T7" fmla="*/ 0 h 3"/>
                <a:gd name="T8" fmla="*/ 9525 w 5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2"/>
                  </a:moveTo>
                  <a:cubicBezTo>
                    <a:pt x="5" y="3"/>
                    <a:pt x="3" y="3"/>
                    <a:pt x="3" y="3"/>
                  </a:cubicBezTo>
                  <a:cubicBezTo>
                    <a:pt x="2" y="3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4" name="Freeform 284"/>
            <p:cNvSpPr>
              <a:spLocks noChangeAspect="1"/>
            </p:cNvSpPr>
            <p:nvPr/>
          </p:nvSpPr>
          <p:spPr bwMode="auto">
            <a:xfrm>
              <a:off x="4860925" y="2063750"/>
              <a:ext cx="9525" cy="6350"/>
            </a:xfrm>
            <a:custGeom>
              <a:avLst/>
              <a:gdLst>
                <a:gd name="T0" fmla="*/ 9525 w 5"/>
                <a:gd name="T1" fmla="*/ 4233 h 3"/>
                <a:gd name="T2" fmla="*/ 3810 w 5"/>
                <a:gd name="T3" fmla="*/ 6350 h 3"/>
                <a:gd name="T4" fmla="*/ 0 w 5"/>
                <a:gd name="T5" fmla="*/ 4233 h 3"/>
                <a:gd name="T6" fmla="*/ 5715 w 5"/>
                <a:gd name="T7" fmla="*/ 0 h 3"/>
                <a:gd name="T8" fmla="*/ 9525 w 5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2"/>
                  </a:move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5" y="1"/>
                    <a:pt x="5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5" name="Freeform 285"/>
            <p:cNvSpPr>
              <a:spLocks noChangeAspect="1"/>
            </p:cNvSpPr>
            <p:nvPr/>
          </p:nvSpPr>
          <p:spPr bwMode="auto">
            <a:xfrm>
              <a:off x="4927600" y="1984375"/>
              <a:ext cx="7938" cy="6350"/>
            </a:xfrm>
            <a:custGeom>
              <a:avLst/>
              <a:gdLst>
                <a:gd name="T0" fmla="*/ 7938 w 4"/>
                <a:gd name="T1" fmla="*/ 4233 h 3"/>
                <a:gd name="T2" fmla="*/ 3969 w 4"/>
                <a:gd name="T3" fmla="*/ 6350 h 3"/>
                <a:gd name="T4" fmla="*/ 0 w 4"/>
                <a:gd name="T5" fmla="*/ 4233 h 3"/>
                <a:gd name="T6" fmla="*/ 5953 w 4"/>
                <a:gd name="T7" fmla="*/ 0 h 3"/>
                <a:gd name="T8" fmla="*/ 7938 w 4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2"/>
                  </a:moveTo>
                  <a:cubicBezTo>
                    <a:pt x="4" y="2"/>
                    <a:pt x="3" y="3"/>
                    <a:pt x="2" y="3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6" name="Freeform 286"/>
            <p:cNvSpPr>
              <a:spLocks noChangeAspect="1"/>
            </p:cNvSpPr>
            <p:nvPr/>
          </p:nvSpPr>
          <p:spPr bwMode="auto">
            <a:xfrm>
              <a:off x="4935538" y="1978025"/>
              <a:ext cx="6350" cy="6350"/>
            </a:xfrm>
            <a:custGeom>
              <a:avLst/>
              <a:gdLst>
                <a:gd name="T0" fmla="*/ 6350 w 3"/>
                <a:gd name="T1" fmla="*/ 4233 h 3"/>
                <a:gd name="T2" fmla="*/ 2117 w 3"/>
                <a:gd name="T3" fmla="*/ 6350 h 3"/>
                <a:gd name="T4" fmla="*/ 0 w 3"/>
                <a:gd name="T5" fmla="*/ 4233 h 3"/>
                <a:gd name="T6" fmla="*/ 4233 w 3"/>
                <a:gd name="T7" fmla="*/ 0 h 3"/>
                <a:gd name="T8" fmla="*/ 6350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7" name="Freeform 287"/>
            <p:cNvSpPr>
              <a:spLocks noChangeAspect="1"/>
            </p:cNvSpPr>
            <p:nvPr/>
          </p:nvSpPr>
          <p:spPr bwMode="auto">
            <a:xfrm>
              <a:off x="4951413" y="1992313"/>
              <a:ext cx="4762" cy="4762"/>
            </a:xfrm>
            <a:custGeom>
              <a:avLst/>
              <a:gdLst>
                <a:gd name="T0" fmla="*/ 4762 w 3"/>
                <a:gd name="T1" fmla="*/ 0 h 3"/>
                <a:gd name="T2" fmla="*/ 3175 w 3"/>
                <a:gd name="T3" fmla="*/ 3175 h 3"/>
                <a:gd name="T4" fmla="*/ 0 w 3"/>
                <a:gd name="T5" fmla="*/ 4762 h 3"/>
                <a:gd name="T6" fmla="*/ 1587 w 3"/>
                <a:gd name="T7" fmla="*/ 0 h 3"/>
                <a:gd name="T8" fmla="*/ 4762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cubicBezTo>
                    <a:pt x="3" y="1"/>
                    <a:pt x="2" y="2"/>
                    <a:pt x="2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8" name="Freeform 288"/>
            <p:cNvSpPr>
              <a:spLocks noChangeAspect="1"/>
            </p:cNvSpPr>
            <p:nvPr/>
          </p:nvSpPr>
          <p:spPr bwMode="auto">
            <a:xfrm>
              <a:off x="4967288" y="1978025"/>
              <a:ext cx="6350" cy="6350"/>
            </a:xfrm>
            <a:custGeom>
              <a:avLst/>
              <a:gdLst>
                <a:gd name="T0" fmla="*/ 6350 w 3"/>
                <a:gd name="T1" fmla="*/ 0 h 3"/>
                <a:gd name="T2" fmla="*/ 4233 w 3"/>
                <a:gd name="T3" fmla="*/ 4233 h 3"/>
                <a:gd name="T4" fmla="*/ 0 w 3"/>
                <a:gd name="T5" fmla="*/ 6350 h 3"/>
                <a:gd name="T6" fmla="*/ 2117 w 3"/>
                <a:gd name="T7" fmla="*/ 0 h 3"/>
                <a:gd name="T8" fmla="*/ 635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cubicBezTo>
                    <a:pt x="3" y="1"/>
                    <a:pt x="2" y="2"/>
                    <a:pt x="2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2"/>
                    <a:pt x="0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89" name="Freeform 289"/>
            <p:cNvSpPr>
              <a:spLocks noChangeAspect="1"/>
            </p:cNvSpPr>
            <p:nvPr/>
          </p:nvSpPr>
          <p:spPr bwMode="auto">
            <a:xfrm>
              <a:off x="5008563" y="1974850"/>
              <a:ext cx="6350" cy="3175"/>
            </a:xfrm>
            <a:custGeom>
              <a:avLst/>
              <a:gdLst>
                <a:gd name="T0" fmla="*/ 6350 w 4"/>
                <a:gd name="T1" fmla="*/ 3175 h 2"/>
                <a:gd name="T2" fmla="*/ 3175 w 4"/>
                <a:gd name="T3" fmla="*/ 3175 h 2"/>
                <a:gd name="T4" fmla="*/ 0 w 4"/>
                <a:gd name="T5" fmla="*/ 1588 h 2"/>
                <a:gd name="T6" fmla="*/ 4762 w 4"/>
                <a:gd name="T7" fmla="*/ 0 h 2"/>
                <a:gd name="T8" fmla="*/ 6350 w 4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2"/>
                  </a:moveTo>
                  <a:cubicBezTo>
                    <a:pt x="4" y="2"/>
                    <a:pt x="3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0" name="Freeform 290"/>
            <p:cNvSpPr>
              <a:spLocks noChangeAspect="1"/>
            </p:cNvSpPr>
            <p:nvPr/>
          </p:nvSpPr>
          <p:spPr bwMode="auto">
            <a:xfrm>
              <a:off x="5037138" y="1947863"/>
              <a:ext cx="6350" cy="4762"/>
            </a:xfrm>
            <a:custGeom>
              <a:avLst/>
              <a:gdLst>
                <a:gd name="T0" fmla="*/ 6350 w 4"/>
                <a:gd name="T1" fmla="*/ 4762 h 2"/>
                <a:gd name="T2" fmla="*/ 3175 w 4"/>
                <a:gd name="T3" fmla="*/ 4762 h 2"/>
                <a:gd name="T4" fmla="*/ 0 w 4"/>
                <a:gd name="T5" fmla="*/ 2381 h 2"/>
                <a:gd name="T6" fmla="*/ 4762 w 4"/>
                <a:gd name="T7" fmla="*/ 0 h 2"/>
                <a:gd name="T8" fmla="*/ 6350 w 4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2"/>
                  </a:moveTo>
                  <a:cubicBezTo>
                    <a:pt x="4" y="2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1" name="Freeform 291"/>
            <p:cNvSpPr>
              <a:spLocks noChangeAspect="1"/>
            </p:cNvSpPr>
            <p:nvPr/>
          </p:nvSpPr>
          <p:spPr bwMode="auto">
            <a:xfrm>
              <a:off x="5041900" y="1955800"/>
              <a:ext cx="7938" cy="3175"/>
            </a:xfrm>
            <a:custGeom>
              <a:avLst/>
              <a:gdLst>
                <a:gd name="T0" fmla="*/ 7938 w 4"/>
                <a:gd name="T1" fmla="*/ 1588 h 2"/>
                <a:gd name="T2" fmla="*/ 3969 w 4"/>
                <a:gd name="T3" fmla="*/ 3175 h 2"/>
                <a:gd name="T4" fmla="*/ 0 w 4"/>
                <a:gd name="T5" fmla="*/ 1588 h 2"/>
                <a:gd name="T6" fmla="*/ 5953 w 4"/>
                <a:gd name="T7" fmla="*/ 0 h 2"/>
                <a:gd name="T8" fmla="*/ 7938 w 4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4" y="1"/>
                  </a:moveTo>
                  <a:cubicBezTo>
                    <a:pt x="4" y="2"/>
                    <a:pt x="2" y="2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2" name="Freeform 292"/>
            <p:cNvSpPr>
              <a:spLocks noChangeAspect="1"/>
            </p:cNvSpPr>
            <p:nvPr/>
          </p:nvSpPr>
          <p:spPr bwMode="auto">
            <a:xfrm>
              <a:off x="5067300" y="1943100"/>
              <a:ext cx="11113" cy="6350"/>
            </a:xfrm>
            <a:custGeom>
              <a:avLst/>
              <a:gdLst>
                <a:gd name="T0" fmla="*/ 11113 w 6"/>
                <a:gd name="T1" fmla="*/ 4762 h 4"/>
                <a:gd name="T2" fmla="*/ 5557 w 6"/>
                <a:gd name="T3" fmla="*/ 6350 h 4"/>
                <a:gd name="T4" fmla="*/ 1852 w 6"/>
                <a:gd name="T5" fmla="*/ 3175 h 4"/>
                <a:gd name="T6" fmla="*/ 7409 w 6"/>
                <a:gd name="T7" fmla="*/ 0 h 4"/>
                <a:gd name="T8" fmla="*/ 11113 w 6"/>
                <a:gd name="T9" fmla="*/ 476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6" y="3"/>
                  </a:moveTo>
                  <a:cubicBezTo>
                    <a:pt x="6" y="4"/>
                    <a:pt x="4" y="4"/>
                    <a:pt x="3" y="4"/>
                  </a:cubicBezTo>
                  <a:cubicBezTo>
                    <a:pt x="2" y="3"/>
                    <a:pt x="0" y="3"/>
                    <a:pt x="1" y="2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5" y="1"/>
                    <a:pt x="6" y="2"/>
                    <a:pt x="6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3" name="Freeform 293"/>
            <p:cNvSpPr>
              <a:spLocks noChangeAspect="1"/>
            </p:cNvSpPr>
            <p:nvPr/>
          </p:nvSpPr>
          <p:spPr bwMode="auto">
            <a:xfrm>
              <a:off x="4795838" y="2168525"/>
              <a:ext cx="9525" cy="15875"/>
            </a:xfrm>
            <a:custGeom>
              <a:avLst/>
              <a:gdLst>
                <a:gd name="T0" fmla="*/ 9525 w 5"/>
                <a:gd name="T1" fmla="*/ 1984 h 8"/>
                <a:gd name="T2" fmla="*/ 7620 w 5"/>
                <a:gd name="T3" fmla="*/ 11906 h 8"/>
                <a:gd name="T4" fmla="*/ 1905 w 5"/>
                <a:gd name="T5" fmla="*/ 13891 h 8"/>
                <a:gd name="T6" fmla="*/ 1905 w 5"/>
                <a:gd name="T7" fmla="*/ 3969 h 8"/>
                <a:gd name="T8" fmla="*/ 9525 w 5"/>
                <a:gd name="T9" fmla="*/ 1984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1"/>
                  </a:moveTo>
                  <a:cubicBezTo>
                    <a:pt x="5" y="2"/>
                    <a:pt x="5" y="4"/>
                    <a:pt x="4" y="6"/>
                  </a:cubicBezTo>
                  <a:cubicBezTo>
                    <a:pt x="3" y="7"/>
                    <a:pt x="1" y="8"/>
                    <a:pt x="1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0"/>
                    <a:pt x="4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4" name="Freeform 294"/>
            <p:cNvSpPr>
              <a:spLocks noChangeAspect="1"/>
            </p:cNvSpPr>
            <p:nvPr/>
          </p:nvSpPr>
          <p:spPr bwMode="auto">
            <a:xfrm>
              <a:off x="4386263" y="2309813"/>
              <a:ext cx="7937" cy="6350"/>
            </a:xfrm>
            <a:custGeom>
              <a:avLst/>
              <a:gdLst>
                <a:gd name="T0" fmla="*/ 0 w 4"/>
                <a:gd name="T1" fmla="*/ 0 h 3"/>
                <a:gd name="T2" fmla="*/ 5953 w 4"/>
                <a:gd name="T3" fmla="*/ 2117 h 3"/>
                <a:gd name="T4" fmla="*/ 5953 w 4"/>
                <a:gd name="T5" fmla="*/ 4233 h 3"/>
                <a:gd name="T6" fmla="*/ 0 w 4"/>
                <a:gd name="T7" fmla="*/ 4233 h 3"/>
                <a:gd name="T8" fmla="*/ 0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0" y="0"/>
                  </a:moveTo>
                  <a:cubicBezTo>
                    <a:pt x="1" y="0"/>
                    <a:pt x="2" y="0"/>
                    <a:pt x="3" y="1"/>
                  </a:cubicBezTo>
                  <a:cubicBezTo>
                    <a:pt x="3" y="1"/>
                    <a:pt x="4" y="2"/>
                    <a:pt x="3" y="2"/>
                  </a:cubicBezTo>
                  <a:cubicBezTo>
                    <a:pt x="3" y="3"/>
                    <a:pt x="1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5" name="Freeform 295"/>
            <p:cNvSpPr>
              <a:spLocks noChangeAspect="1"/>
            </p:cNvSpPr>
            <p:nvPr/>
          </p:nvSpPr>
          <p:spPr bwMode="auto">
            <a:xfrm>
              <a:off x="4384675" y="2317750"/>
              <a:ext cx="7938" cy="7938"/>
            </a:xfrm>
            <a:custGeom>
              <a:avLst/>
              <a:gdLst>
                <a:gd name="T0" fmla="*/ 1985 w 4"/>
                <a:gd name="T1" fmla="*/ 1985 h 4"/>
                <a:gd name="T2" fmla="*/ 5953 w 4"/>
                <a:gd name="T3" fmla="*/ 3969 h 4"/>
                <a:gd name="T4" fmla="*/ 5953 w 4"/>
                <a:gd name="T5" fmla="*/ 7938 h 4"/>
                <a:gd name="T6" fmla="*/ 1985 w 4"/>
                <a:gd name="T7" fmla="*/ 3969 h 4"/>
                <a:gd name="T8" fmla="*/ 1985 w 4"/>
                <a:gd name="T9" fmla="*/ 198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1" y="1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4" y="3"/>
                    <a:pt x="4" y="4"/>
                    <a:pt x="3" y="4"/>
                  </a:cubicBezTo>
                  <a:cubicBezTo>
                    <a:pt x="2" y="4"/>
                    <a:pt x="1" y="3"/>
                    <a:pt x="1" y="2"/>
                  </a:cubicBezTo>
                  <a:cubicBezTo>
                    <a:pt x="0" y="1"/>
                    <a:pt x="1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6" name="Freeform 296"/>
            <p:cNvSpPr>
              <a:spLocks noChangeAspect="1"/>
            </p:cNvSpPr>
            <p:nvPr/>
          </p:nvSpPr>
          <p:spPr bwMode="auto">
            <a:xfrm>
              <a:off x="4392613" y="2290763"/>
              <a:ext cx="7937" cy="6350"/>
            </a:xfrm>
            <a:custGeom>
              <a:avLst/>
              <a:gdLst>
                <a:gd name="T0" fmla="*/ 1984 w 4"/>
                <a:gd name="T1" fmla="*/ 0 h 3"/>
                <a:gd name="T2" fmla="*/ 5953 w 4"/>
                <a:gd name="T3" fmla="*/ 2117 h 3"/>
                <a:gd name="T4" fmla="*/ 5953 w 4"/>
                <a:gd name="T5" fmla="*/ 6350 h 3"/>
                <a:gd name="T6" fmla="*/ 1984 w 4"/>
                <a:gd name="T7" fmla="*/ 2117 h 3"/>
                <a:gd name="T8" fmla="*/ 1984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1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4" y="3"/>
                    <a:pt x="3" y="3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7" name="Freeform 297"/>
            <p:cNvSpPr>
              <a:spLocks noChangeAspect="1"/>
            </p:cNvSpPr>
            <p:nvPr/>
          </p:nvSpPr>
          <p:spPr bwMode="auto">
            <a:xfrm>
              <a:off x="4375150" y="2297113"/>
              <a:ext cx="7938" cy="4762"/>
            </a:xfrm>
            <a:custGeom>
              <a:avLst/>
              <a:gdLst>
                <a:gd name="T0" fmla="*/ 1985 w 4"/>
                <a:gd name="T1" fmla="*/ 0 h 3"/>
                <a:gd name="T2" fmla="*/ 5953 w 4"/>
                <a:gd name="T3" fmla="*/ 1587 h 3"/>
                <a:gd name="T4" fmla="*/ 5953 w 4"/>
                <a:gd name="T5" fmla="*/ 4762 h 3"/>
                <a:gd name="T6" fmla="*/ 0 w 4"/>
                <a:gd name="T7" fmla="*/ 3175 h 3"/>
                <a:gd name="T8" fmla="*/ 1985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1" y="0"/>
                  </a:moveTo>
                  <a:cubicBezTo>
                    <a:pt x="1" y="0"/>
                    <a:pt x="2" y="1"/>
                    <a:pt x="3" y="1"/>
                  </a:cubicBezTo>
                  <a:cubicBezTo>
                    <a:pt x="3" y="2"/>
                    <a:pt x="4" y="2"/>
                    <a:pt x="3" y="3"/>
                  </a:cubicBezTo>
                  <a:cubicBezTo>
                    <a:pt x="2" y="3"/>
                    <a:pt x="1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8" name="Freeform 298"/>
            <p:cNvSpPr>
              <a:spLocks noChangeAspect="1"/>
            </p:cNvSpPr>
            <p:nvPr/>
          </p:nvSpPr>
          <p:spPr bwMode="auto">
            <a:xfrm>
              <a:off x="4502150" y="2354263"/>
              <a:ext cx="6350" cy="9525"/>
            </a:xfrm>
            <a:custGeom>
              <a:avLst/>
              <a:gdLst>
                <a:gd name="T0" fmla="*/ 4233 w 3"/>
                <a:gd name="T1" fmla="*/ 1905 h 5"/>
                <a:gd name="T2" fmla="*/ 6350 w 3"/>
                <a:gd name="T3" fmla="*/ 5715 h 5"/>
                <a:gd name="T4" fmla="*/ 2117 w 3"/>
                <a:gd name="T5" fmla="*/ 9525 h 5"/>
                <a:gd name="T6" fmla="*/ 0 w 3"/>
                <a:gd name="T7" fmla="*/ 3810 h 5"/>
                <a:gd name="T8" fmla="*/ 4233 w 3"/>
                <a:gd name="T9" fmla="*/ 190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1"/>
                  </a:moveTo>
                  <a:cubicBezTo>
                    <a:pt x="2" y="1"/>
                    <a:pt x="3" y="2"/>
                    <a:pt x="3" y="3"/>
                  </a:cubicBezTo>
                  <a:cubicBezTo>
                    <a:pt x="3" y="4"/>
                    <a:pt x="2" y="5"/>
                    <a:pt x="1" y="5"/>
                  </a:cubicBezTo>
                  <a:cubicBezTo>
                    <a:pt x="1" y="5"/>
                    <a:pt x="0" y="3"/>
                    <a:pt x="0" y="2"/>
                  </a:cubicBezTo>
                  <a:cubicBezTo>
                    <a:pt x="0" y="1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299" name="Freeform 299"/>
            <p:cNvSpPr>
              <a:spLocks noChangeAspect="1"/>
            </p:cNvSpPr>
            <p:nvPr/>
          </p:nvSpPr>
          <p:spPr bwMode="auto">
            <a:xfrm>
              <a:off x="4378325" y="2292350"/>
              <a:ext cx="14288" cy="14288"/>
            </a:xfrm>
            <a:custGeom>
              <a:avLst/>
              <a:gdLst>
                <a:gd name="T0" fmla="*/ 0 w 7"/>
                <a:gd name="T1" fmla="*/ 2041 h 7"/>
                <a:gd name="T2" fmla="*/ 10206 w 7"/>
                <a:gd name="T3" fmla="*/ 8165 h 7"/>
                <a:gd name="T4" fmla="*/ 12247 w 7"/>
                <a:gd name="T5" fmla="*/ 14288 h 7"/>
                <a:gd name="T6" fmla="*/ 6123 w 7"/>
                <a:gd name="T7" fmla="*/ 10206 h 7"/>
                <a:gd name="T8" fmla="*/ 0 w 7"/>
                <a:gd name="T9" fmla="*/ 204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0" y="1"/>
                  </a:moveTo>
                  <a:cubicBezTo>
                    <a:pt x="2" y="0"/>
                    <a:pt x="3" y="2"/>
                    <a:pt x="5" y="4"/>
                  </a:cubicBezTo>
                  <a:cubicBezTo>
                    <a:pt x="5" y="5"/>
                    <a:pt x="7" y="6"/>
                    <a:pt x="6" y="7"/>
                  </a:cubicBezTo>
                  <a:cubicBezTo>
                    <a:pt x="5" y="7"/>
                    <a:pt x="4" y="6"/>
                    <a:pt x="3" y="5"/>
                  </a:cubicBezTo>
                  <a:cubicBezTo>
                    <a:pt x="2" y="4"/>
                    <a:pt x="0" y="2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0" name="Freeform 300"/>
            <p:cNvSpPr>
              <a:spLocks noChangeAspect="1"/>
            </p:cNvSpPr>
            <p:nvPr/>
          </p:nvSpPr>
          <p:spPr bwMode="auto">
            <a:xfrm>
              <a:off x="4705350" y="2260600"/>
              <a:ext cx="12700" cy="12700"/>
            </a:xfrm>
            <a:custGeom>
              <a:avLst/>
              <a:gdLst>
                <a:gd name="T0" fmla="*/ 1814 w 7"/>
                <a:gd name="T1" fmla="*/ 1814 h 7"/>
                <a:gd name="T2" fmla="*/ 9071 w 7"/>
                <a:gd name="T3" fmla="*/ 7257 h 7"/>
                <a:gd name="T4" fmla="*/ 12700 w 7"/>
                <a:gd name="T5" fmla="*/ 12700 h 7"/>
                <a:gd name="T6" fmla="*/ 5443 w 7"/>
                <a:gd name="T7" fmla="*/ 7257 h 7"/>
                <a:gd name="T8" fmla="*/ 1814 w 7"/>
                <a:gd name="T9" fmla="*/ 1814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1" y="1"/>
                  </a:moveTo>
                  <a:cubicBezTo>
                    <a:pt x="3" y="0"/>
                    <a:pt x="4" y="2"/>
                    <a:pt x="5" y="4"/>
                  </a:cubicBezTo>
                  <a:cubicBezTo>
                    <a:pt x="6" y="5"/>
                    <a:pt x="7" y="6"/>
                    <a:pt x="7" y="7"/>
                  </a:cubicBezTo>
                  <a:cubicBezTo>
                    <a:pt x="5" y="7"/>
                    <a:pt x="4" y="5"/>
                    <a:pt x="3" y="4"/>
                  </a:cubicBezTo>
                  <a:cubicBezTo>
                    <a:pt x="2" y="3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1" name="Freeform 301"/>
            <p:cNvSpPr>
              <a:spLocks noChangeAspect="1"/>
            </p:cNvSpPr>
            <p:nvPr/>
          </p:nvSpPr>
          <p:spPr bwMode="auto">
            <a:xfrm>
              <a:off x="4718050" y="2233613"/>
              <a:ext cx="11113" cy="6350"/>
            </a:xfrm>
            <a:custGeom>
              <a:avLst/>
              <a:gdLst>
                <a:gd name="T0" fmla="*/ 0 w 6"/>
                <a:gd name="T1" fmla="*/ 4233 h 3"/>
                <a:gd name="T2" fmla="*/ 5557 w 6"/>
                <a:gd name="T3" fmla="*/ 0 h 3"/>
                <a:gd name="T4" fmla="*/ 11113 w 6"/>
                <a:gd name="T5" fmla="*/ 2117 h 3"/>
                <a:gd name="T6" fmla="*/ 5557 w 6"/>
                <a:gd name="T7" fmla="*/ 4233 h 3"/>
                <a:gd name="T8" fmla="*/ 0 w 6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4" y="0"/>
                    <a:pt x="6" y="0"/>
                    <a:pt x="6" y="1"/>
                  </a:cubicBezTo>
                  <a:cubicBezTo>
                    <a:pt x="5" y="2"/>
                    <a:pt x="4" y="2"/>
                    <a:pt x="3" y="2"/>
                  </a:cubicBezTo>
                  <a:cubicBezTo>
                    <a:pt x="2" y="3"/>
                    <a:pt x="0" y="3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2" name="Freeform 302"/>
            <p:cNvSpPr>
              <a:spLocks noChangeAspect="1"/>
            </p:cNvSpPr>
            <p:nvPr/>
          </p:nvSpPr>
          <p:spPr bwMode="auto">
            <a:xfrm>
              <a:off x="4802188" y="2144713"/>
              <a:ext cx="7937" cy="11112"/>
            </a:xfrm>
            <a:custGeom>
              <a:avLst/>
              <a:gdLst>
                <a:gd name="T0" fmla="*/ 1984 w 4"/>
                <a:gd name="T1" fmla="*/ 9260 h 6"/>
                <a:gd name="T2" fmla="*/ 3969 w 4"/>
                <a:gd name="T3" fmla="*/ 3704 h 6"/>
                <a:gd name="T4" fmla="*/ 7937 w 4"/>
                <a:gd name="T5" fmla="*/ 1852 h 6"/>
                <a:gd name="T6" fmla="*/ 5953 w 4"/>
                <a:gd name="T7" fmla="*/ 7408 h 6"/>
                <a:gd name="T8" fmla="*/ 1984 w 4"/>
                <a:gd name="T9" fmla="*/ 926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1" y="5"/>
                  </a:moveTo>
                  <a:cubicBezTo>
                    <a:pt x="0" y="4"/>
                    <a:pt x="1" y="3"/>
                    <a:pt x="2" y="2"/>
                  </a:cubicBezTo>
                  <a:cubicBezTo>
                    <a:pt x="2" y="1"/>
                    <a:pt x="3" y="0"/>
                    <a:pt x="4" y="1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2" y="4"/>
                    <a:pt x="1" y="6"/>
                    <a:pt x="1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3" name="Freeform 303"/>
            <p:cNvSpPr>
              <a:spLocks noChangeAspect="1"/>
            </p:cNvSpPr>
            <p:nvPr/>
          </p:nvSpPr>
          <p:spPr bwMode="auto">
            <a:xfrm>
              <a:off x="4946650" y="1981200"/>
              <a:ext cx="11113" cy="9525"/>
            </a:xfrm>
            <a:custGeom>
              <a:avLst/>
              <a:gdLst>
                <a:gd name="T0" fmla="*/ 1852 w 6"/>
                <a:gd name="T1" fmla="*/ 1905 h 5"/>
                <a:gd name="T2" fmla="*/ 7409 w 6"/>
                <a:gd name="T3" fmla="*/ 3810 h 5"/>
                <a:gd name="T4" fmla="*/ 9261 w 6"/>
                <a:gd name="T5" fmla="*/ 9525 h 5"/>
                <a:gd name="T6" fmla="*/ 3704 w 6"/>
                <a:gd name="T7" fmla="*/ 5715 h 5"/>
                <a:gd name="T8" fmla="*/ 1852 w 6"/>
                <a:gd name="T9" fmla="*/ 190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1" y="1"/>
                  </a:moveTo>
                  <a:cubicBezTo>
                    <a:pt x="2" y="0"/>
                    <a:pt x="3" y="1"/>
                    <a:pt x="4" y="2"/>
                  </a:cubicBezTo>
                  <a:cubicBezTo>
                    <a:pt x="5" y="3"/>
                    <a:pt x="6" y="4"/>
                    <a:pt x="5" y="5"/>
                  </a:cubicBezTo>
                  <a:cubicBezTo>
                    <a:pt x="4" y="5"/>
                    <a:pt x="3" y="4"/>
                    <a:pt x="2" y="3"/>
                  </a:cubicBezTo>
                  <a:cubicBezTo>
                    <a:pt x="2" y="3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4" name="Freeform 304"/>
            <p:cNvSpPr>
              <a:spLocks noChangeAspect="1"/>
            </p:cNvSpPr>
            <p:nvPr/>
          </p:nvSpPr>
          <p:spPr bwMode="auto">
            <a:xfrm>
              <a:off x="4716463" y="2239963"/>
              <a:ext cx="11112" cy="9525"/>
            </a:xfrm>
            <a:custGeom>
              <a:avLst/>
              <a:gdLst>
                <a:gd name="T0" fmla="*/ 1852 w 6"/>
                <a:gd name="T1" fmla="*/ 7620 h 5"/>
                <a:gd name="T2" fmla="*/ 5556 w 6"/>
                <a:gd name="T3" fmla="*/ 1905 h 5"/>
                <a:gd name="T4" fmla="*/ 11112 w 6"/>
                <a:gd name="T5" fmla="*/ 1905 h 5"/>
                <a:gd name="T6" fmla="*/ 7408 w 6"/>
                <a:gd name="T7" fmla="*/ 7620 h 5"/>
                <a:gd name="T8" fmla="*/ 1852 w 6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1" y="4"/>
                  </a:moveTo>
                  <a:cubicBezTo>
                    <a:pt x="0" y="3"/>
                    <a:pt x="2" y="2"/>
                    <a:pt x="3" y="1"/>
                  </a:cubicBezTo>
                  <a:cubicBezTo>
                    <a:pt x="4" y="1"/>
                    <a:pt x="6" y="0"/>
                    <a:pt x="6" y="1"/>
                  </a:cubicBezTo>
                  <a:cubicBezTo>
                    <a:pt x="6" y="2"/>
                    <a:pt x="5" y="3"/>
                    <a:pt x="4" y="4"/>
                  </a:cubicBezTo>
                  <a:cubicBezTo>
                    <a:pt x="3" y="4"/>
                    <a:pt x="1" y="5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5" name="Freeform 305"/>
            <p:cNvSpPr>
              <a:spLocks noChangeAspect="1"/>
            </p:cNvSpPr>
            <p:nvPr/>
          </p:nvSpPr>
          <p:spPr bwMode="auto">
            <a:xfrm>
              <a:off x="4384675" y="2292350"/>
              <a:ext cx="9525" cy="9525"/>
            </a:xfrm>
            <a:custGeom>
              <a:avLst/>
              <a:gdLst>
                <a:gd name="T0" fmla="*/ 0 w 5"/>
                <a:gd name="T1" fmla="*/ 0 h 5"/>
                <a:gd name="T2" fmla="*/ 7620 w 5"/>
                <a:gd name="T3" fmla="*/ 3810 h 5"/>
                <a:gd name="T4" fmla="*/ 9525 w 5"/>
                <a:gd name="T5" fmla="*/ 9525 h 5"/>
                <a:gd name="T6" fmla="*/ 5715 w 5"/>
                <a:gd name="T7" fmla="*/ 5715 h 5"/>
                <a:gd name="T8" fmla="*/ 0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0"/>
                  </a:moveTo>
                  <a:cubicBezTo>
                    <a:pt x="1" y="0"/>
                    <a:pt x="3" y="2"/>
                    <a:pt x="4" y="2"/>
                  </a:cubicBezTo>
                  <a:cubicBezTo>
                    <a:pt x="5" y="3"/>
                    <a:pt x="5" y="4"/>
                    <a:pt x="5" y="5"/>
                  </a:cubicBezTo>
                  <a:cubicBezTo>
                    <a:pt x="4" y="5"/>
                    <a:pt x="4" y="4"/>
                    <a:pt x="3" y="3"/>
                  </a:cubicBezTo>
                  <a:cubicBezTo>
                    <a:pt x="2" y="2"/>
                    <a:pt x="0" y="1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6" name="Freeform 306"/>
            <p:cNvSpPr>
              <a:spLocks noChangeAspect="1"/>
            </p:cNvSpPr>
            <p:nvPr/>
          </p:nvSpPr>
          <p:spPr bwMode="auto">
            <a:xfrm>
              <a:off x="4900613" y="2471738"/>
              <a:ext cx="17462" cy="46037"/>
            </a:xfrm>
            <a:custGeom>
              <a:avLst/>
              <a:gdLst>
                <a:gd name="T0" fmla="*/ 17462 w 9"/>
                <a:gd name="T1" fmla="*/ 1918 h 24"/>
                <a:gd name="T2" fmla="*/ 9701 w 9"/>
                <a:gd name="T3" fmla="*/ 30691 h 24"/>
                <a:gd name="T4" fmla="*/ 1940 w 9"/>
                <a:gd name="T5" fmla="*/ 44119 h 24"/>
                <a:gd name="T6" fmla="*/ 1940 w 9"/>
                <a:gd name="T7" fmla="*/ 36446 h 24"/>
                <a:gd name="T8" fmla="*/ 9701 w 9"/>
                <a:gd name="T9" fmla="*/ 9591 h 24"/>
                <a:gd name="T10" fmla="*/ 13582 w 9"/>
                <a:gd name="T11" fmla="*/ 1918 h 24"/>
                <a:gd name="T12" fmla="*/ 17462 w 9"/>
                <a:gd name="T13" fmla="*/ 1918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24"/>
                <a:gd name="T23" fmla="*/ 9 w 9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24">
                  <a:moveTo>
                    <a:pt x="9" y="1"/>
                  </a:moveTo>
                  <a:cubicBezTo>
                    <a:pt x="8" y="6"/>
                    <a:pt x="7" y="11"/>
                    <a:pt x="5" y="16"/>
                  </a:cubicBezTo>
                  <a:cubicBezTo>
                    <a:pt x="4" y="18"/>
                    <a:pt x="3" y="21"/>
                    <a:pt x="1" y="23"/>
                  </a:cubicBezTo>
                  <a:cubicBezTo>
                    <a:pt x="0" y="24"/>
                    <a:pt x="1" y="20"/>
                    <a:pt x="1" y="19"/>
                  </a:cubicBezTo>
                  <a:cubicBezTo>
                    <a:pt x="2" y="14"/>
                    <a:pt x="4" y="10"/>
                    <a:pt x="5" y="5"/>
                  </a:cubicBezTo>
                  <a:cubicBezTo>
                    <a:pt x="6" y="4"/>
                    <a:pt x="6" y="2"/>
                    <a:pt x="7" y="1"/>
                  </a:cubicBezTo>
                  <a:cubicBezTo>
                    <a:pt x="7" y="1"/>
                    <a:pt x="9" y="0"/>
                    <a:pt x="9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7" name="Freeform 307"/>
            <p:cNvSpPr>
              <a:spLocks noChangeAspect="1"/>
            </p:cNvSpPr>
            <p:nvPr/>
          </p:nvSpPr>
          <p:spPr bwMode="auto">
            <a:xfrm>
              <a:off x="4937125" y="2452688"/>
              <a:ext cx="28575" cy="39687"/>
            </a:xfrm>
            <a:custGeom>
              <a:avLst/>
              <a:gdLst>
                <a:gd name="T0" fmla="*/ 28575 w 15"/>
                <a:gd name="T1" fmla="*/ 1890 h 21"/>
                <a:gd name="T2" fmla="*/ 15240 w 15"/>
                <a:gd name="T3" fmla="*/ 11339 h 21"/>
                <a:gd name="T4" fmla="*/ 15240 w 15"/>
                <a:gd name="T5" fmla="*/ 28348 h 21"/>
                <a:gd name="T6" fmla="*/ 7620 w 15"/>
                <a:gd name="T7" fmla="*/ 39687 h 21"/>
                <a:gd name="T8" fmla="*/ 7620 w 15"/>
                <a:gd name="T9" fmla="*/ 28348 h 21"/>
                <a:gd name="T10" fmla="*/ 3810 w 15"/>
                <a:gd name="T11" fmla="*/ 15119 h 21"/>
                <a:gd name="T12" fmla="*/ 20955 w 15"/>
                <a:gd name="T13" fmla="*/ 0 h 21"/>
                <a:gd name="T14" fmla="*/ 28575 w 15"/>
                <a:gd name="T15" fmla="*/ 1890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21"/>
                <a:gd name="T26" fmla="*/ 15 w 15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21">
                  <a:moveTo>
                    <a:pt x="15" y="1"/>
                  </a:moveTo>
                  <a:cubicBezTo>
                    <a:pt x="13" y="3"/>
                    <a:pt x="9" y="3"/>
                    <a:pt x="8" y="6"/>
                  </a:cubicBezTo>
                  <a:cubicBezTo>
                    <a:pt x="7" y="9"/>
                    <a:pt x="9" y="12"/>
                    <a:pt x="8" y="15"/>
                  </a:cubicBezTo>
                  <a:cubicBezTo>
                    <a:pt x="7" y="17"/>
                    <a:pt x="6" y="21"/>
                    <a:pt x="4" y="21"/>
                  </a:cubicBezTo>
                  <a:cubicBezTo>
                    <a:pt x="3" y="21"/>
                    <a:pt x="4" y="17"/>
                    <a:pt x="4" y="15"/>
                  </a:cubicBezTo>
                  <a:cubicBezTo>
                    <a:pt x="3" y="13"/>
                    <a:pt x="0" y="10"/>
                    <a:pt x="2" y="8"/>
                  </a:cubicBezTo>
                  <a:cubicBezTo>
                    <a:pt x="3" y="4"/>
                    <a:pt x="8" y="2"/>
                    <a:pt x="11" y="0"/>
                  </a:cubicBezTo>
                  <a:cubicBezTo>
                    <a:pt x="12" y="0"/>
                    <a:pt x="15" y="0"/>
                    <a:pt x="1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8" name="Freeform 308"/>
            <p:cNvSpPr>
              <a:spLocks noChangeAspect="1"/>
            </p:cNvSpPr>
            <p:nvPr/>
          </p:nvSpPr>
          <p:spPr bwMode="auto">
            <a:xfrm>
              <a:off x="4965700" y="2363788"/>
              <a:ext cx="20638" cy="14287"/>
            </a:xfrm>
            <a:custGeom>
              <a:avLst/>
              <a:gdLst>
                <a:gd name="T0" fmla="*/ 1876 w 11"/>
                <a:gd name="T1" fmla="*/ 5358 h 8"/>
                <a:gd name="T2" fmla="*/ 9381 w 11"/>
                <a:gd name="T3" fmla="*/ 8929 h 8"/>
                <a:gd name="T4" fmla="*/ 15009 w 11"/>
                <a:gd name="T5" fmla="*/ 1786 h 8"/>
                <a:gd name="T6" fmla="*/ 20638 w 11"/>
                <a:gd name="T7" fmla="*/ 10715 h 8"/>
                <a:gd name="T8" fmla="*/ 13133 w 11"/>
                <a:gd name="T9" fmla="*/ 12501 h 8"/>
                <a:gd name="T10" fmla="*/ 7505 w 11"/>
                <a:gd name="T11" fmla="*/ 10715 h 8"/>
                <a:gd name="T12" fmla="*/ 3752 w 11"/>
                <a:gd name="T13" fmla="*/ 12501 h 8"/>
                <a:gd name="T14" fmla="*/ 1876 w 11"/>
                <a:gd name="T15" fmla="*/ 5358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8"/>
                <a:gd name="T26" fmla="*/ 11 w 11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8">
                  <a:moveTo>
                    <a:pt x="1" y="3"/>
                  </a:moveTo>
                  <a:cubicBezTo>
                    <a:pt x="2" y="2"/>
                    <a:pt x="4" y="5"/>
                    <a:pt x="5" y="5"/>
                  </a:cubicBezTo>
                  <a:cubicBezTo>
                    <a:pt x="7" y="4"/>
                    <a:pt x="7" y="0"/>
                    <a:pt x="8" y="1"/>
                  </a:cubicBezTo>
                  <a:cubicBezTo>
                    <a:pt x="10" y="1"/>
                    <a:pt x="11" y="4"/>
                    <a:pt x="11" y="6"/>
                  </a:cubicBezTo>
                  <a:cubicBezTo>
                    <a:pt x="11" y="7"/>
                    <a:pt x="9" y="7"/>
                    <a:pt x="7" y="7"/>
                  </a:cubicBezTo>
                  <a:cubicBezTo>
                    <a:pt x="6" y="7"/>
                    <a:pt x="5" y="6"/>
                    <a:pt x="4" y="6"/>
                  </a:cubicBezTo>
                  <a:cubicBezTo>
                    <a:pt x="3" y="6"/>
                    <a:pt x="3" y="8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09" name="Freeform 309"/>
            <p:cNvSpPr>
              <a:spLocks noChangeAspect="1"/>
            </p:cNvSpPr>
            <p:nvPr/>
          </p:nvSpPr>
          <p:spPr bwMode="auto">
            <a:xfrm>
              <a:off x="5022850" y="2368550"/>
              <a:ext cx="15875" cy="14288"/>
            </a:xfrm>
            <a:custGeom>
              <a:avLst/>
              <a:gdLst>
                <a:gd name="T0" fmla="*/ 1984 w 8"/>
                <a:gd name="T1" fmla="*/ 2041 h 7"/>
                <a:gd name="T2" fmla="*/ 13891 w 8"/>
                <a:gd name="T3" fmla="*/ 2041 h 7"/>
                <a:gd name="T4" fmla="*/ 13891 w 8"/>
                <a:gd name="T5" fmla="*/ 12247 h 7"/>
                <a:gd name="T6" fmla="*/ 1984 w 8"/>
                <a:gd name="T7" fmla="*/ 10206 h 7"/>
                <a:gd name="T8" fmla="*/ 3969 w 8"/>
                <a:gd name="T9" fmla="*/ 6123 h 7"/>
                <a:gd name="T10" fmla="*/ 1984 w 8"/>
                <a:gd name="T11" fmla="*/ 2041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7"/>
                <a:gd name="T20" fmla="*/ 8 w 8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7">
                  <a:moveTo>
                    <a:pt x="1" y="1"/>
                  </a:moveTo>
                  <a:cubicBezTo>
                    <a:pt x="2" y="1"/>
                    <a:pt x="5" y="0"/>
                    <a:pt x="7" y="1"/>
                  </a:cubicBezTo>
                  <a:cubicBezTo>
                    <a:pt x="8" y="2"/>
                    <a:pt x="8" y="5"/>
                    <a:pt x="7" y="6"/>
                  </a:cubicBezTo>
                  <a:cubicBezTo>
                    <a:pt x="5" y="7"/>
                    <a:pt x="3" y="6"/>
                    <a:pt x="1" y="5"/>
                  </a:cubicBezTo>
                  <a:cubicBezTo>
                    <a:pt x="0" y="5"/>
                    <a:pt x="2" y="4"/>
                    <a:pt x="2" y="3"/>
                  </a:cubicBezTo>
                  <a:cubicBezTo>
                    <a:pt x="2" y="2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0" name="Freeform 310"/>
            <p:cNvSpPr>
              <a:spLocks noChangeAspect="1"/>
            </p:cNvSpPr>
            <p:nvPr/>
          </p:nvSpPr>
          <p:spPr bwMode="auto">
            <a:xfrm>
              <a:off x="4803775" y="2063750"/>
              <a:ext cx="11113" cy="19050"/>
            </a:xfrm>
            <a:custGeom>
              <a:avLst/>
              <a:gdLst>
                <a:gd name="T0" fmla="*/ 9261 w 6"/>
                <a:gd name="T1" fmla="*/ 1905 h 10"/>
                <a:gd name="T2" fmla="*/ 9261 w 6"/>
                <a:gd name="T3" fmla="*/ 11430 h 10"/>
                <a:gd name="T4" fmla="*/ 3704 w 6"/>
                <a:gd name="T5" fmla="*/ 17145 h 10"/>
                <a:gd name="T6" fmla="*/ 3704 w 6"/>
                <a:gd name="T7" fmla="*/ 7620 h 10"/>
                <a:gd name="T8" fmla="*/ 9261 w 6"/>
                <a:gd name="T9" fmla="*/ 1905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0"/>
                <a:gd name="T17" fmla="*/ 6 w 6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0">
                  <a:moveTo>
                    <a:pt x="5" y="1"/>
                  </a:moveTo>
                  <a:cubicBezTo>
                    <a:pt x="6" y="2"/>
                    <a:pt x="6" y="5"/>
                    <a:pt x="5" y="6"/>
                  </a:cubicBezTo>
                  <a:cubicBezTo>
                    <a:pt x="4" y="8"/>
                    <a:pt x="3" y="10"/>
                    <a:pt x="2" y="9"/>
                  </a:cubicBezTo>
                  <a:cubicBezTo>
                    <a:pt x="0" y="8"/>
                    <a:pt x="1" y="5"/>
                    <a:pt x="2" y="4"/>
                  </a:cubicBezTo>
                  <a:cubicBezTo>
                    <a:pt x="2" y="2"/>
                    <a:pt x="4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1" name="Freeform 311"/>
            <p:cNvSpPr>
              <a:spLocks noChangeAspect="1"/>
            </p:cNvSpPr>
            <p:nvPr/>
          </p:nvSpPr>
          <p:spPr bwMode="auto">
            <a:xfrm>
              <a:off x="4821238" y="2054225"/>
              <a:ext cx="11112" cy="15875"/>
            </a:xfrm>
            <a:custGeom>
              <a:avLst/>
              <a:gdLst>
                <a:gd name="T0" fmla="*/ 9260 w 6"/>
                <a:gd name="T1" fmla="*/ 1984 h 8"/>
                <a:gd name="T2" fmla="*/ 11112 w 6"/>
                <a:gd name="T3" fmla="*/ 7938 h 8"/>
                <a:gd name="T4" fmla="*/ 3704 w 6"/>
                <a:gd name="T5" fmla="*/ 13891 h 8"/>
                <a:gd name="T6" fmla="*/ 1852 w 6"/>
                <a:gd name="T7" fmla="*/ 3969 h 8"/>
                <a:gd name="T8" fmla="*/ 9260 w 6"/>
                <a:gd name="T9" fmla="*/ 1984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5" y="1"/>
                  </a:moveTo>
                  <a:cubicBezTo>
                    <a:pt x="6" y="1"/>
                    <a:pt x="6" y="3"/>
                    <a:pt x="6" y="4"/>
                  </a:cubicBezTo>
                  <a:cubicBezTo>
                    <a:pt x="5" y="5"/>
                    <a:pt x="3" y="8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2" y="1"/>
                    <a:pt x="4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2" name="Freeform 312"/>
            <p:cNvSpPr>
              <a:spLocks noChangeAspect="1"/>
            </p:cNvSpPr>
            <p:nvPr/>
          </p:nvSpPr>
          <p:spPr bwMode="auto">
            <a:xfrm>
              <a:off x="4838700" y="2049463"/>
              <a:ext cx="14288" cy="17462"/>
            </a:xfrm>
            <a:custGeom>
              <a:avLst/>
              <a:gdLst>
                <a:gd name="T0" fmla="*/ 12502 w 8"/>
                <a:gd name="T1" fmla="*/ 1940 h 9"/>
                <a:gd name="T2" fmla="*/ 5358 w 8"/>
                <a:gd name="T3" fmla="*/ 3880 h 9"/>
                <a:gd name="T4" fmla="*/ 1786 w 8"/>
                <a:gd name="T5" fmla="*/ 13582 h 9"/>
                <a:gd name="T6" fmla="*/ 12502 w 8"/>
                <a:gd name="T7" fmla="*/ 9701 h 9"/>
                <a:gd name="T8" fmla="*/ 12502 w 8"/>
                <a:gd name="T9" fmla="*/ 194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7" y="1"/>
                  </a:moveTo>
                  <a:cubicBezTo>
                    <a:pt x="6" y="0"/>
                    <a:pt x="4" y="1"/>
                    <a:pt x="3" y="2"/>
                  </a:cubicBezTo>
                  <a:cubicBezTo>
                    <a:pt x="1" y="3"/>
                    <a:pt x="0" y="6"/>
                    <a:pt x="1" y="7"/>
                  </a:cubicBezTo>
                  <a:cubicBezTo>
                    <a:pt x="3" y="9"/>
                    <a:pt x="5" y="6"/>
                    <a:pt x="7" y="5"/>
                  </a:cubicBezTo>
                  <a:cubicBezTo>
                    <a:pt x="7" y="4"/>
                    <a:pt x="8" y="2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3" name="Freeform 313"/>
            <p:cNvSpPr>
              <a:spLocks noChangeAspect="1"/>
            </p:cNvSpPr>
            <p:nvPr/>
          </p:nvSpPr>
          <p:spPr bwMode="auto">
            <a:xfrm>
              <a:off x="4919663" y="1997075"/>
              <a:ext cx="14287" cy="12700"/>
            </a:xfrm>
            <a:custGeom>
              <a:avLst/>
              <a:gdLst>
                <a:gd name="T0" fmla="*/ 12246 w 7"/>
                <a:gd name="T1" fmla="*/ 0 h 6"/>
                <a:gd name="T2" fmla="*/ 6123 w 7"/>
                <a:gd name="T3" fmla="*/ 2117 h 6"/>
                <a:gd name="T4" fmla="*/ 2041 w 7"/>
                <a:gd name="T5" fmla="*/ 10583 h 6"/>
                <a:gd name="T6" fmla="*/ 12246 w 7"/>
                <a:gd name="T7" fmla="*/ 6350 h 6"/>
                <a:gd name="T8" fmla="*/ 12246 w 7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2"/>
                    <a:pt x="0" y="4"/>
                    <a:pt x="1" y="5"/>
                  </a:cubicBezTo>
                  <a:cubicBezTo>
                    <a:pt x="3" y="6"/>
                    <a:pt x="4" y="4"/>
                    <a:pt x="6" y="3"/>
                  </a:cubicBezTo>
                  <a:cubicBezTo>
                    <a:pt x="6" y="2"/>
                    <a:pt x="7" y="1"/>
                    <a:pt x="6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4" name="Freeform 314"/>
            <p:cNvSpPr>
              <a:spLocks noChangeAspect="1"/>
            </p:cNvSpPr>
            <p:nvPr/>
          </p:nvSpPr>
          <p:spPr bwMode="auto">
            <a:xfrm>
              <a:off x="4933950" y="1990725"/>
              <a:ext cx="12700" cy="11113"/>
            </a:xfrm>
            <a:custGeom>
              <a:avLst/>
              <a:gdLst>
                <a:gd name="T0" fmla="*/ 10886 w 7"/>
                <a:gd name="T1" fmla="*/ 0 h 6"/>
                <a:gd name="T2" fmla="*/ 5443 w 7"/>
                <a:gd name="T3" fmla="*/ 1852 h 6"/>
                <a:gd name="T4" fmla="*/ 1814 w 7"/>
                <a:gd name="T5" fmla="*/ 9261 h 6"/>
                <a:gd name="T6" fmla="*/ 10886 w 7"/>
                <a:gd name="T7" fmla="*/ 5557 h 6"/>
                <a:gd name="T8" fmla="*/ 10886 w 7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0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2"/>
                    <a:pt x="0" y="4"/>
                    <a:pt x="1" y="5"/>
                  </a:cubicBezTo>
                  <a:cubicBezTo>
                    <a:pt x="2" y="6"/>
                    <a:pt x="4" y="4"/>
                    <a:pt x="6" y="3"/>
                  </a:cubicBezTo>
                  <a:cubicBezTo>
                    <a:pt x="6" y="2"/>
                    <a:pt x="7" y="1"/>
                    <a:pt x="6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5" name="Freeform 315"/>
            <p:cNvSpPr>
              <a:spLocks noChangeAspect="1"/>
            </p:cNvSpPr>
            <p:nvPr/>
          </p:nvSpPr>
          <p:spPr bwMode="auto">
            <a:xfrm>
              <a:off x="4860925" y="2014538"/>
              <a:ext cx="19050" cy="25400"/>
            </a:xfrm>
            <a:custGeom>
              <a:avLst/>
              <a:gdLst>
                <a:gd name="T0" fmla="*/ 13335 w 10"/>
                <a:gd name="T1" fmla="*/ 0 h 13"/>
                <a:gd name="T2" fmla="*/ 17145 w 10"/>
                <a:gd name="T3" fmla="*/ 11723 h 13"/>
                <a:gd name="T4" fmla="*/ 1905 w 10"/>
                <a:gd name="T5" fmla="*/ 15631 h 13"/>
                <a:gd name="T6" fmla="*/ 0 w 10"/>
                <a:gd name="T7" fmla="*/ 23446 h 13"/>
                <a:gd name="T8" fmla="*/ 1905 w 10"/>
                <a:gd name="T9" fmla="*/ 9769 h 13"/>
                <a:gd name="T10" fmla="*/ 13335 w 10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3"/>
                <a:gd name="T20" fmla="*/ 10 w 10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3">
                  <a:moveTo>
                    <a:pt x="7" y="0"/>
                  </a:moveTo>
                  <a:cubicBezTo>
                    <a:pt x="9" y="0"/>
                    <a:pt x="10" y="4"/>
                    <a:pt x="9" y="6"/>
                  </a:cubicBezTo>
                  <a:cubicBezTo>
                    <a:pt x="7" y="8"/>
                    <a:pt x="3" y="7"/>
                    <a:pt x="1" y="8"/>
                  </a:cubicBezTo>
                  <a:cubicBezTo>
                    <a:pt x="0" y="9"/>
                    <a:pt x="0" y="13"/>
                    <a:pt x="0" y="12"/>
                  </a:cubicBezTo>
                  <a:cubicBezTo>
                    <a:pt x="0" y="10"/>
                    <a:pt x="0" y="7"/>
                    <a:pt x="1" y="5"/>
                  </a:cubicBezTo>
                  <a:cubicBezTo>
                    <a:pt x="2" y="3"/>
                    <a:pt x="4" y="0"/>
                    <a:pt x="7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6" name="Freeform 316"/>
            <p:cNvSpPr>
              <a:spLocks noChangeAspect="1"/>
            </p:cNvSpPr>
            <p:nvPr/>
          </p:nvSpPr>
          <p:spPr bwMode="auto">
            <a:xfrm>
              <a:off x="4841875" y="2024063"/>
              <a:ext cx="15875" cy="23812"/>
            </a:xfrm>
            <a:custGeom>
              <a:avLst/>
              <a:gdLst>
                <a:gd name="T0" fmla="*/ 13891 w 8"/>
                <a:gd name="T1" fmla="*/ 3969 h 12"/>
                <a:gd name="T2" fmla="*/ 15875 w 8"/>
                <a:gd name="T3" fmla="*/ 19843 h 12"/>
                <a:gd name="T4" fmla="*/ 7938 w 8"/>
                <a:gd name="T5" fmla="*/ 23812 h 12"/>
                <a:gd name="T6" fmla="*/ 7938 w 8"/>
                <a:gd name="T7" fmla="*/ 17859 h 12"/>
                <a:gd name="T8" fmla="*/ 1984 w 8"/>
                <a:gd name="T9" fmla="*/ 17859 h 12"/>
                <a:gd name="T10" fmla="*/ 3969 w 8"/>
                <a:gd name="T11" fmla="*/ 11906 h 12"/>
                <a:gd name="T12" fmla="*/ 9922 w 8"/>
                <a:gd name="T13" fmla="*/ 11906 h 12"/>
                <a:gd name="T14" fmla="*/ 13891 w 8"/>
                <a:gd name="T15" fmla="*/ 3969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12"/>
                <a:gd name="T26" fmla="*/ 8 w 8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12">
                  <a:moveTo>
                    <a:pt x="7" y="2"/>
                  </a:moveTo>
                  <a:cubicBezTo>
                    <a:pt x="8" y="4"/>
                    <a:pt x="8" y="7"/>
                    <a:pt x="8" y="10"/>
                  </a:cubicBezTo>
                  <a:cubicBezTo>
                    <a:pt x="7" y="11"/>
                    <a:pt x="6" y="12"/>
                    <a:pt x="4" y="12"/>
                  </a:cubicBezTo>
                  <a:cubicBezTo>
                    <a:pt x="3" y="12"/>
                    <a:pt x="5" y="10"/>
                    <a:pt x="4" y="9"/>
                  </a:cubicBezTo>
                  <a:cubicBezTo>
                    <a:pt x="3" y="9"/>
                    <a:pt x="1" y="10"/>
                    <a:pt x="1" y="9"/>
                  </a:cubicBezTo>
                  <a:cubicBezTo>
                    <a:pt x="0" y="8"/>
                    <a:pt x="1" y="6"/>
                    <a:pt x="2" y="6"/>
                  </a:cubicBezTo>
                  <a:cubicBezTo>
                    <a:pt x="2" y="5"/>
                    <a:pt x="4" y="6"/>
                    <a:pt x="5" y="6"/>
                  </a:cubicBezTo>
                  <a:cubicBezTo>
                    <a:pt x="6" y="5"/>
                    <a:pt x="6" y="0"/>
                    <a:pt x="7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7" name="Freeform 317"/>
            <p:cNvSpPr>
              <a:spLocks noChangeAspect="1"/>
            </p:cNvSpPr>
            <p:nvPr/>
          </p:nvSpPr>
          <p:spPr bwMode="auto">
            <a:xfrm>
              <a:off x="4894263" y="2006600"/>
              <a:ext cx="20637" cy="25400"/>
            </a:xfrm>
            <a:custGeom>
              <a:avLst/>
              <a:gdLst>
                <a:gd name="T0" fmla="*/ 20637 w 11"/>
                <a:gd name="T1" fmla="*/ 1954 h 13"/>
                <a:gd name="T2" fmla="*/ 16885 w 11"/>
                <a:gd name="T3" fmla="*/ 17585 h 13"/>
                <a:gd name="T4" fmla="*/ 11257 w 11"/>
                <a:gd name="T5" fmla="*/ 19538 h 13"/>
                <a:gd name="T6" fmla="*/ 5628 w 11"/>
                <a:gd name="T7" fmla="*/ 17585 h 13"/>
                <a:gd name="T8" fmla="*/ 3752 w 11"/>
                <a:gd name="T9" fmla="*/ 25400 h 13"/>
                <a:gd name="T10" fmla="*/ 1876 w 11"/>
                <a:gd name="T11" fmla="*/ 15631 h 13"/>
                <a:gd name="T12" fmla="*/ 1876 w 11"/>
                <a:gd name="T13" fmla="*/ 5862 h 13"/>
                <a:gd name="T14" fmla="*/ 15009 w 11"/>
                <a:gd name="T15" fmla="*/ 1954 h 13"/>
                <a:gd name="T16" fmla="*/ 20637 w 11"/>
                <a:gd name="T17" fmla="*/ 1954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3"/>
                <a:gd name="T29" fmla="*/ 11 w 11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3">
                  <a:moveTo>
                    <a:pt x="11" y="1"/>
                  </a:moveTo>
                  <a:cubicBezTo>
                    <a:pt x="11" y="4"/>
                    <a:pt x="11" y="7"/>
                    <a:pt x="9" y="9"/>
                  </a:cubicBezTo>
                  <a:cubicBezTo>
                    <a:pt x="9" y="10"/>
                    <a:pt x="7" y="10"/>
                    <a:pt x="6" y="10"/>
                  </a:cubicBezTo>
                  <a:cubicBezTo>
                    <a:pt x="5" y="10"/>
                    <a:pt x="4" y="9"/>
                    <a:pt x="3" y="9"/>
                  </a:cubicBezTo>
                  <a:cubicBezTo>
                    <a:pt x="2" y="10"/>
                    <a:pt x="3" y="13"/>
                    <a:pt x="2" y="13"/>
                  </a:cubicBezTo>
                  <a:cubicBezTo>
                    <a:pt x="0" y="12"/>
                    <a:pt x="1" y="10"/>
                    <a:pt x="1" y="8"/>
                  </a:cubicBezTo>
                  <a:cubicBezTo>
                    <a:pt x="1" y="7"/>
                    <a:pt x="0" y="4"/>
                    <a:pt x="1" y="3"/>
                  </a:cubicBezTo>
                  <a:cubicBezTo>
                    <a:pt x="3" y="1"/>
                    <a:pt x="6" y="1"/>
                    <a:pt x="8" y="1"/>
                  </a:cubicBezTo>
                  <a:cubicBezTo>
                    <a:pt x="9" y="0"/>
                    <a:pt x="11" y="0"/>
                    <a:pt x="1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8" name="Freeform 318"/>
            <p:cNvSpPr>
              <a:spLocks noChangeAspect="1"/>
            </p:cNvSpPr>
            <p:nvPr/>
          </p:nvSpPr>
          <p:spPr bwMode="auto">
            <a:xfrm>
              <a:off x="4999038" y="1955800"/>
              <a:ext cx="31750" cy="17463"/>
            </a:xfrm>
            <a:custGeom>
              <a:avLst/>
              <a:gdLst>
                <a:gd name="T0" fmla="*/ 29882 w 17"/>
                <a:gd name="T1" fmla="*/ 1940 h 9"/>
                <a:gd name="T2" fmla="*/ 18676 w 17"/>
                <a:gd name="T3" fmla="*/ 13582 h 9"/>
                <a:gd name="T4" fmla="*/ 1868 w 17"/>
                <a:gd name="T5" fmla="*/ 13582 h 9"/>
                <a:gd name="T6" fmla="*/ 11206 w 17"/>
                <a:gd name="T7" fmla="*/ 5821 h 9"/>
                <a:gd name="T8" fmla="*/ 22412 w 17"/>
                <a:gd name="T9" fmla="*/ 3881 h 9"/>
                <a:gd name="T10" fmla="*/ 29882 w 17"/>
                <a:gd name="T11" fmla="*/ 194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9"/>
                <a:gd name="T20" fmla="*/ 17 w 1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9">
                  <a:moveTo>
                    <a:pt x="16" y="1"/>
                  </a:moveTo>
                  <a:cubicBezTo>
                    <a:pt x="15" y="4"/>
                    <a:pt x="13" y="6"/>
                    <a:pt x="10" y="7"/>
                  </a:cubicBezTo>
                  <a:cubicBezTo>
                    <a:pt x="7" y="8"/>
                    <a:pt x="3" y="9"/>
                    <a:pt x="1" y="7"/>
                  </a:cubicBezTo>
                  <a:cubicBezTo>
                    <a:pt x="0" y="6"/>
                    <a:pt x="4" y="4"/>
                    <a:pt x="6" y="3"/>
                  </a:cubicBezTo>
                  <a:cubicBezTo>
                    <a:pt x="7" y="2"/>
                    <a:pt x="10" y="2"/>
                    <a:pt x="12" y="2"/>
                  </a:cubicBezTo>
                  <a:cubicBezTo>
                    <a:pt x="13" y="2"/>
                    <a:pt x="17" y="0"/>
                    <a:pt x="1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19" name="Freeform 319"/>
            <p:cNvSpPr>
              <a:spLocks noChangeAspect="1"/>
            </p:cNvSpPr>
            <p:nvPr/>
          </p:nvSpPr>
          <p:spPr bwMode="auto">
            <a:xfrm>
              <a:off x="5018088" y="1965325"/>
              <a:ext cx="14287" cy="15875"/>
            </a:xfrm>
            <a:custGeom>
              <a:avLst/>
              <a:gdLst>
                <a:gd name="T0" fmla="*/ 5358 w 8"/>
                <a:gd name="T1" fmla="*/ 3969 h 8"/>
                <a:gd name="T2" fmla="*/ 0 w 8"/>
                <a:gd name="T3" fmla="*/ 7938 h 8"/>
                <a:gd name="T4" fmla="*/ 3572 w 8"/>
                <a:gd name="T5" fmla="*/ 15875 h 8"/>
                <a:gd name="T6" fmla="*/ 12501 w 8"/>
                <a:gd name="T7" fmla="*/ 5953 h 8"/>
                <a:gd name="T8" fmla="*/ 12501 w 8"/>
                <a:gd name="T9" fmla="*/ 0 h 8"/>
                <a:gd name="T10" fmla="*/ 5358 w 8"/>
                <a:gd name="T11" fmla="*/ 3969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8"/>
                <a:gd name="T20" fmla="*/ 8 w 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8">
                  <a:moveTo>
                    <a:pt x="3" y="2"/>
                  </a:moveTo>
                  <a:cubicBezTo>
                    <a:pt x="2" y="3"/>
                    <a:pt x="0" y="3"/>
                    <a:pt x="0" y="4"/>
                  </a:cubicBezTo>
                  <a:cubicBezTo>
                    <a:pt x="0" y="5"/>
                    <a:pt x="1" y="8"/>
                    <a:pt x="2" y="8"/>
                  </a:cubicBezTo>
                  <a:cubicBezTo>
                    <a:pt x="4" y="8"/>
                    <a:pt x="6" y="5"/>
                    <a:pt x="7" y="3"/>
                  </a:cubicBezTo>
                  <a:cubicBezTo>
                    <a:pt x="8" y="3"/>
                    <a:pt x="8" y="1"/>
                    <a:pt x="7" y="0"/>
                  </a:cubicBezTo>
                  <a:cubicBezTo>
                    <a:pt x="6" y="0"/>
                    <a:pt x="4" y="2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0" name="Freeform 320"/>
            <p:cNvSpPr>
              <a:spLocks noChangeAspect="1"/>
            </p:cNvSpPr>
            <p:nvPr/>
          </p:nvSpPr>
          <p:spPr bwMode="auto">
            <a:xfrm>
              <a:off x="4865688" y="2882900"/>
              <a:ext cx="4762" cy="25400"/>
            </a:xfrm>
            <a:custGeom>
              <a:avLst/>
              <a:gdLst>
                <a:gd name="T0" fmla="*/ 3175 w 3"/>
                <a:gd name="T1" fmla="*/ 1954 h 13"/>
                <a:gd name="T2" fmla="*/ 3175 w 3"/>
                <a:gd name="T3" fmla="*/ 25400 h 13"/>
                <a:gd name="T4" fmla="*/ 1587 w 3"/>
                <a:gd name="T5" fmla="*/ 13677 h 13"/>
                <a:gd name="T6" fmla="*/ 3175 w 3"/>
                <a:gd name="T7" fmla="*/ 1954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3"/>
                <a:gd name="T14" fmla="*/ 3 w 3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3">
                  <a:moveTo>
                    <a:pt x="2" y="1"/>
                  </a:moveTo>
                  <a:cubicBezTo>
                    <a:pt x="2" y="5"/>
                    <a:pt x="3" y="9"/>
                    <a:pt x="2" y="13"/>
                  </a:cubicBezTo>
                  <a:cubicBezTo>
                    <a:pt x="1" y="12"/>
                    <a:pt x="0" y="9"/>
                    <a:pt x="1" y="7"/>
                  </a:cubicBezTo>
                  <a:cubicBezTo>
                    <a:pt x="1" y="6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1" name="Freeform 321"/>
            <p:cNvSpPr>
              <a:spLocks noChangeAspect="1"/>
            </p:cNvSpPr>
            <p:nvPr/>
          </p:nvSpPr>
          <p:spPr bwMode="auto">
            <a:xfrm>
              <a:off x="4876800" y="2916238"/>
              <a:ext cx="14288" cy="14287"/>
            </a:xfrm>
            <a:custGeom>
              <a:avLst/>
              <a:gdLst>
                <a:gd name="T0" fmla="*/ 1786 w 8"/>
                <a:gd name="T1" fmla="*/ 1786 h 8"/>
                <a:gd name="T2" fmla="*/ 14288 w 8"/>
                <a:gd name="T3" fmla="*/ 14287 h 8"/>
                <a:gd name="T4" fmla="*/ 7144 w 8"/>
                <a:gd name="T5" fmla="*/ 8929 h 8"/>
                <a:gd name="T6" fmla="*/ 1786 w 8"/>
                <a:gd name="T7" fmla="*/ 1786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8"/>
                <a:gd name="T14" fmla="*/ 8 w 8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8">
                  <a:moveTo>
                    <a:pt x="1" y="1"/>
                  </a:moveTo>
                  <a:cubicBezTo>
                    <a:pt x="4" y="3"/>
                    <a:pt x="7" y="5"/>
                    <a:pt x="8" y="8"/>
                  </a:cubicBezTo>
                  <a:cubicBezTo>
                    <a:pt x="7" y="7"/>
                    <a:pt x="5" y="6"/>
                    <a:pt x="4" y="5"/>
                  </a:cubicBezTo>
                  <a:cubicBezTo>
                    <a:pt x="3" y="4"/>
                    <a:pt x="0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2" name="Freeform 322"/>
            <p:cNvSpPr>
              <a:spLocks noChangeAspect="1"/>
            </p:cNvSpPr>
            <p:nvPr/>
          </p:nvSpPr>
          <p:spPr bwMode="auto">
            <a:xfrm>
              <a:off x="4872038" y="2898775"/>
              <a:ext cx="12700" cy="11113"/>
            </a:xfrm>
            <a:custGeom>
              <a:avLst/>
              <a:gdLst>
                <a:gd name="T0" fmla="*/ 2117 w 6"/>
                <a:gd name="T1" fmla="*/ 1852 h 6"/>
                <a:gd name="T2" fmla="*/ 12700 w 6"/>
                <a:gd name="T3" fmla="*/ 11113 h 6"/>
                <a:gd name="T4" fmla="*/ 6350 w 6"/>
                <a:gd name="T5" fmla="*/ 7409 h 6"/>
                <a:gd name="T6" fmla="*/ 2117 w 6"/>
                <a:gd name="T7" fmla="*/ 1852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1" y="1"/>
                  </a:moveTo>
                  <a:cubicBezTo>
                    <a:pt x="3" y="2"/>
                    <a:pt x="5" y="4"/>
                    <a:pt x="6" y="6"/>
                  </a:cubicBezTo>
                  <a:cubicBezTo>
                    <a:pt x="5" y="6"/>
                    <a:pt x="3" y="5"/>
                    <a:pt x="3" y="4"/>
                  </a:cubicBezTo>
                  <a:cubicBezTo>
                    <a:pt x="2" y="3"/>
                    <a:pt x="0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3" name="Freeform 323"/>
            <p:cNvSpPr>
              <a:spLocks noChangeAspect="1"/>
            </p:cNvSpPr>
            <p:nvPr/>
          </p:nvSpPr>
          <p:spPr bwMode="auto">
            <a:xfrm>
              <a:off x="4916488" y="2947988"/>
              <a:ext cx="15875" cy="4762"/>
            </a:xfrm>
            <a:custGeom>
              <a:avLst/>
              <a:gdLst>
                <a:gd name="T0" fmla="*/ 0 w 8"/>
                <a:gd name="T1" fmla="*/ 0 h 2"/>
                <a:gd name="T2" fmla="*/ 15875 w 8"/>
                <a:gd name="T3" fmla="*/ 4762 h 2"/>
                <a:gd name="T4" fmla="*/ 7938 w 8"/>
                <a:gd name="T5" fmla="*/ 4762 h 2"/>
                <a:gd name="T6" fmla="*/ 0 w 8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2"/>
                <a:gd name="T14" fmla="*/ 8 w 8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2">
                  <a:moveTo>
                    <a:pt x="0" y="0"/>
                  </a:moveTo>
                  <a:cubicBezTo>
                    <a:pt x="3" y="0"/>
                    <a:pt x="6" y="1"/>
                    <a:pt x="8" y="2"/>
                  </a:cubicBezTo>
                  <a:cubicBezTo>
                    <a:pt x="7" y="2"/>
                    <a:pt x="5" y="2"/>
                    <a:pt x="4" y="2"/>
                  </a:cubicBezTo>
                  <a:cubicBezTo>
                    <a:pt x="3" y="1"/>
                    <a:pt x="0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4" name="Freeform 324"/>
            <p:cNvSpPr>
              <a:spLocks noChangeAspect="1"/>
            </p:cNvSpPr>
            <p:nvPr/>
          </p:nvSpPr>
          <p:spPr bwMode="auto">
            <a:xfrm>
              <a:off x="4922838" y="2955925"/>
              <a:ext cx="15875" cy="3175"/>
            </a:xfrm>
            <a:custGeom>
              <a:avLst/>
              <a:gdLst>
                <a:gd name="T0" fmla="*/ 1764 w 9"/>
                <a:gd name="T1" fmla="*/ 1588 h 2"/>
                <a:gd name="T2" fmla="*/ 15875 w 9"/>
                <a:gd name="T3" fmla="*/ 1588 h 2"/>
                <a:gd name="T4" fmla="*/ 8819 w 9"/>
                <a:gd name="T5" fmla="*/ 0 h 2"/>
                <a:gd name="T6" fmla="*/ 1764 w 9"/>
                <a:gd name="T7" fmla="*/ 1588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2"/>
                <a:gd name="T14" fmla="*/ 9 w 9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2">
                  <a:moveTo>
                    <a:pt x="1" y="1"/>
                  </a:moveTo>
                  <a:cubicBezTo>
                    <a:pt x="3" y="2"/>
                    <a:pt x="6" y="2"/>
                    <a:pt x="9" y="1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4" y="1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5" name="Freeform 325"/>
            <p:cNvSpPr>
              <a:spLocks noChangeAspect="1"/>
            </p:cNvSpPr>
            <p:nvPr/>
          </p:nvSpPr>
          <p:spPr bwMode="auto">
            <a:xfrm>
              <a:off x="5002213" y="2543175"/>
              <a:ext cx="7937" cy="12700"/>
            </a:xfrm>
            <a:custGeom>
              <a:avLst/>
              <a:gdLst>
                <a:gd name="T0" fmla="*/ 5953 w 4"/>
                <a:gd name="T1" fmla="*/ 1814 h 7"/>
                <a:gd name="T2" fmla="*/ 1984 w 4"/>
                <a:gd name="T3" fmla="*/ 5443 h 7"/>
                <a:gd name="T4" fmla="*/ 1984 w 4"/>
                <a:gd name="T5" fmla="*/ 10886 h 7"/>
                <a:gd name="T6" fmla="*/ 5953 w 4"/>
                <a:gd name="T7" fmla="*/ 7257 h 7"/>
                <a:gd name="T8" fmla="*/ 5953 w 4"/>
                <a:gd name="T9" fmla="*/ 1814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7"/>
                <a:gd name="T17" fmla="*/ 4 w 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7">
                  <a:moveTo>
                    <a:pt x="3" y="1"/>
                  </a:moveTo>
                  <a:cubicBezTo>
                    <a:pt x="2" y="0"/>
                    <a:pt x="2" y="2"/>
                    <a:pt x="1" y="3"/>
                  </a:cubicBezTo>
                  <a:cubicBezTo>
                    <a:pt x="1" y="4"/>
                    <a:pt x="0" y="6"/>
                    <a:pt x="1" y="6"/>
                  </a:cubicBezTo>
                  <a:cubicBezTo>
                    <a:pt x="2" y="7"/>
                    <a:pt x="2" y="5"/>
                    <a:pt x="3" y="4"/>
                  </a:cubicBezTo>
                  <a:cubicBezTo>
                    <a:pt x="3" y="3"/>
                    <a:pt x="4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6" name="Freeform 326"/>
            <p:cNvSpPr>
              <a:spLocks noChangeAspect="1"/>
            </p:cNvSpPr>
            <p:nvPr/>
          </p:nvSpPr>
          <p:spPr bwMode="auto">
            <a:xfrm>
              <a:off x="5072063" y="3079750"/>
              <a:ext cx="41275" cy="36513"/>
            </a:xfrm>
            <a:custGeom>
              <a:avLst/>
              <a:gdLst>
                <a:gd name="T0" fmla="*/ 0 w 21"/>
                <a:gd name="T1" fmla="*/ 3843 h 19"/>
                <a:gd name="T2" fmla="*/ 7862 w 21"/>
                <a:gd name="T3" fmla="*/ 1922 h 19"/>
                <a:gd name="T4" fmla="*/ 17689 w 21"/>
                <a:gd name="T5" fmla="*/ 7687 h 19"/>
                <a:gd name="T6" fmla="*/ 27517 w 21"/>
                <a:gd name="T7" fmla="*/ 13452 h 19"/>
                <a:gd name="T8" fmla="*/ 33413 w 21"/>
                <a:gd name="T9" fmla="*/ 26904 h 19"/>
                <a:gd name="T10" fmla="*/ 39310 w 21"/>
                <a:gd name="T11" fmla="*/ 28826 h 19"/>
                <a:gd name="T12" fmla="*/ 37344 w 21"/>
                <a:gd name="T13" fmla="*/ 34591 h 19"/>
                <a:gd name="T14" fmla="*/ 31448 w 21"/>
                <a:gd name="T15" fmla="*/ 30748 h 19"/>
                <a:gd name="T16" fmla="*/ 29482 w 21"/>
                <a:gd name="T17" fmla="*/ 26904 h 19"/>
                <a:gd name="T18" fmla="*/ 25551 w 21"/>
                <a:gd name="T19" fmla="*/ 21139 h 19"/>
                <a:gd name="T20" fmla="*/ 17689 w 21"/>
                <a:gd name="T21" fmla="*/ 21139 h 19"/>
                <a:gd name="T22" fmla="*/ 13758 w 21"/>
                <a:gd name="T23" fmla="*/ 13452 h 19"/>
                <a:gd name="T24" fmla="*/ 7862 w 21"/>
                <a:gd name="T25" fmla="*/ 7687 h 19"/>
                <a:gd name="T26" fmla="*/ 0 w 21"/>
                <a:gd name="T27" fmla="*/ 3843 h 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19"/>
                <a:gd name="T44" fmla="*/ 21 w 21"/>
                <a:gd name="T45" fmla="*/ 19 h 1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19">
                  <a:moveTo>
                    <a:pt x="0" y="2"/>
                  </a:moveTo>
                  <a:cubicBezTo>
                    <a:pt x="0" y="1"/>
                    <a:pt x="2" y="0"/>
                    <a:pt x="4" y="1"/>
                  </a:cubicBezTo>
                  <a:cubicBezTo>
                    <a:pt x="6" y="1"/>
                    <a:pt x="7" y="3"/>
                    <a:pt x="9" y="4"/>
                  </a:cubicBezTo>
                  <a:cubicBezTo>
                    <a:pt x="11" y="5"/>
                    <a:pt x="13" y="6"/>
                    <a:pt x="14" y="7"/>
                  </a:cubicBezTo>
                  <a:cubicBezTo>
                    <a:pt x="16" y="9"/>
                    <a:pt x="15" y="12"/>
                    <a:pt x="17" y="14"/>
                  </a:cubicBezTo>
                  <a:cubicBezTo>
                    <a:pt x="18" y="15"/>
                    <a:pt x="20" y="14"/>
                    <a:pt x="20" y="15"/>
                  </a:cubicBezTo>
                  <a:cubicBezTo>
                    <a:pt x="21" y="16"/>
                    <a:pt x="21" y="18"/>
                    <a:pt x="19" y="18"/>
                  </a:cubicBezTo>
                  <a:cubicBezTo>
                    <a:pt x="18" y="19"/>
                    <a:pt x="17" y="17"/>
                    <a:pt x="16" y="16"/>
                  </a:cubicBezTo>
                  <a:cubicBezTo>
                    <a:pt x="16" y="15"/>
                    <a:pt x="16" y="14"/>
                    <a:pt x="15" y="14"/>
                  </a:cubicBezTo>
                  <a:cubicBezTo>
                    <a:pt x="15" y="13"/>
                    <a:pt x="14" y="11"/>
                    <a:pt x="13" y="11"/>
                  </a:cubicBezTo>
                  <a:cubicBezTo>
                    <a:pt x="12" y="10"/>
                    <a:pt x="11" y="11"/>
                    <a:pt x="9" y="11"/>
                  </a:cubicBezTo>
                  <a:cubicBezTo>
                    <a:pt x="8" y="10"/>
                    <a:pt x="8" y="8"/>
                    <a:pt x="7" y="7"/>
                  </a:cubicBezTo>
                  <a:cubicBezTo>
                    <a:pt x="6" y="6"/>
                    <a:pt x="5" y="5"/>
                    <a:pt x="4" y="4"/>
                  </a:cubicBezTo>
                  <a:cubicBezTo>
                    <a:pt x="3" y="4"/>
                    <a:pt x="0" y="4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7" name="Freeform 327"/>
            <p:cNvSpPr>
              <a:spLocks noChangeAspect="1"/>
            </p:cNvSpPr>
            <p:nvPr/>
          </p:nvSpPr>
          <p:spPr bwMode="auto">
            <a:xfrm>
              <a:off x="5011738" y="3097213"/>
              <a:ext cx="11112" cy="15875"/>
            </a:xfrm>
            <a:custGeom>
              <a:avLst/>
              <a:gdLst>
                <a:gd name="T0" fmla="*/ 7408 w 6"/>
                <a:gd name="T1" fmla="*/ 0 h 8"/>
                <a:gd name="T2" fmla="*/ 11112 w 6"/>
                <a:gd name="T3" fmla="*/ 13891 h 8"/>
                <a:gd name="T4" fmla="*/ 0 w 6"/>
                <a:gd name="T5" fmla="*/ 9922 h 8"/>
                <a:gd name="T6" fmla="*/ 7408 w 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8"/>
                <a:gd name="T14" fmla="*/ 6 w 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8">
                  <a:moveTo>
                    <a:pt x="4" y="0"/>
                  </a:moveTo>
                  <a:cubicBezTo>
                    <a:pt x="4" y="1"/>
                    <a:pt x="5" y="5"/>
                    <a:pt x="6" y="7"/>
                  </a:cubicBezTo>
                  <a:cubicBezTo>
                    <a:pt x="5" y="8"/>
                    <a:pt x="1" y="6"/>
                    <a:pt x="0" y="5"/>
                  </a:cubicBezTo>
                  <a:cubicBezTo>
                    <a:pt x="0" y="4"/>
                    <a:pt x="2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8" name="Freeform 328"/>
            <p:cNvSpPr>
              <a:spLocks noChangeAspect="1"/>
            </p:cNvSpPr>
            <p:nvPr/>
          </p:nvSpPr>
          <p:spPr bwMode="auto">
            <a:xfrm>
              <a:off x="4995863" y="3057525"/>
              <a:ext cx="12700" cy="14288"/>
            </a:xfrm>
            <a:custGeom>
              <a:avLst/>
              <a:gdLst>
                <a:gd name="T0" fmla="*/ 4233 w 6"/>
                <a:gd name="T1" fmla="*/ 0 h 8"/>
                <a:gd name="T2" fmla="*/ 6350 w 6"/>
                <a:gd name="T3" fmla="*/ 8930 h 8"/>
                <a:gd name="T4" fmla="*/ 10583 w 6"/>
                <a:gd name="T5" fmla="*/ 12502 h 8"/>
                <a:gd name="T6" fmla="*/ 4233 w 6"/>
                <a:gd name="T7" fmla="*/ 10716 h 8"/>
                <a:gd name="T8" fmla="*/ 0 w 6"/>
                <a:gd name="T9" fmla="*/ 0 h 8"/>
                <a:gd name="T10" fmla="*/ 4233 w 6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2" y="0"/>
                  </a:moveTo>
                  <a:cubicBezTo>
                    <a:pt x="3" y="1"/>
                    <a:pt x="2" y="3"/>
                    <a:pt x="3" y="5"/>
                  </a:cubicBezTo>
                  <a:cubicBezTo>
                    <a:pt x="3" y="6"/>
                    <a:pt x="6" y="7"/>
                    <a:pt x="5" y="7"/>
                  </a:cubicBezTo>
                  <a:cubicBezTo>
                    <a:pt x="5" y="8"/>
                    <a:pt x="3" y="7"/>
                    <a:pt x="2" y="6"/>
                  </a:cubicBezTo>
                  <a:cubicBezTo>
                    <a:pt x="1" y="4"/>
                    <a:pt x="0" y="2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29" name="Freeform 329"/>
            <p:cNvSpPr>
              <a:spLocks noChangeAspect="1"/>
            </p:cNvSpPr>
            <p:nvPr/>
          </p:nvSpPr>
          <p:spPr bwMode="auto">
            <a:xfrm>
              <a:off x="5129213" y="3136900"/>
              <a:ext cx="7937" cy="9525"/>
            </a:xfrm>
            <a:custGeom>
              <a:avLst/>
              <a:gdLst>
                <a:gd name="T0" fmla="*/ 3969 w 4"/>
                <a:gd name="T1" fmla="*/ 0 h 5"/>
                <a:gd name="T2" fmla="*/ 7937 w 4"/>
                <a:gd name="T3" fmla="*/ 5715 h 5"/>
                <a:gd name="T4" fmla="*/ 3969 w 4"/>
                <a:gd name="T5" fmla="*/ 9525 h 5"/>
                <a:gd name="T6" fmla="*/ 0 w 4"/>
                <a:gd name="T7" fmla="*/ 5715 h 5"/>
                <a:gd name="T8" fmla="*/ 3969 w 4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0"/>
                  </a:moveTo>
                  <a:cubicBezTo>
                    <a:pt x="3" y="0"/>
                    <a:pt x="4" y="2"/>
                    <a:pt x="4" y="3"/>
                  </a:cubicBezTo>
                  <a:cubicBezTo>
                    <a:pt x="4" y="4"/>
                    <a:pt x="3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1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0" name="Freeform 330"/>
            <p:cNvSpPr>
              <a:spLocks noChangeAspect="1"/>
            </p:cNvSpPr>
            <p:nvPr/>
          </p:nvSpPr>
          <p:spPr bwMode="auto">
            <a:xfrm>
              <a:off x="5129213" y="3160713"/>
              <a:ext cx="6350" cy="4762"/>
            </a:xfrm>
            <a:custGeom>
              <a:avLst/>
              <a:gdLst>
                <a:gd name="T0" fmla="*/ 4233 w 3"/>
                <a:gd name="T1" fmla="*/ 0 h 3"/>
                <a:gd name="T2" fmla="*/ 6350 w 3"/>
                <a:gd name="T3" fmla="*/ 3175 h 3"/>
                <a:gd name="T4" fmla="*/ 4233 w 3"/>
                <a:gd name="T5" fmla="*/ 4762 h 3"/>
                <a:gd name="T6" fmla="*/ 0 w 3"/>
                <a:gd name="T7" fmla="*/ 1587 h 3"/>
                <a:gd name="T8" fmla="*/ 4233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0"/>
                  </a:moveTo>
                  <a:cubicBezTo>
                    <a:pt x="2" y="0"/>
                    <a:pt x="3" y="1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1" name="Oval 331"/>
            <p:cNvSpPr>
              <a:spLocks noChangeAspect="1" noChangeArrowheads="1"/>
            </p:cNvSpPr>
            <p:nvPr/>
          </p:nvSpPr>
          <p:spPr bwMode="auto">
            <a:xfrm>
              <a:off x="5113338" y="3143250"/>
              <a:ext cx="3175" cy="317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2" name="Freeform 332"/>
            <p:cNvSpPr>
              <a:spLocks noChangeAspect="1"/>
            </p:cNvSpPr>
            <p:nvPr/>
          </p:nvSpPr>
          <p:spPr bwMode="auto">
            <a:xfrm>
              <a:off x="5141913" y="3162300"/>
              <a:ext cx="3175" cy="3175"/>
            </a:xfrm>
            <a:custGeom>
              <a:avLst/>
              <a:gdLst>
                <a:gd name="T0" fmla="*/ 1588 w 2"/>
                <a:gd name="T1" fmla="*/ 0 h 2"/>
                <a:gd name="T2" fmla="*/ 3175 w 2"/>
                <a:gd name="T3" fmla="*/ 1588 h 2"/>
                <a:gd name="T4" fmla="*/ 1588 w 2"/>
                <a:gd name="T5" fmla="*/ 3175 h 2"/>
                <a:gd name="T6" fmla="*/ 0 w 2"/>
                <a:gd name="T7" fmla="*/ 1588 h 2"/>
                <a:gd name="T8" fmla="*/ 1588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3" name="Oval 333"/>
            <p:cNvSpPr>
              <a:spLocks noChangeAspect="1" noChangeArrowheads="1"/>
            </p:cNvSpPr>
            <p:nvPr/>
          </p:nvSpPr>
          <p:spPr bwMode="auto">
            <a:xfrm>
              <a:off x="5106988" y="3136900"/>
              <a:ext cx="3175" cy="4763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4" name="Freeform 334"/>
            <p:cNvSpPr>
              <a:spLocks noChangeAspect="1"/>
            </p:cNvSpPr>
            <p:nvPr/>
          </p:nvSpPr>
          <p:spPr bwMode="auto">
            <a:xfrm>
              <a:off x="5124450" y="3124200"/>
              <a:ext cx="3175" cy="3175"/>
            </a:xfrm>
            <a:custGeom>
              <a:avLst/>
              <a:gdLst>
                <a:gd name="T0" fmla="*/ 1588 w 2"/>
                <a:gd name="T1" fmla="*/ 0 h 2"/>
                <a:gd name="T2" fmla="*/ 3175 w 2"/>
                <a:gd name="T3" fmla="*/ 3175 h 2"/>
                <a:gd name="T4" fmla="*/ 1588 w 2"/>
                <a:gd name="T5" fmla="*/ 3175 h 2"/>
                <a:gd name="T6" fmla="*/ 0 w 2"/>
                <a:gd name="T7" fmla="*/ 0 h 2"/>
                <a:gd name="T8" fmla="*/ 1588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cubicBezTo>
                    <a:pt x="2" y="0"/>
                    <a:pt x="2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5" name="Freeform 335"/>
            <p:cNvSpPr>
              <a:spLocks noChangeAspect="1"/>
            </p:cNvSpPr>
            <p:nvPr/>
          </p:nvSpPr>
          <p:spPr bwMode="auto">
            <a:xfrm>
              <a:off x="5108575" y="3125788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1588 h 2"/>
                <a:gd name="T4" fmla="*/ 2117 w 3"/>
                <a:gd name="T5" fmla="*/ 3175 h 2"/>
                <a:gd name="T6" fmla="*/ 2117 w 3"/>
                <a:gd name="T7" fmla="*/ 0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1"/>
                    <a:pt x="0" y="1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6" name="Freeform 336"/>
            <p:cNvSpPr>
              <a:spLocks noChangeAspect="1"/>
            </p:cNvSpPr>
            <p:nvPr/>
          </p:nvSpPr>
          <p:spPr bwMode="auto">
            <a:xfrm>
              <a:off x="5103813" y="3122613"/>
              <a:ext cx="3175" cy="3175"/>
            </a:xfrm>
            <a:custGeom>
              <a:avLst/>
              <a:gdLst>
                <a:gd name="T0" fmla="*/ 1588 w 2"/>
                <a:gd name="T1" fmla="*/ 0 h 2"/>
                <a:gd name="T2" fmla="*/ 3175 w 2"/>
                <a:gd name="T3" fmla="*/ 3175 h 2"/>
                <a:gd name="T4" fmla="*/ 1588 w 2"/>
                <a:gd name="T5" fmla="*/ 3175 h 2"/>
                <a:gd name="T6" fmla="*/ 0 w 2"/>
                <a:gd name="T7" fmla="*/ 0 h 2"/>
                <a:gd name="T8" fmla="*/ 1588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cubicBezTo>
                    <a:pt x="2" y="0"/>
                    <a:pt x="2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7" name="Freeform 337"/>
            <p:cNvSpPr>
              <a:spLocks noChangeAspect="1"/>
            </p:cNvSpPr>
            <p:nvPr/>
          </p:nvSpPr>
          <p:spPr bwMode="auto">
            <a:xfrm>
              <a:off x="5127625" y="3151188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3175 h 2"/>
                <a:gd name="T4" fmla="*/ 2117 w 3"/>
                <a:gd name="T5" fmla="*/ 3175 h 2"/>
                <a:gd name="T6" fmla="*/ 0 w 3"/>
                <a:gd name="T7" fmla="*/ 1588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8" name="Freeform 338"/>
            <p:cNvSpPr>
              <a:spLocks noChangeAspect="1"/>
            </p:cNvSpPr>
            <p:nvPr/>
          </p:nvSpPr>
          <p:spPr bwMode="auto">
            <a:xfrm>
              <a:off x="5118100" y="3152775"/>
              <a:ext cx="4763" cy="3175"/>
            </a:xfrm>
            <a:custGeom>
              <a:avLst/>
              <a:gdLst>
                <a:gd name="T0" fmla="*/ 2382 w 2"/>
                <a:gd name="T1" fmla="*/ 1588 h 2"/>
                <a:gd name="T2" fmla="*/ 4763 w 2"/>
                <a:gd name="T3" fmla="*/ 3175 h 2"/>
                <a:gd name="T4" fmla="*/ 2382 w 2"/>
                <a:gd name="T5" fmla="*/ 3175 h 2"/>
                <a:gd name="T6" fmla="*/ 0 w 2"/>
                <a:gd name="T7" fmla="*/ 1588 h 2"/>
                <a:gd name="T8" fmla="*/ 2382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39" name="Freeform 339"/>
            <p:cNvSpPr>
              <a:spLocks noChangeAspect="1"/>
            </p:cNvSpPr>
            <p:nvPr/>
          </p:nvSpPr>
          <p:spPr bwMode="auto">
            <a:xfrm>
              <a:off x="5132388" y="3127375"/>
              <a:ext cx="3175" cy="1588"/>
            </a:xfrm>
            <a:custGeom>
              <a:avLst/>
              <a:gdLst>
                <a:gd name="T0" fmla="*/ 1588 w 2"/>
                <a:gd name="T1" fmla="*/ 0 h 1"/>
                <a:gd name="T2" fmla="*/ 3175 w 2"/>
                <a:gd name="T3" fmla="*/ 1588 h 1"/>
                <a:gd name="T4" fmla="*/ 1588 w 2"/>
                <a:gd name="T5" fmla="*/ 1588 h 1"/>
                <a:gd name="T6" fmla="*/ 0 w 2"/>
                <a:gd name="T7" fmla="*/ 0 h 1"/>
                <a:gd name="T8" fmla="*/ 1588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1" y="0"/>
                  </a:move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0" name="Freeform 340"/>
            <p:cNvSpPr>
              <a:spLocks noChangeAspect="1"/>
            </p:cNvSpPr>
            <p:nvPr/>
          </p:nvSpPr>
          <p:spPr bwMode="auto">
            <a:xfrm>
              <a:off x="5122863" y="3138488"/>
              <a:ext cx="6350" cy="6350"/>
            </a:xfrm>
            <a:custGeom>
              <a:avLst/>
              <a:gdLst>
                <a:gd name="T0" fmla="*/ 1588 w 4"/>
                <a:gd name="T1" fmla="*/ 2117 h 3"/>
                <a:gd name="T2" fmla="*/ 4762 w 4"/>
                <a:gd name="T3" fmla="*/ 2117 h 3"/>
                <a:gd name="T4" fmla="*/ 3175 w 4"/>
                <a:gd name="T5" fmla="*/ 4233 h 3"/>
                <a:gd name="T6" fmla="*/ 0 w 4"/>
                <a:gd name="T7" fmla="*/ 6350 h 3"/>
                <a:gd name="T8" fmla="*/ 1588 w 4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1" y="1"/>
                  </a:moveTo>
                  <a:cubicBezTo>
                    <a:pt x="2" y="0"/>
                    <a:pt x="3" y="0"/>
                    <a:pt x="3" y="1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1" name="Freeform 341"/>
            <p:cNvSpPr>
              <a:spLocks noChangeAspect="1"/>
            </p:cNvSpPr>
            <p:nvPr/>
          </p:nvSpPr>
          <p:spPr bwMode="auto">
            <a:xfrm>
              <a:off x="5151438" y="3154363"/>
              <a:ext cx="4762" cy="6350"/>
            </a:xfrm>
            <a:custGeom>
              <a:avLst/>
              <a:gdLst>
                <a:gd name="T0" fmla="*/ 1587 w 3"/>
                <a:gd name="T1" fmla="*/ 2117 h 3"/>
                <a:gd name="T2" fmla="*/ 4762 w 3"/>
                <a:gd name="T3" fmla="*/ 2117 h 3"/>
                <a:gd name="T4" fmla="*/ 3175 w 3"/>
                <a:gd name="T5" fmla="*/ 4233 h 3"/>
                <a:gd name="T6" fmla="*/ 0 w 3"/>
                <a:gd name="T7" fmla="*/ 4233 h 3"/>
                <a:gd name="T8" fmla="*/ 1587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1"/>
                  </a:moveTo>
                  <a:cubicBezTo>
                    <a:pt x="2" y="1"/>
                    <a:pt x="2" y="0"/>
                    <a:pt x="3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2" y="2"/>
                    <a:pt x="1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2" name="Freeform 342"/>
            <p:cNvSpPr>
              <a:spLocks noChangeAspect="1"/>
            </p:cNvSpPr>
            <p:nvPr/>
          </p:nvSpPr>
          <p:spPr bwMode="auto">
            <a:xfrm>
              <a:off x="5167313" y="3148013"/>
              <a:ext cx="6350" cy="4762"/>
            </a:xfrm>
            <a:custGeom>
              <a:avLst/>
              <a:gdLst>
                <a:gd name="T0" fmla="*/ 2117 w 3"/>
                <a:gd name="T1" fmla="*/ 0 h 2"/>
                <a:gd name="T2" fmla="*/ 6350 w 3"/>
                <a:gd name="T3" fmla="*/ 0 h 2"/>
                <a:gd name="T4" fmla="*/ 4233 w 3"/>
                <a:gd name="T5" fmla="*/ 2381 h 2"/>
                <a:gd name="T6" fmla="*/ 0 w 3"/>
                <a:gd name="T7" fmla="*/ 4762 h 2"/>
                <a:gd name="T8" fmla="*/ 211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3" name="Freeform 343"/>
            <p:cNvSpPr>
              <a:spLocks noChangeAspect="1"/>
            </p:cNvSpPr>
            <p:nvPr/>
          </p:nvSpPr>
          <p:spPr bwMode="auto">
            <a:xfrm>
              <a:off x="5138738" y="3068638"/>
              <a:ext cx="17462" cy="12700"/>
            </a:xfrm>
            <a:custGeom>
              <a:avLst/>
              <a:gdLst>
                <a:gd name="T0" fmla="*/ 11641 w 9"/>
                <a:gd name="T1" fmla="*/ 1814 h 7"/>
                <a:gd name="T2" fmla="*/ 17462 w 9"/>
                <a:gd name="T3" fmla="*/ 10886 h 7"/>
                <a:gd name="T4" fmla="*/ 15522 w 9"/>
                <a:gd name="T5" fmla="*/ 12700 h 7"/>
                <a:gd name="T6" fmla="*/ 7761 w 9"/>
                <a:gd name="T7" fmla="*/ 10886 h 7"/>
                <a:gd name="T8" fmla="*/ 9701 w 9"/>
                <a:gd name="T9" fmla="*/ 7257 h 7"/>
                <a:gd name="T10" fmla="*/ 3880 w 9"/>
                <a:gd name="T11" fmla="*/ 9071 h 7"/>
                <a:gd name="T12" fmla="*/ 1940 w 9"/>
                <a:gd name="T13" fmla="*/ 3629 h 7"/>
                <a:gd name="T14" fmla="*/ 11641 w 9"/>
                <a:gd name="T15" fmla="*/ 1814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7"/>
                <a:gd name="T26" fmla="*/ 9 w 9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7">
                  <a:moveTo>
                    <a:pt x="6" y="1"/>
                  </a:moveTo>
                  <a:cubicBezTo>
                    <a:pt x="8" y="1"/>
                    <a:pt x="9" y="4"/>
                    <a:pt x="9" y="6"/>
                  </a:cubicBezTo>
                  <a:cubicBezTo>
                    <a:pt x="9" y="6"/>
                    <a:pt x="8" y="7"/>
                    <a:pt x="8" y="7"/>
                  </a:cubicBezTo>
                  <a:cubicBezTo>
                    <a:pt x="6" y="7"/>
                    <a:pt x="5" y="7"/>
                    <a:pt x="4" y="6"/>
                  </a:cubicBezTo>
                  <a:cubicBezTo>
                    <a:pt x="3" y="6"/>
                    <a:pt x="5" y="5"/>
                    <a:pt x="5" y="4"/>
                  </a:cubicBezTo>
                  <a:cubicBezTo>
                    <a:pt x="4" y="3"/>
                    <a:pt x="3" y="5"/>
                    <a:pt x="2" y="5"/>
                  </a:cubicBezTo>
                  <a:cubicBezTo>
                    <a:pt x="1" y="4"/>
                    <a:pt x="0" y="3"/>
                    <a:pt x="1" y="2"/>
                  </a:cubicBezTo>
                  <a:cubicBezTo>
                    <a:pt x="2" y="1"/>
                    <a:pt x="4" y="0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4" name="Freeform 344"/>
            <p:cNvSpPr>
              <a:spLocks noChangeAspect="1"/>
            </p:cNvSpPr>
            <p:nvPr/>
          </p:nvSpPr>
          <p:spPr bwMode="auto">
            <a:xfrm>
              <a:off x="5138738" y="3090863"/>
              <a:ext cx="9525" cy="19050"/>
            </a:xfrm>
            <a:custGeom>
              <a:avLst/>
              <a:gdLst>
                <a:gd name="T0" fmla="*/ 0 w 5"/>
                <a:gd name="T1" fmla="*/ 1905 h 10"/>
                <a:gd name="T2" fmla="*/ 7620 w 5"/>
                <a:gd name="T3" fmla="*/ 3810 h 10"/>
                <a:gd name="T4" fmla="*/ 7620 w 5"/>
                <a:gd name="T5" fmla="*/ 17145 h 10"/>
                <a:gd name="T6" fmla="*/ 1905 w 5"/>
                <a:gd name="T7" fmla="*/ 13335 h 10"/>
                <a:gd name="T8" fmla="*/ 5715 w 5"/>
                <a:gd name="T9" fmla="*/ 9525 h 10"/>
                <a:gd name="T10" fmla="*/ 0 w 5"/>
                <a:gd name="T11" fmla="*/ 1905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1"/>
                  </a:moveTo>
                  <a:cubicBezTo>
                    <a:pt x="1" y="0"/>
                    <a:pt x="4" y="1"/>
                    <a:pt x="4" y="2"/>
                  </a:cubicBezTo>
                  <a:cubicBezTo>
                    <a:pt x="5" y="4"/>
                    <a:pt x="5" y="7"/>
                    <a:pt x="4" y="9"/>
                  </a:cubicBezTo>
                  <a:cubicBezTo>
                    <a:pt x="4" y="10"/>
                    <a:pt x="1" y="8"/>
                    <a:pt x="1" y="7"/>
                  </a:cubicBezTo>
                  <a:cubicBezTo>
                    <a:pt x="1" y="6"/>
                    <a:pt x="3" y="6"/>
                    <a:pt x="3" y="5"/>
                  </a:cubicBezTo>
                  <a:cubicBezTo>
                    <a:pt x="3" y="4"/>
                    <a:pt x="0" y="3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5" name="Freeform 345"/>
            <p:cNvSpPr>
              <a:spLocks noChangeAspect="1"/>
            </p:cNvSpPr>
            <p:nvPr/>
          </p:nvSpPr>
          <p:spPr bwMode="auto">
            <a:xfrm>
              <a:off x="5132388" y="3090863"/>
              <a:ext cx="4762" cy="6350"/>
            </a:xfrm>
            <a:custGeom>
              <a:avLst/>
              <a:gdLst>
                <a:gd name="T0" fmla="*/ 0 w 3"/>
                <a:gd name="T1" fmla="*/ 0 h 3"/>
                <a:gd name="T2" fmla="*/ 3175 w 3"/>
                <a:gd name="T3" fmla="*/ 4233 h 3"/>
                <a:gd name="T4" fmla="*/ 1587 w 3"/>
                <a:gd name="T5" fmla="*/ 635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cubicBezTo>
                    <a:pt x="1" y="0"/>
                    <a:pt x="2" y="1"/>
                    <a:pt x="2" y="2"/>
                  </a:cubicBezTo>
                  <a:cubicBezTo>
                    <a:pt x="3" y="2"/>
                    <a:pt x="2" y="3"/>
                    <a:pt x="1" y="3"/>
                  </a:cubicBezTo>
                  <a:cubicBezTo>
                    <a:pt x="0" y="3"/>
                    <a:pt x="0" y="1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6" name="Freeform 346"/>
            <p:cNvSpPr>
              <a:spLocks noChangeAspect="1"/>
            </p:cNvSpPr>
            <p:nvPr/>
          </p:nvSpPr>
          <p:spPr bwMode="auto">
            <a:xfrm>
              <a:off x="5087938" y="3184525"/>
              <a:ext cx="68262" cy="25400"/>
            </a:xfrm>
            <a:custGeom>
              <a:avLst/>
              <a:gdLst>
                <a:gd name="T0" fmla="*/ 5688 w 36"/>
                <a:gd name="T1" fmla="*/ 0 h 13"/>
                <a:gd name="T2" fmla="*/ 1896 w 36"/>
                <a:gd name="T3" fmla="*/ 7815 h 13"/>
                <a:gd name="T4" fmla="*/ 1896 w 36"/>
                <a:gd name="T5" fmla="*/ 13677 h 13"/>
                <a:gd name="T6" fmla="*/ 22754 w 36"/>
                <a:gd name="T7" fmla="*/ 15631 h 13"/>
                <a:gd name="T8" fmla="*/ 30339 w 36"/>
                <a:gd name="T9" fmla="*/ 19538 h 13"/>
                <a:gd name="T10" fmla="*/ 32235 w 36"/>
                <a:gd name="T11" fmla="*/ 25400 h 13"/>
                <a:gd name="T12" fmla="*/ 64470 w 36"/>
                <a:gd name="T13" fmla="*/ 21492 h 13"/>
                <a:gd name="T14" fmla="*/ 66366 w 36"/>
                <a:gd name="T15" fmla="*/ 15631 h 13"/>
                <a:gd name="T16" fmla="*/ 54989 w 36"/>
                <a:gd name="T17" fmla="*/ 17585 h 13"/>
                <a:gd name="T18" fmla="*/ 54989 w 36"/>
                <a:gd name="T19" fmla="*/ 11723 h 13"/>
                <a:gd name="T20" fmla="*/ 41716 w 36"/>
                <a:gd name="T21" fmla="*/ 11723 h 13"/>
                <a:gd name="T22" fmla="*/ 32235 w 36"/>
                <a:gd name="T23" fmla="*/ 7815 h 13"/>
                <a:gd name="T24" fmla="*/ 20858 w 36"/>
                <a:gd name="T25" fmla="*/ 9769 h 13"/>
                <a:gd name="T26" fmla="*/ 13273 w 36"/>
                <a:gd name="T27" fmla="*/ 3908 h 13"/>
                <a:gd name="T28" fmla="*/ 5688 w 36"/>
                <a:gd name="T29" fmla="*/ 0 h 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6"/>
                <a:gd name="T46" fmla="*/ 0 h 13"/>
                <a:gd name="T47" fmla="*/ 36 w 36"/>
                <a:gd name="T48" fmla="*/ 13 h 1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6" h="13">
                  <a:moveTo>
                    <a:pt x="3" y="0"/>
                  </a:moveTo>
                  <a:cubicBezTo>
                    <a:pt x="2" y="1"/>
                    <a:pt x="2" y="3"/>
                    <a:pt x="1" y="4"/>
                  </a:cubicBezTo>
                  <a:cubicBezTo>
                    <a:pt x="1" y="5"/>
                    <a:pt x="0" y="7"/>
                    <a:pt x="1" y="7"/>
                  </a:cubicBezTo>
                  <a:cubicBezTo>
                    <a:pt x="5" y="8"/>
                    <a:pt x="9" y="8"/>
                    <a:pt x="12" y="8"/>
                  </a:cubicBezTo>
                  <a:cubicBezTo>
                    <a:pt x="14" y="8"/>
                    <a:pt x="15" y="9"/>
                    <a:pt x="16" y="10"/>
                  </a:cubicBezTo>
                  <a:cubicBezTo>
                    <a:pt x="16" y="11"/>
                    <a:pt x="16" y="13"/>
                    <a:pt x="17" y="13"/>
                  </a:cubicBezTo>
                  <a:cubicBezTo>
                    <a:pt x="22" y="12"/>
                    <a:pt x="28" y="10"/>
                    <a:pt x="34" y="11"/>
                  </a:cubicBezTo>
                  <a:cubicBezTo>
                    <a:pt x="35" y="11"/>
                    <a:pt x="36" y="8"/>
                    <a:pt x="35" y="8"/>
                  </a:cubicBezTo>
                  <a:cubicBezTo>
                    <a:pt x="33" y="7"/>
                    <a:pt x="31" y="9"/>
                    <a:pt x="29" y="9"/>
                  </a:cubicBezTo>
                  <a:cubicBezTo>
                    <a:pt x="28" y="9"/>
                    <a:pt x="29" y="7"/>
                    <a:pt x="29" y="6"/>
                  </a:cubicBezTo>
                  <a:cubicBezTo>
                    <a:pt x="26" y="6"/>
                    <a:pt x="24" y="7"/>
                    <a:pt x="22" y="6"/>
                  </a:cubicBezTo>
                  <a:cubicBezTo>
                    <a:pt x="20" y="6"/>
                    <a:pt x="19" y="4"/>
                    <a:pt x="17" y="4"/>
                  </a:cubicBezTo>
                  <a:cubicBezTo>
                    <a:pt x="15" y="3"/>
                    <a:pt x="13" y="5"/>
                    <a:pt x="11" y="5"/>
                  </a:cubicBezTo>
                  <a:cubicBezTo>
                    <a:pt x="9" y="5"/>
                    <a:pt x="8" y="3"/>
                    <a:pt x="7" y="2"/>
                  </a:cubicBezTo>
                  <a:cubicBezTo>
                    <a:pt x="6" y="1"/>
                    <a:pt x="4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7" name="Freeform 347"/>
            <p:cNvSpPr>
              <a:spLocks noChangeAspect="1"/>
            </p:cNvSpPr>
            <p:nvPr/>
          </p:nvSpPr>
          <p:spPr bwMode="auto">
            <a:xfrm>
              <a:off x="5186363" y="3155950"/>
              <a:ext cx="14287" cy="25400"/>
            </a:xfrm>
            <a:custGeom>
              <a:avLst/>
              <a:gdLst>
                <a:gd name="T0" fmla="*/ 14287 w 7"/>
                <a:gd name="T1" fmla="*/ 3908 h 13"/>
                <a:gd name="T2" fmla="*/ 0 w 7"/>
                <a:gd name="T3" fmla="*/ 23446 h 13"/>
                <a:gd name="T4" fmla="*/ 0 w 7"/>
                <a:gd name="T5" fmla="*/ 17585 h 13"/>
                <a:gd name="T6" fmla="*/ 2041 w 7"/>
                <a:gd name="T7" fmla="*/ 9769 h 13"/>
                <a:gd name="T8" fmla="*/ 14287 w 7"/>
                <a:gd name="T9" fmla="*/ 3908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3"/>
                <a:gd name="T17" fmla="*/ 7 w 7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3">
                  <a:moveTo>
                    <a:pt x="7" y="2"/>
                  </a:moveTo>
                  <a:cubicBezTo>
                    <a:pt x="6" y="6"/>
                    <a:pt x="3" y="10"/>
                    <a:pt x="0" y="12"/>
                  </a:cubicBezTo>
                  <a:cubicBezTo>
                    <a:pt x="0" y="13"/>
                    <a:pt x="0" y="10"/>
                    <a:pt x="0" y="9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3" y="4"/>
                    <a:pt x="7" y="0"/>
                    <a:pt x="7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8" name="Freeform 348"/>
            <p:cNvSpPr>
              <a:spLocks noChangeAspect="1"/>
            </p:cNvSpPr>
            <p:nvPr/>
          </p:nvSpPr>
          <p:spPr bwMode="auto">
            <a:xfrm>
              <a:off x="5172075" y="3182938"/>
              <a:ext cx="9525" cy="12700"/>
            </a:xfrm>
            <a:custGeom>
              <a:avLst/>
              <a:gdLst>
                <a:gd name="T0" fmla="*/ 3810 w 5"/>
                <a:gd name="T1" fmla="*/ 1814 h 7"/>
                <a:gd name="T2" fmla="*/ 9525 w 5"/>
                <a:gd name="T3" fmla="*/ 10886 h 7"/>
                <a:gd name="T4" fmla="*/ 1905 w 5"/>
                <a:gd name="T5" fmla="*/ 9071 h 7"/>
                <a:gd name="T6" fmla="*/ 3810 w 5"/>
                <a:gd name="T7" fmla="*/ 1814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2" y="1"/>
                  </a:moveTo>
                  <a:cubicBezTo>
                    <a:pt x="4" y="1"/>
                    <a:pt x="5" y="4"/>
                    <a:pt x="5" y="6"/>
                  </a:cubicBezTo>
                  <a:cubicBezTo>
                    <a:pt x="5" y="7"/>
                    <a:pt x="2" y="6"/>
                    <a:pt x="1" y="5"/>
                  </a:cubicBezTo>
                  <a:cubicBezTo>
                    <a:pt x="1" y="4"/>
                    <a:pt x="0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49" name="Freeform 349"/>
            <p:cNvSpPr>
              <a:spLocks noChangeAspect="1"/>
            </p:cNvSpPr>
            <p:nvPr/>
          </p:nvSpPr>
          <p:spPr bwMode="auto">
            <a:xfrm>
              <a:off x="5173663" y="3160713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1588 h 2"/>
                <a:gd name="T4" fmla="*/ 2117 w 3"/>
                <a:gd name="T5" fmla="*/ 1588 h 2"/>
                <a:gd name="T6" fmla="*/ 0 w 3"/>
                <a:gd name="T7" fmla="*/ 0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2" y="2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0" name="Freeform 350"/>
            <p:cNvSpPr>
              <a:spLocks noChangeAspect="1"/>
            </p:cNvSpPr>
            <p:nvPr/>
          </p:nvSpPr>
          <p:spPr bwMode="auto">
            <a:xfrm>
              <a:off x="5162550" y="3136900"/>
              <a:ext cx="4763" cy="4763"/>
            </a:xfrm>
            <a:custGeom>
              <a:avLst/>
              <a:gdLst>
                <a:gd name="T0" fmla="*/ 3175 w 3"/>
                <a:gd name="T1" fmla="*/ 2382 h 2"/>
                <a:gd name="T2" fmla="*/ 4763 w 3"/>
                <a:gd name="T3" fmla="*/ 4763 h 2"/>
                <a:gd name="T4" fmla="*/ 1588 w 3"/>
                <a:gd name="T5" fmla="*/ 4763 h 2"/>
                <a:gd name="T6" fmla="*/ 0 w 3"/>
                <a:gd name="T7" fmla="*/ 2382 h 2"/>
                <a:gd name="T8" fmla="*/ 3175 w 3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1" name="Freeform 351"/>
            <p:cNvSpPr>
              <a:spLocks noChangeAspect="1"/>
            </p:cNvSpPr>
            <p:nvPr/>
          </p:nvSpPr>
          <p:spPr bwMode="auto">
            <a:xfrm>
              <a:off x="5135563" y="3041650"/>
              <a:ext cx="7937" cy="6350"/>
            </a:xfrm>
            <a:custGeom>
              <a:avLst/>
              <a:gdLst>
                <a:gd name="T0" fmla="*/ 3969 w 4"/>
                <a:gd name="T1" fmla="*/ 2117 h 3"/>
                <a:gd name="T2" fmla="*/ 7937 w 4"/>
                <a:gd name="T3" fmla="*/ 4233 h 3"/>
                <a:gd name="T4" fmla="*/ 3969 w 4"/>
                <a:gd name="T5" fmla="*/ 4233 h 3"/>
                <a:gd name="T6" fmla="*/ 0 w 4"/>
                <a:gd name="T7" fmla="*/ 2117 h 3"/>
                <a:gd name="T8" fmla="*/ 3969 w 4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1"/>
                  </a:moveTo>
                  <a:cubicBezTo>
                    <a:pt x="3" y="1"/>
                    <a:pt x="4" y="1"/>
                    <a:pt x="4" y="2"/>
                  </a:cubicBezTo>
                  <a:cubicBezTo>
                    <a:pt x="4" y="3"/>
                    <a:pt x="3" y="3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2" name="Freeform 352"/>
            <p:cNvSpPr>
              <a:spLocks noChangeAspect="1"/>
            </p:cNvSpPr>
            <p:nvPr/>
          </p:nvSpPr>
          <p:spPr bwMode="auto">
            <a:xfrm>
              <a:off x="5145088" y="3035300"/>
              <a:ext cx="9525" cy="9525"/>
            </a:xfrm>
            <a:custGeom>
              <a:avLst/>
              <a:gdLst>
                <a:gd name="T0" fmla="*/ 7620 w 5"/>
                <a:gd name="T1" fmla="*/ 0 h 5"/>
                <a:gd name="T2" fmla="*/ 3810 w 5"/>
                <a:gd name="T3" fmla="*/ 1905 h 5"/>
                <a:gd name="T4" fmla="*/ 1905 w 5"/>
                <a:gd name="T5" fmla="*/ 7620 h 5"/>
                <a:gd name="T6" fmla="*/ 5715 w 5"/>
                <a:gd name="T7" fmla="*/ 3810 h 5"/>
                <a:gd name="T8" fmla="*/ 7620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0"/>
                  </a:moveTo>
                  <a:cubicBezTo>
                    <a:pt x="3" y="0"/>
                    <a:pt x="2" y="1"/>
                    <a:pt x="2" y="1"/>
                  </a:cubicBezTo>
                  <a:cubicBezTo>
                    <a:pt x="1" y="2"/>
                    <a:pt x="0" y="4"/>
                    <a:pt x="1" y="4"/>
                  </a:cubicBezTo>
                  <a:cubicBezTo>
                    <a:pt x="2" y="5"/>
                    <a:pt x="3" y="3"/>
                    <a:pt x="3" y="2"/>
                  </a:cubicBezTo>
                  <a:cubicBezTo>
                    <a:pt x="4" y="2"/>
                    <a:pt x="5" y="1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3" name="Freeform 353"/>
            <p:cNvSpPr>
              <a:spLocks noChangeAspect="1"/>
            </p:cNvSpPr>
            <p:nvPr/>
          </p:nvSpPr>
          <p:spPr bwMode="auto">
            <a:xfrm>
              <a:off x="5019675" y="2430463"/>
              <a:ext cx="31750" cy="23812"/>
            </a:xfrm>
            <a:custGeom>
              <a:avLst/>
              <a:gdLst>
                <a:gd name="T0" fmla="*/ 29882 w 17"/>
                <a:gd name="T1" fmla="*/ 3663 h 13"/>
                <a:gd name="T2" fmla="*/ 11206 w 17"/>
                <a:gd name="T3" fmla="*/ 14654 h 13"/>
                <a:gd name="T4" fmla="*/ 7471 w 17"/>
                <a:gd name="T5" fmla="*/ 23812 h 13"/>
                <a:gd name="T6" fmla="*/ 3735 w 17"/>
                <a:gd name="T7" fmla="*/ 21980 h 13"/>
                <a:gd name="T8" fmla="*/ 7471 w 17"/>
                <a:gd name="T9" fmla="*/ 14654 h 13"/>
                <a:gd name="T10" fmla="*/ 0 w 17"/>
                <a:gd name="T11" fmla="*/ 9158 h 13"/>
                <a:gd name="T12" fmla="*/ 5603 w 17"/>
                <a:gd name="T13" fmla="*/ 3663 h 13"/>
                <a:gd name="T14" fmla="*/ 22412 w 17"/>
                <a:gd name="T15" fmla="*/ 0 h 13"/>
                <a:gd name="T16" fmla="*/ 29882 w 17"/>
                <a:gd name="T17" fmla="*/ 1832 h 13"/>
                <a:gd name="T18" fmla="*/ 29882 w 17"/>
                <a:gd name="T19" fmla="*/ 3663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3"/>
                <a:gd name="T32" fmla="*/ 17 w 1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3">
                  <a:moveTo>
                    <a:pt x="16" y="2"/>
                  </a:moveTo>
                  <a:cubicBezTo>
                    <a:pt x="13" y="5"/>
                    <a:pt x="9" y="5"/>
                    <a:pt x="6" y="8"/>
                  </a:cubicBezTo>
                  <a:cubicBezTo>
                    <a:pt x="5" y="9"/>
                    <a:pt x="6" y="11"/>
                    <a:pt x="4" y="13"/>
                  </a:cubicBezTo>
                  <a:cubicBezTo>
                    <a:pt x="4" y="13"/>
                    <a:pt x="2" y="13"/>
                    <a:pt x="2" y="12"/>
                  </a:cubicBezTo>
                  <a:cubicBezTo>
                    <a:pt x="2" y="10"/>
                    <a:pt x="4" y="9"/>
                    <a:pt x="4" y="8"/>
                  </a:cubicBezTo>
                  <a:cubicBezTo>
                    <a:pt x="3" y="6"/>
                    <a:pt x="0" y="6"/>
                    <a:pt x="0" y="5"/>
                  </a:cubicBezTo>
                  <a:cubicBezTo>
                    <a:pt x="0" y="3"/>
                    <a:pt x="1" y="2"/>
                    <a:pt x="3" y="2"/>
                  </a:cubicBezTo>
                  <a:cubicBezTo>
                    <a:pt x="6" y="0"/>
                    <a:pt x="9" y="0"/>
                    <a:pt x="12" y="0"/>
                  </a:cubicBezTo>
                  <a:cubicBezTo>
                    <a:pt x="13" y="0"/>
                    <a:pt x="15" y="0"/>
                    <a:pt x="16" y="1"/>
                  </a:cubicBezTo>
                  <a:cubicBezTo>
                    <a:pt x="16" y="1"/>
                    <a:pt x="17" y="2"/>
                    <a:pt x="16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4" name="Freeform 354"/>
            <p:cNvSpPr>
              <a:spLocks noChangeAspect="1"/>
            </p:cNvSpPr>
            <p:nvPr/>
          </p:nvSpPr>
          <p:spPr bwMode="auto">
            <a:xfrm>
              <a:off x="5021263" y="2411413"/>
              <a:ext cx="22225" cy="14287"/>
            </a:xfrm>
            <a:custGeom>
              <a:avLst/>
              <a:gdLst>
                <a:gd name="T0" fmla="*/ 12965 w 12"/>
                <a:gd name="T1" fmla="*/ 0 h 8"/>
                <a:gd name="T2" fmla="*/ 22225 w 12"/>
                <a:gd name="T3" fmla="*/ 8929 h 8"/>
                <a:gd name="T4" fmla="*/ 14817 w 12"/>
                <a:gd name="T5" fmla="*/ 8929 h 8"/>
                <a:gd name="T6" fmla="*/ 12965 w 12"/>
                <a:gd name="T7" fmla="*/ 14287 h 8"/>
                <a:gd name="T8" fmla="*/ 5556 w 12"/>
                <a:gd name="T9" fmla="*/ 8929 h 8"/>
                <a:gd name="T10" fmla="*/ 1852 w 12"/>
                <a:gd name="T11" fmla="*/ 5358 h 8"/>
                <a:gd name="T12" fmla="*/ 11113 w 12"/>
                <a:gd name="T13" fmla="*/ 3572 h 8"/>
                <a:gd name="T14" fmla="*/ 12965 w 12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8"/>
                <a:gd name="T26" fmla="*/ 12 w 12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8">
                  <a:moveTo>
                    <a:pt x="7" y="0"/>
                  </a:moveTo>
                  <a:cubicBezTo>
                    <a:pt x="9" y="1"/>
                    <a:pt x="12" y="2"/>
                    <a:pt x="12" y="5"/>
                  </a:cubicBezTo>
                  <a:cubicBezTo>
                    <a:pt x="12" y="6"/>
                    <a:pt x="9" y="4"/>
                    <a:pt x="8" y="5"/>
                  </a:cubicBezTo>
                  <a:cubicBezTo>
                    <a:pt x="7" y="6"/>
                    <a:pt x="8" y="8"/>
                    <a:pt x="7" y="8"/>
                  </a:cubicBezTo>
                  <a:cubicBezTo>
                    <a:pt x="6" y="8"/>
                    <a:pt x="5" y="6"/>
                    <a:pt x="3" y="5"/>
                  </a:cubicBezTo>
                  <a:cubicBezTo>
                    <a:pt x="2" y="4"/>
                    <a:pt x="0" y="4"/>
                    <a:pt x="1" y="3"/>
                  </a:cubicBezTo>
                  <a:cubicBezTo>
                    <a:pt x="2" y="2"/>
                    <a:pt x="5" y="3"/>
                    <a:pt x="6" y="2"/>
                  </a:cubicBezTo>
                  <a:cubicBezTo>
                    <a:pt x="7" y="2"/>
                    <a:pt x="6" y="0"/>
                    <a:pt x="7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5" name="Freeform 355"/>
            <p:cNvSpPr>
              <a:spLocks noChangeAspect="1"/>
            </p:cNvSpPr>
            <p:nvPr/>
          </p:nvSpPr>
          <p:spPr bwMode="auto">
            <a:xfrm>
              <a:off x="5291138" y="3184525"/>
              <a:ext cx="60325" cy="36513"/>
            </a:xfrm>
            <a:custGeom>
              <a:avLst/>
              <a:gdLst>
                <a:gd name="T0" fmla="*/ 40865 w 31"/>
                <a:gd name="T1" fmla="*/ 13452 h 19"/>
                <a:gd name="T2" fmla="*/ 58379 w 31"/>
                <a:gd name="T3" fmla="*/ 1922 h 19"/>
                <a:gd name="T4" fmla="*/ 56433 w 31"/>
                <a:gd name="T5" fmla="*/ 0 h 19"/>
                <a:gd name="T6" fmla="*/ 36973 w 31"/>
                <a:gd name="T7" fmla="*/ 9609 h 19"/>
                <a:gd name="T8" fmla="*/ 31135 w 31"/>
                <a:gd name="T9" fmla="*/ 11530 h 19"/>
                <a:gd name="T10" fmla="*/ 19460 w 31"/>
                <a:gd name="T11" fmla="*/ 9609 h 19"/>
                <a:gd name="T12" fmla="*/ 13622 w 31"/>
                <a:gd name="T13" fmla="*/ 7687 h 19"/>
                <a:gd name="T14" fmla="*/ 13622 w 31"/>
                <a:gd name="T15" fmla="*/ 13452 h 19"/>
                <a:gd name="T16" fmla="*/ 1946 w 31"/>
                <a:gd name="T17" fmla="*/ 15374 h 19"/>
                <a:gd name="T18" fmla="*/ 0 w 31"/>
                <a:gd name="T19" fmla="*/ 26904 h 19"/>
                <a:gd name="T20" fmla="*/ 9730 w 31"/>
                <a:gd name="T21" fmla="*/ 30748 h 19"/>
                <a:gd name="T22" fmla="*/ 17514 w 31"/>
                <a:gd name="T23" fmla="*/ 30748 h 19"/>
                <a:gd name="T24" fmla="*/ 23352 w 31"/>
                <a:gd name="T25" fmla="*/ 34591 h 19"/>
                <a:gd name="T26" fmla="*/ 31135 w 31"/>
                <a:gd name="T27" fmla="*/ 26904 h 19"/>
                <a:gd name="T28" fmla="*/ 36973 w 31"/>
                <a:gd name="T29" fmla="*/ 21139 h 19"/>
                <a:gd name="T30" fmla="*/ 44757 w 31"/>
                <a:gd name="T31" fmla="*/ 21139 h 19"/>
                <a:gd name="T32" fmla="*/ 44757 w 31"/>
                <a:gd name="T33" fmla="*/ 19217 h 19"/>
                <a:gd name="T34" fmla="*/ 40865 w 31"/>
                <a:gd name="T35" fmla="*/ 13452 h 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1"/>
                <a:gd name="T55" fmla="*/ 0 h 19"/>
                <a:gd name="T56" fmla="*/ 31 w 31"/>
                <a:gd name="T57" fmla="*/ 19 h 1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1" h="19">
                  <a:moveTo>
                    <a:pt x="21" y="7"/>
                  </a:moveTo>
                  <a:cubicBezTo>
                    <a:pt x="24" y="4"/>
                    <a:pt x="28" y="3"/>
                    <a:pt x="30" y="1"/>
                  </a:cubicBezTo>
                  <a:cubicBezTo>
                    <a:pt x="31" y="1"/>
                    <a:pt x="29" y="0"/>
                    <a:pt x="29" y="0"/>
                  </a:cubicBezTo>
                  <a:cubicBezTo>
                    <a:pt x="25" y="1"/>
                    <a:pt x="22" y="3"/>
                    <a:pt x="19" y="5"/>
                  </a:cubicBezTo>
                  <a:cubicBezTo>
                    <a:pt x="18" y="5"/>
                    <a:pt x="17" y="6"/>
                    <a:pt x="16" y="6"/>
                  </a:cubicBezTo>
                  <a:cubicBezTo>
                    <a:pt x="14" y="6"/>
                    <a:pt x="12" y="6"/>
                    <a:pt x="10" y="5"/>
                  </a:cubicBezTo>
                  <a:cubicBezTo>
                    <a:pt x="9" y="5"/>
                    <a:pt x="8" y="4"/>
                    <a:pt x="7" y="4"/>
                  </a:cubicBezTo>
                  <a:cubicBezTo>
                    <a:pt x="6" y="4"/>
                    <a:pt x="8" y="6"/>
                    <a:pt x="7" y="7"/>
                  </a:cubicBezTo>
                  <a:cubicBezTo>
                    <a:pt x="5" y="8"/>
                    <a:pt x="2" y="7"/>
                    <a:pt x="1" y="8"/>
                  </a:cubicBezTo>
                  <a:cubicBezTo>
                    <a:pt x="1" y="10"/>
                    <a:pt x="0" y="13"/>
                    <a:pt x="0" y="14"/>
                  </a:cubicBezTo>
                  <a:cubicBezTo>
                    <a:pt x="2" y="14"/>
                    <a:pt x="4" y="15"/>
                    <a:pt x="5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10" y="16"/>
                    <a:pt x="11" y="19"/>
                    <a:pt x="12" y="18"/>
                  </a:cubicBezTo>
                  <a:cubicBezTo>
                    <a:pt x="13" y="16"/>
                    <a:pt x="14" y="15"/>
                    <a:pt x="16" y="14"/>
                  </a:cubicBezTo>
                  <a:cubicBezTo>
                    <a:pt x="17" y="13"/>
                    <a:pt x="18" y="12"/>
                    <a:pt x="19" y="11"/>
                  </a:cubicBezTo>
                  <a:cubicBezTo>
                    <a:pt x="20" y="11"/>
                    <a:pt x="22" y="12"/>
                    <a:pt x="23" y="11"/>
                  </a:cubicBezTo>
                  <a:cubicBezTo>
                    <a:pt x="23" y="11"/>
                    <a:pt x="23" y="10"/>
                    <a:pt x="23" y="10"/>
                  </a:cubicBezTo>
                  <a:cubicBezTo>
                    <a:pt x="22" y="9"/>
                    <a:pt x="21" y="7"/>
                    <a:pt x="21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6" name="Freeform 356"/>
            <p:cNvSpPr>
              <a:spLocks noChangeAspect="1"/>
            </p:cNvSpPr>
            <p:nvPr/>
          </p:nvSpPr>
          <p:spPr bwMode="auto">
            <a:xfrm>
              <a:off x="5557838" y="3671888"/>
              <a:ext cx="255587" cy="179387"/>
            </a:xfrm>
            <a:custGeom>
              <a:avLst/>
              <a:gdLst>
                <a:gd name="T0" fmla="*/ 255587 w 134"/>
                <a:gd name="T1" fmla="*/ 66793 h 94"/>
                <a:gd name="T2" fmla="*/ 232699 w 134"/>
                <a:gd name="T3" fmla="*/ 80152 h 94"/>
                <a:gd name="T4" fmla="*/ 232699 w 134"/>
                <a:gd name="T5" fmla="*/ 95419 h 94"/>
                <a:gd name="T6" fmla="*/ 192644 w 134"/>
                <a:gd name="T7" fmla="*/ 110686 h 94"/>
                <a:gd name="T8" fmla="*/ 164033 w 134"/>
                <a:gd name="T9" fmla="*/ 125953 h 94"/>
                <a:gd name="T10" fmla="*/ 150682 w 134"/>
                <a:gd name="T11" fmla="*/ 139311 h 94"/>
                <a:gd name="T12" fmla="*/ 135423 w 134"/>
                <a:gd name="T13" fmla="*/ 139311 h 94"/>
                <a:gd name="T14" fmla="*/ 112535 w 134"/>
                <a:gd name="T15" fmla="*/ 150761 h 94"/>
                <a:gd name="T16" fmla="*/ 91554 w 134"/>
                <a:gd name="T17" fmla="*/ 150761 h 94"/>
                <a:gd name="T18" fmla="*/ 72480 w 134"/>
                <a:gd name="T19" fmla="*/ 158395 h 94"/>
                <a:gd name="T20" fmla="*/ 59128 w 134"/>
                <a:gd name="T21" fmla="*/ 175570 h 94"/>
                <a:gd name="T22" fmla="*/ 26703 w 134"/>
                <a:gd name="T23" fmla="*/ 175570 h 94"/>
                <a:gd name="T24" fmla="*/ 19074 w 134"/>
                <a:gd name="T25" fmla="*/ 160303 h 94"/>
                <a:gd name="T26" fmla="*/ 17166 w 134"/>
                <a:gd name="T27" fmla="*/ 137403 h 94"/>
                <a:gd name="T28" fmla="*/ 7629 w 134"/>
                <a:gd name="T29" fmla="*/ 112594 h 94"/>
                <a:gd name="T30" fmla="*/ 0 w 134"/>
                <a:gd name="T31" fmla="*/ 110686 h 94"/>
                <a:gd name="T32" fmla="*/ 7629 w 134"/>
                <a:gd name="T33" fmla="*/ 103052 h 94"/>
                <a:gd name="T34" fmla="*/ 9537 w 134"/>
                <a:gd name="T35" fmla="*/ 85877 h 94"/>
                <a:gd name="T36" fmla="*/ 7629 w 134"/>
                <a:gd name="T37" fmla="*/ 76335 h 94"/>
                <a:gd name="T38" fmla="*/ 15259 w 134"/>
                <a:gd name="T39" fmla="*/ 66793 h 94"/>
                <a:gd name="T40" fmla="*/ 15259 w 134"/>
                <a:gd name="T41" fmla="*/ 51526 h 94"/>
                <a:gd name="T42" fmla="*/ 20981 w 134"/>
                <a:gd name="T43" fmla="*/ 45801 h 94"/>
                <a:gd name="T44" fmla="*/ 28610 w 134"/>
                <a:gd name="T45" fmla="*/ 49618 h 94"/>
                <a:gd name="T46" fmla="*/ 95368 w 134"/>
                <a:gd name="T47" fmla="*/ 45801 h 94"/>
                <a:gd name="T48" fmla="*/ 108720 w 134"/>
                <a:gd name="T49" fmla="*/ 55343 h 94"/>
                <a:gd name="T50" fmla="*/ 122071 w 134"/>
                <a:gd name="T51" fmla="*/ 53434 h 94"/>
                <a:gd name="T52" fmla="*/ 143052 w 134"/>
                <a:gd name="T53" fmla="*/ 24809 h 94"/>
                <a:gd name="T54" fmla="*/ 223162 w 134"/>
                <a:gd name="T55" fmla="*/ 0 h 94"/>
                <a:gd name="T56" fmla="*/ 255587 w 134"/>
                <a:gd name="T57" fmla="*/ 66793 h 9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34"/>
                <a:gd name="T88" fmla="*/ 0 h 94"/>
                <a:gd name="T89" fmla="*/ 134 w 134"/>
                <a:gd name="T90" fmla="*/ 94 h 9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34" h="94">
                  <a:moveTo>
                    <a:pt x="134" y="35"/>
                  </a:moveTo>
                  <a:cubicBezTo>
                    <a:pt x="130" y="38"/>
                    <a:pt x="125" y="39"/>
                    <a:pt x="122" y="42"/>
                  </a:cubicBezTo>
                  <a:cubicBezTo>
                    <a:pt x="121" y="45"/>
                    <a:pt x="124" y="49"/>
                    <a:pt x="122" y="50"/>
                  </a:cubicBezTo>
                  <a:cubicBezTo>
                    <a:pt x="116" y="55"/>
                    <a:pt x="108" y="55"/>
                    <a:pt x="101" y="58"/>
                  </a:cubicBezTo>
                  <a:cubicBezTo>
                    <a:pt x="96" y="60"/>
                    <a:pt x="90" y="63"/>
                    <a:pt x="86" y="66"/>
                  </a:cubicBezTo>
                  <a:cubicBezTo>
                    <a:pt x="83" y="68"/>
                    <a:pt x="82" y="72"/>
                    <a:pt x="79" y="73"/>
                  </a:cubicBezTo>
                  <a:cubicBezTo>
                    <a:pt x="76" y="74"/>
                    <a:pt x="73" y="72"/>
                    <a:pt x="71" y="73"/>
                  </a:cubicBezTo>
                  <a:cubicBezTo>
                    <a:pt x="66" y="74"/>
                    <a:pt x="63" y="78"/>
                    <a:pt x="59" y="79"/>
                  </a:cubicBezTo>
                  <a:cubicBezTo>
                    <a:pt x="56" y="80"/>
                    <a:pt x="52" y="79"/>
                    <a:pt x="48" y="79"/>
                  </a:cubicBezTo>
                  <a:cubicBezTo>
                    <a:pt x="45" y="80"/>
                    <a:pt x="41" y="81"/>
                    <a:pt x="38" y="83"/>
                  </a:cubicBezTo>
                  <a:cubicBezTo>
                    <a:pt x="35" y="85"/>
                    <a:pt x="34" y="90"/>
                    <a:pt x="31" y="92"/>
                  </a:cubicBezTo>
                  <a:cubicBezTo>
                    <a:pt x="26" y="94"/>
                    <a:pt x="20" y="94"/>
                    <a:pt x="14" y="92"/>
                  </a:cubicBezTo>
                  <a:cubicBezTo>
                    <a:pt x="11" y="91"/>
                    <a:pt x="11" y="87"/>
                    <a:pt x="10" y="84"/>
                  </a:cubicBezTo>
                  <a:cubicBezTo>
                    <a:pt x="9" y="80"/>
                    <a:pt x="10" y="76"/>
                    <a:pt x="9" y="72"/>
                  </a:cubicBezTo>
                  <a:cubicBezTo>
                    <a:pt x="8" y="68"/>
                    <a:pt x="7" y="63"/>
                    <a:pt x="4" y="59"/>
                  </a:cubicBezTo>
                  <a:cubicBezTo>
                    <a:pt x="4" y="58"/>
                    <a:pt x="0" y="59"/>
                    <a:pt x="0" y="58"/>
                  </a:cubicBezTo>
                  <a:cubicBezTo>
                    <a:pt x="0" y="56"/>
                    <a:pt x="3" y="55"/>
                    <a:pt x="4" y="54"/>
                  </a:cubicBezTo>
                  <a:cubicBezTo>
                    <a:pt x="5" y="51"/>
                    <a:pt x="5" y="48"/>
                    <a:pt x="5" y="45"/>
                  </a:cubicBezTo>
                  <a:cubicBezTo>
                    <a:pt x="5" y="43"/>
                    <a:pt x="5" y="42"/>
                    <a:pt x="4" y="40"/>
                  </a:cubicBezTo>
                  <a:cubicBezTo>
                    <a:pt x="6" y="38"/>
                    <a:pt x="7" y="37"/>
                    <a:pt x="8" y="35"/>
                  </a:cubicBezTo>
                  <a:cubicBezTo>
                    <a:pt x="9" y="32"/>
                    <a:pt x="8" y="29"/>
                    <a:pt x="8" y="27"/>
                  </a:cubicBezTo>
                  <a:cubicBezTo>
                    <a:pt x="9" y="25"/>
                    <a:pt x="10" y="24"/>
                    <a:pt x="11" y="24"/>
                  </a:cubicBezTo>
                  <a:cubicBezTo>
                    <a:pt x="13" y="23"/>
                    <a:pt x="14" y="26"/>
                    <a:pt x="15" y="26"/>
                  </a:cubicBezTo>
                  <a:cubicBezTo>
                    <a:pt x="27" y="26"/>
                    <a:pt x="39" y="24"/>
                    <a:pt x="50" y="24"/>
                  </a:cubicBezTo>
                  <a:lnTo>
                    <a:pt x="57" y="29"/>
                  </a:lnTo>
                  <a:cubicBezTo>
                    <a:pt x="59" y="31"/>
                    <a:pt x="62" y="30"/>
                    <a:pt x="64" y="28"/>
                  </a:cubicBezTo>
                  <a:cubicBezTo>
                    <a:pt x="69" y="24"/>
                    <a:pt x="71" y="18"/>
                    <a:pt x="75" y="13"/>
                  </a:cubicBezTo>
                  <a:cubicBezTo>
                    <a:pt x="89" y="9"/>
                    <a:pt x="103" y="4"/>
                    <a:pt x="117" y="0"/>
                  </a:cubicBezTo>
                  <a:lnTo>
                    <a:pt x="134" y="3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7" name="Freeform 357"/>
            <p:cNvSpPr>
              <a:spLocks noChangeAspect="1"/>
            </p:cNvSpPr>
            <p:nvPr/>
          </p:nvSpPr>
          <p:spPr bwMode="auto">
            <a:xfrm>
              <a:off x="5873750" y="3455988"/>
              <a:ext cx="12700" cy="33337"/>
            </a:xfrm>
            <a:custGeom>
              <a:avLst/>
              <a:gdLst>
                <a:gd name="T0" fmla="*/ 5443 w 7"/>
                <a:gd name="T1" fmla="*/ 31485 h 18"/>
                <a:gd name="T2" fmla="*/ 9071 w 7"/>
                <a:gd name="T3" fmla="*/ 22225 h 18"/>
                <a:gd name="T4" fmla="*/ 9071 w 7"/>
                <a:gd name="T5" fmla="*/ 3704 h 18"/>
                <a:gd name="T6" fmla="*/ 0 w 7"/>
                <a:gd name="T7" fmla="*/ 12964 h 18"/>
                <a:gd name="T8" fmla="*/ 1814 w 7"/>
                <a:gd name="T9" fmla="*/ 22225 h 18"/>
                <a:gd name="T10" fmla="*/ 1814 w 7"/>
                <a:gd name="T11" fmla="*/ 33337 h 18"/>
                <a:gd name="T12" fmla="*/ 5443 w 7"/>
                <a:gd name="T13" fmla="*/ 31485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8"/>
                <a:gd name="T23" fmla="*/ 7 w 7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8">
                  <a:moveTo>
                    <a:pt x="3" y="17"/>
                  </a:moveTo>
                  <a:cubicBezTo>
                    <a:pt x="4" y="15"/>
                    <a:pt x="5" y="14"/>
                    <a:pt x="5" y="12"/>
                  </a:cubicBezTo>
                  <a:cubicBezTo>
                    <a:pt x="6" y="9"/>
                    <a:pt x="7" y="4"/>
                    <a:pt x="5" y="2"/>
                  </a:cubicBezTo>
                  <a:cubicBezTo>
                    <a:pt x="4" y="0"/>
                    <a:pt x="2" y="5"/>
                    <a:pt x="0" y="7"/>
                  </a:cubicBezTo>
                  <a:cubicBezTo>
                    <a:pt x="1" y="8"/>
                    <a:pt x="1" y="10"/>
                    <a:pt x="1" y="12"/>
                  </a:cubicBezTo>
                  <a:cubicBezTo>
                    <a:pt x="1" y="14"/>
                    <a:pt x="0" y="16"/>
                    <a:pt x="1" y="18"/>
                  </a:cubicBezTo>
                  <a:cubicBezTo>
                    <a:pt x="1" y="18"/>
                    <a:pt x="2" y="18"/>
                    <a:pt x="3" y="1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8" name="Freeform 358"/>
            <p:cNvSpPr>
              <a:spLocks noChangeAspect="1"/>
            </p:cNvSpPr>
            <p:nvPr/>
          </p:nvSpPr>
          <p:spPr bwMode="auto">
            <a:xfrm>
              <a:off x="5748338" y="3467100"/>
              <a:ext cx="23812" cy="50800"/>
            </a:xfrm>
            <a:custGeom>
              <a:avLst/>
              <a:gdLst>
                <a:gd name="T0" fmla="*/ 9922 w 12"/>
                <a:gd name="T1" fmla="*/ 47037 h 27"/>
                <a:gd name="T2" fmla="*/ 19843 w 12"/>
                <a:gd name="T3" fmla="*/ 43274 h 27"/>
                <a:gd name="T4" fmla="*/ 21828 w 12"/>
                <a:gd name="T5" fmla="*/ 33867 h 27"/>
                <a:gd name="T6" fmla="*/ 13890 w 12"/>
                <a:gd name="T7" fmla="*/ 22578 h 27"/>
                <a:gd name="T8" fmla="*/ 17859 w 12"/>
                <a:gd name="T9" fmla="*/ 13170 h 27"/>
                <a:gd name="T10" fmla="*/ 9922 w 12"/>
                <a:gd name="T11" fmla="*/ 0 h 27"/>
                <a:gd name="T12" fmla="*/ 1984 w 12"/>
                <a:gd name="T13" fmla="*/ 9407 h 27"/>
                <a:gd name="T14" fmla="*/ 1984 w 12"/>
                <a:gd name="T15" fmla="*/ 20696 h 27"/>
                <a:gd name="T16" fmla="*/ 1984 w 12"/>
                <a:gd name="T17" fmla="*/ 30104 h 27"/>
                <a:gd name="T18" fmla="*/ 1984 w 12"/>
                <a:gd name="T19" fmla="*/ 39511 h 27"/>
                <a:gd name="T20" fmla="*/ 0 w 12"/>
                <a:gd name="T21" fmla="*/ 43274 h 27"/>
                <a:gd name="T22" fmla="*/ 3969 w 12"/>
                <a:gd name="T23" fmla="*/ 50800 h 27"/>
                <a:gd name="T24" fmla="*/ 9922 w 12"/>
                <a:gd name="T25" fmla="*/ 47037 h 2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27"/>
                <a:gd name="T41" fmla="*/ 12 w 12"/>
                <a:gd name="T42" fmla="*/ 27 h 2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27">
                  <a:moveTo>
                    <a:pt x="5" y="25"/>
                  </a:moveTo>
                  <a:cubicBezTo>
                    <a:pt x="7" y="25"/>
                    <a:pt x="9" y="24"/>
                    <a:pt x="10" y="23"/>
                  </a:cubicBezTo>
                  <a:cubicBezTo>
                    <a:pt x="11" y="21"/>
                    <a:pt x="12" y="20"/>
                    <a:pt x="11" y="18"/>
                  </a:cubicBezTo>
                  <a:cubicBezTo>
                    <a:pt x="11" y="16"/>
                    <a:pt x="7" y="15"/>
                    <a:pt x="7" y="12"/>
                  </a:cubicBezTo>
                  <a:cubicBezTo>
                    <a:pt x="6" y="10"/>
                    <a:pt x="9" y="9"/>
                    <a:pt x="9" y="7"/>
                  </a:cubicBezTo>
                  <a:cubicBezTo>
                    <a:pt x="8" y="5"/>
                    <a:pt x="7" y="2"/>
                    <a:pt x="5" y="0"/>
                  </a:cubicBezTo>
                  <a:cubicBezTo>
                    <a:pt x="3" y="0"/>
                    <a:pt x="2" y="3"/>
                    <a:pt x="1" y="5"/>
                  </a:cubicBezTo>
                  <a:cubicBezTo>
                    <a:pt x="0" y="7"/>
                    <a:pt x="1" y="9"/>
                    <a:pt x="1" y="11"/>
                  </a:cubicBezTo>
                  <a:cubicBezTo>
                    <a:pt x="1" y="12"/>
                    <a:pt x="0" y="14"/>
                    <a:pt x="1" y="16"/>
                  </a:cubicBezTo>
                  <a:cubicBezTo>
                    <a:pt x="1" y="17"/>
                    <a:pt x="2" y="19"/>
                    <a:pt x="1" y="21"/>
                  </a:cubicBezTo>
                  <a:cubicBezTo>
                    <a:pt x="1" y="22"/>
                    <a:pt x="1" y="22"/>
                    <a:pt x="0" y="23"/>
                  </a:cubicBezTo>
                  <a:cubicBezTo>
                    <a:pt x="0" y="24"/>
                    <a:pt x="1" y="26"/>
                    <a:pt x="2" y="27"/>
                  </a:cubicBezTo>
                  <a:cubicBezTo>
                    <a:pt x="3" y="27"/>
                    <a:pt x="4" y="26"/>
                    <a:pt x="5" y="2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59" name="Freeform 359"/>
            <p:cNvSpPr>
              <a:spLocks noChangeAspect="1"/>
            </p:cNvSpPr>
            <p:nvPr/>
          </p:nvSpPr>
          <p:spPr bwMode="auto">
            <a:xfrm>
              <a:off x="5676900" y="3357563"/>
              <a:ext cx="9525" cy="12700"/>
            </a:xfrm>
            <a:custGeom>
              <a:avLst/>
              <a:gdLst>
                <a:gd name="T0" fmla="*/ 0 w 5"/>
                <a:gd name="T1" fmla="*/ 2117 h 6"/>
                <a:gd name="T2" fmla="*/ 1905 w 5"/>
                <a:gd name="T3" fmla="*/ 10583 h 6"/>
                <a:gd name="T4" fmla="*/ 5715 w 5"/>
                <a:gd name="T5" fmla="*/ 10583 h 6"/>
                <a:gd name="T6" fmla="*/ 9525 w 5"/>
                <a:gd name="T7" fmla="*/ 6350 h 6"/>
                <a:gd name="T8" fmla="*/ 5715 w 5"/>
                <a:gd name="T9" fmla="*/ 2117 h 6"/>
                <a:gd name="T10" fmla="*/ 0 w 5"/>
                <a:gd name="T11" fmla="*/ 211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6"/>
                <a:gd name="T20" fmla="*/ 5 w 5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6">
                  <a:moveTo>
                    <a:pt x="0" y="1"/>
                  </a:moveTo>
                  <a:cubicBezTo>
                    <a:pt x="0" y="2"/>
                    <a:pt x="0" y="4"/>
                    <a:pt x="1" y="5"/>
                  </a:cubicBezTo>
                  <a:cubicBezTo>
                    <a:pt x="1" y="6"/>
                    <a:pt x="2" y="5"/>
                    <a:pt x="3" y="5"/>
                  </a:cubicBezTo>
                  <a:cubicBezTo>
                    <a:pt x="4" y="4"/>
                    <a:pt x="5" y="4"/>
                    <a:pt x="5" y="3"/>
                  </a:cubicBezTo>
                  <a:cubicBezTo>
                    <a:pt x="5" y="2"/>
                    <a:pt x="4" y="2"/>
                    <a:pt x="3" y="1"/>
                  </a:cubicBezTo>
                  <a:cubicBezTo>
                    <a:pt x="2" y="1"/>
                    <a:pt x="1" y="0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0" name="Freeform 360"/>
            <p:cNvSpPr>
              <a:spLocks noChangeAspect="1"/>
            </p:cNvSpPr>
            <p:nvPr/>
          </p:nvSpPr>
          <p:spPr bwMode="auto">
            <a:xfrm>
              <a:off x="5535613" y="3733800"/>
              <a:ext cx="17462" cy="19050"/>
            </a:xfrm>
            <a:custGeom>
              <a:avLst/>
              <a:gdLst>
                <a:gd name="T0" fmla="*/ 0 w 9"/>
                <a:gd name="T1" fmla="*/ 3810 h 10"/>
                <a:gd name="T2" fmla="*/ 5821 w 9"/>
                <a:gd name="T3" fmla="*/ 1905 h 10"/>
                <a:gd name="T4" fmla="*/ 7761 w 9"/>
                <a:gd name="T5" fmla="*/ 9525 h 10"/>
                <a:gd name="T6" fmla="*/ 13582 w 9"/>
                <a:gd name="T7" fmla="*/ 7620 h 10"/>
                <a:gd name="T8" fmla="*/ 15522 w 9"/>
                <a:gd name="T9" fmla="*/ 17145 h 10"/>
                <a:gd name="T10" fmla="*/ 7761 w 9"/>
                <a:gd name="T11" fmla="*/ 11430 h 10"/>
                <a:gd name="T12" fmla="*/ 1940 w 9"/>
                <a:gd name="T13" fmla="*/ 9525 h 10"/>
                <a:gd name="T14" fmla="*/ 0 w 9"/>
                <a:gd name="T15" fmla="*/ 3810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10"/>
                <a:gd name="T26" fmla="*/ 9 w 9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10">
                  <a:moveTo>
                    <a:pt x="0" y="2"/>
                  </a:moveTo>
                  <a:cubicBezTo>
                    <a:pt x="0" y="1"/>
                    <a:pt x="2" y="0"/>
                    <a:pt x="3" y="1"/>
                  </a:cubicBezTo>
                  <a:cubicBezTo>
                    <a:pt x="4" y="1"/>
                    <a:pt x="3" y="4"/>
                    <a:pt x="4" y="5"/>
                  </a:cubicBezTo>
                  <a:cubicBezTo>
                    <a:pt x="5" y="6"/>
                    <a:pt x="6" y="3"/>
                    <a:pt x="7" y="4"/>
                  </a:cubicBezTo>
                  <a:cubicBezTo>
                    <a:pt x="8" y="5"/>
                    <a:pt x="9" y="8"/>
                    <a:pt x="8" y="9"/>
                  </a:cubicBezTo>
                  <a:cubicBezTo>
                    <a:pt x="7" y="10"/>
                    <a:pt x="6" y="7"/>
                    <a:pt x="4" y="6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0" y="4"/>
                    <a:pt x="0" y="3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1" name="Freeform 361"/>
            <p:cNvSpPr>
              <a:spLocks noChangeAspect="1"/>
            </p:cNvSpPr>
            <p:nvPr/>
          </p:nvSpPr>
          <p:spPr bwMode="auto">
            <a:xfrm>
              <a:off x="5849938" y="3448050"/>
              <a:ext cx="25400" cy="14288"/>
            </a:xfrm>
            <a:custGeom>
              <a:avLst/>
              <a:gdLst>
                <a:gd name="T0" fmla="*/ 1954 w 13"/>
                <a:gd name="T1" fmla="*/ 10716 h 8"/>
                <a:gd name="T2" fmla="*/ 1954 w 13"/>
                <a:gd name="T3" fmla="*/ 12502 h 8"/>
                <a:gd name="T4" fmla="*/ 13677 w 13"/>
                <a:gd name="T5" fmla="*/ 7144 h 8"/>
                <a:gd name="T6" fmla="*/ 21492 w 13"/>
                <a:gd name="T7" fmla="*/ 7144 h 8"/>
                <a:gd name="T8" fmla="*/ 25400 w 13"/>
                <a:gd name="T9" fmla="*/ 1786 h 8"/>
                <a:gd name="T10" fmla="*/ 21492 w 13"/>
                <a:gd name="T11" fmla="*/ 0 h 8"/>
                <a:gd name="T12" fmla="*/ 11723 w 13"/>
                <a:gd name="T13" fmla="*/ 3572 h 8"/>
                <a:gd name="T14" fmla="*/ 9769 w 13"/>
                <a:gd name="T15" fmla="*/ 7144 h 8"/>
                <a:gd name="T16" fmla="*/ 1954 w 13"/>
                <a:gd name="T17" fmla="*/ 10716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8"/>
                <a:gd name="T29" fmla="*/ 13 w 13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8">
                  <a:moveTo>
                    <a:pt x="1" y="6"/>
                  </a:moveTo>
                  <a:cubicBezTo>
                    <a:pt x="0" y="6"/>
                    <a:pt x="1" y="8"/>
                    <a:pt x="1" y="7"/>
                  </a:cubicBezTo>
                  <a:cubicBezTo>
                    <a:pt x="3" y="7"/>
                    <a:pt x="5" y="5"/>
                    <a:pt x="7" y="4"/>
                  </a:cubicBezTo>
                  <a:cubicBezTo>
                    <a:pt x="9" y="4"/>
                    <a:pt x="10" y="5"/>
                    <a:pt x="11" y="4"/>
                  </a:cubicBezTo>
                  <a:cubicBezTo>
                    <a:pt x="12" y="3"/>
                    <a:pt x="13" y="2"/>
                    <a:pt x="13" y="1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9" y="1"/>
                    <a:pt x="8" y="1"/>
                    <a:pt x="6" y="2"/>
                  </a:cubicBezTo>
                  <a:cubicBezTo>
                    <a:pt x="5" y="2"/>
                    <a:pt x="5" y="3"/>
                    <a:pt x="5" y="4"/>
                  </a:cubicBezTo>
                  <a:cubicBezTo>
                    <a:pt x="3" y="5"/>
                    <a:pt x="2" y="4"/>
                    <a:pt x="1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2" name="Freeform 362"/>
            <p:cNvSpPr>
              <a:spLocks noChangeAspect="1"/>
            </p:cNvSpPr>
            <p:nvPr/>
          </p:nvSpPr>
          <p:spPr bwMode="auto">
            <a:xfrm>
              <a:off x="7037388" y="3913188"/>
              <a:ext cx="7937" cy="12700"/>
            </a:xfrm>
            <a:custGeom>
              <a:avLst/>
              <a:gdLst>
                <a:gd name="T0" fmla="*/ 0 w 4"/>
                <a:gd name="T1" fmla="*/ 3629 h 7"/>
                <a:gd name="T2" fmla="*/ 3969 w 4"/>
                <a:gd name="T3" fmla="*/ 0 h 7"/>
                <a:gd name="T4" fmla="*/ 7937 w 4"/>
                <a:gd name="T5" fmla="*/ 5443 h 7"/>
                <a:gd name="T6" fmla="*/ 5953 w 4"/>
                <a:gd name="T7" fmla="*/ 12700 h 7"/>
                <a:gd name="T8" fmla="*/ 3969 w 4"/>
                <a:gd name="T9" fmla="*/ 9071 h 7"/>
                <a:gd name="T10" fmla="*/ 0 w 4"/>
                <a:gd name="T11" fmla="*/ 3629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7"/>
                <a:gd name="T20" fmla="*/ 4 w 4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7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4" y="5"/>
                    <a:pt x="4" y="6"/>
                    <a:pt x="3" y="7"/>
                  </a:cubicBezTo>
                  <a:cubicBezTo>
                    <a:pt x="2" y="7"/>
                    <a:pt x="2" y="5"/>
                    <a:pt x="2" y="5"/>
                  </a:cubicBezTo>
                  <a:cubicBezTo>
                    <a:pt x="1" y="4"/>
                    <a:pt x="0" y="3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3" name="Freeform 363"/>
            <p:cNvSpPr>
              <a:spLocks noChangeAspect="1"/>
            </p:cNvSpPr>
            <p:nvPr/>
          </p:nvSpPr>
          <p:spPr bwMode="auto">
            <a:xfrm>
              <a:off x="7132638" y="3641725"/>
              <a:ext cx="58737" cy="58738"/>
            </a:xfrm>
            <a:custGeom>
              <a:avLst/>
              <a:gdLst>
                <a:gd name="T0" fmla="*/ 54948 w 31"/>
                <a:gd name="T1" fmla="*/ 0 h 31"/>
                <a:gd name="T2" fmla="*/ 58737 w 31"/>
                <a:gd name="T3" fmla="*/ 11369 h 31"/>
                <a:gd name="T4" fmla="*/ 53053 w 31"/>
                <a:gd name="T5" fmla="*/ 20843 h 31"/>
                <a:gd name="T6" fmla="*/ 51158 w 31"/>
                <a:gd name="T7" fmla="*/ 39790 h 31"/>
                <a:gd name="T8" fmla="*/ 41684 w 31"/>
                <a:gd name="T9" fmla="*/ 49264 h 31"/>
                <a:gd name="T10" fmla="*/ 30316 w 31"/>
                <a:gd name="T11" fmla="*/ 51159 h 31"/>
                <a:gd name="T12" fmla="*/ 30316 w 31"/>
                <a:gd name="T13" fmla="*/ 56843 h 31"/>
                <a:gd name="T14" fmla="*/ 22737 w 31"/>
                <a:gd name="T15" fmla="*/ 54948 h 31"/>
                <a:gd name="T16" fmla="*/ 7579 w 31"/>
                <a:gd name="T17" fmla="*/ 49264 h 31"/>
                <a:gd name="T18" fmla="*/ 3789 w 31"/>
                <a:gd name="T19" fmla="*/ 37895 h 31"/>
                <a:gd name="T20" fmla="*/ 3789 w 31"/>
                <a:gd name="T21" fmla="*/ 20843 h 31"/>
                <a:gd name="T22" fmla="*/ 17053 w 31"/>
                <a:gd name="T23" fmla="*/ 11369 h 31"/>
                <a:gd name="T24" fmla="*/ 15158 w 31"/>
                <a:gd name="T25" fmla="*/ 9474 h 31"/>
                <a:gd name="T26" fmla="*/ 18947 w 31"/>
                <a:gd name="T27" fmla="*/ 5684 h 31"/>
                <a:gd name="T28" fmla="*/ 20842 w 31"/>
                <a:gd name="T29" fmla="*/ 7579 h 31"/>
                <a:gd name="T30" fmla="*/ 30316 w 31"/>
                <a:gd name="T31" fmla="*/ 5684 h 31"/>
                <a:gd name="T32" fmla="*/ 37895 w 31"/>
                <a:gd name="T33" fmla="*/ 5684 h 31"/>
                <a:gd name="T34" fmla="*/ 45474 w 31"/>
                <a:gd name="T35" fmla="*/ 3790 h 31"/>
                <a:gd name="T36" fmla="*/ 49263 w 31"/>
                <a:gd name="T37" fmla="*/ 5684 h 31"/>
                <a:gd name="T38" fmla="*/ 54948 w 31"/>
                <a:gd name="T39" fmla="*/ 0 h 3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1"/>
                <a:gd name="T61" fmla="*/ 0 h 31"/>
                <a:gd name="T62" fmla="*/ 31 w 31"/>
                <a:gd name="T63" fmla="*/ 31 h 3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1" h="31">
                  <a:moveTo>
                    <a:pt x="29" y="0"/>
                  </a:moveTo>
                  <a:cubicBezTo>
                    <a:pt x="30" y="1"/>
                    <a:pt x="31" y="4"/>
                    <a:pt x="31" y="6"/>
                  </a:cubicBezTo>
                  <a:cubicBezTo>
                    <a:pt x="31" y="8"/>
                    <a:pt x="28" y="9"/>
                    <a:pt x="28" y="11"/>
                  </a:cubicBezTo>
                  <a:cubicBezTo>
                    <a:pt x="27" y="14"/>
                    <a:pt x="29" y="18"/>
                    <a:pt x="27" y="21"/>
                  </a:cubicBezTo>
                  <a:cubicBezTo>
                    <a:pt x="27" y="23"/>
                    <a:pt x="24" y="25"/>
                    <a:pt x="22" y="26"/>
                  </a:cubicBezTo>
                  <a:cubicBezTo>
                    <a:pt x="20" y="27"/>
                    <a:pt x="18" y="26"/>
                    <a:pt x="16" y="27"/>
                  </a:cubicBezTo>
                  <a:cubicBezTo>
                    <a:pt x="15" y="27"/>
                    <a:pt x="17" y="29"/>
                    <a:pt x="16" y="30"/>
                  </a:cubicBezTo>
                  <a:cubicBezTo>
                    <a:pt x="14" y="31"/>
                    <a:pt x="13" y="30"/>
                    <a:pt x="12" y="29"/>
                  </a:cubicBezTo>
                  <a:cubicBezTo>
                    <a:pt x="9" y="29"/>
                    <a:pt x="6" y="28"/>
                    <a:pt x="4" y="26"/>
                  </a:cubicBezTo>
                  <a:cubicBezTo>
                    <a:pt x="2" y="25"/>
                    <a:pt x="2" y="23"/>
                    <a:pt x="2" y="20"/>
                  </a:cubicBezTo>
                  <a:cubicBezTo>
                    <a:pt x="1" y="17"/>
                    <a:pt x="0" y="14"/>
                    <a:pt x="2" y="11"/>
                  </a:cubicBezTo>
                  <a:cubicBezTo>
                    <a:pt x="3" y="8"/>
                    <a:pt x="7" y="9"/>
                    <a:pt x="9" y="6"/>
                  </a:cubicBezTo>
                  <a:cubicBezTo>
                    <a:pt x="10" y="6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3"/>
                    <a:pt x="11" y="4"/>
                    <a:pt x="11" y="4"/>
                  </a:cubicBezTo>
                  <a:cubicBezTo>
                    <a:pt x="13" y="4"/>
                    <a:pt x="15" y="3"/>
                    <a:pt x="16" y="3"/>
                  </a:cubicBezTo>
                  <a:cubicBezTo>
                    <a:pt x="18" y="3"/>
                    <a:pt x="19" y="3"/>
                    <a:pt x="20" y="3"/>
                  </a:cubicBezTo>
                  <a:cubicBezTo>
                    <a:pt x="21" y="3"/>
                    <a:pt x="23" y="2"/>
                    <a:pt x="24" y="2"/>
                  </a:cubicBezTo>
                  <a:cubicBezTo>
                    <a:pt x="25" y="2"/>
                    <a:pt x="25" y="3"/>
                    <a:pt x="26" y="3"/>
                  </a:cubicBezTo>
                  <a:cubicBezTo>
                    <a:pt x="27" y="3"/>
                    <a:pt x="28" y="0"/>
                    <a:pt x="2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4" name="Freeform 364"/>
            <p:cNvSpPr>
              <a:spLocks noChangeAspect="1"/>
            </p:cNvSpPr>
            <p:nvPr/>
          </p:nvSpPr>
          <p:spPr bwMode="auto">
            <a:xfrm>
              <a:off x="7399338" y="3495675"/>
              <a:ext cx="39687" cy="96838"/>
            </a:xfrm>
            <a:custGeom>
              <a:avLst/>
              <a:gdLst>
                <a:gd name="T0" fmla="*/ 39687 w 21"/>
                <a:gd name="T1" fmla="*/ 11393 h 51"/>
                <a:gd name="T2" fmla="*/ 34017 w 21"/>
                <a:gd name="T3" fmla="*/ 37976 h 51"/>
                <a:gd name="T4" fmla="*/ 32128 w 21"/>
                <a:gd name="T5" fmla="*/ 62660 h 51"/>
                <a:gd name="T6" fmla="*/ 22678 w 21"/>
                <a:gd name="T7" fmla="*/ 79749 h 51"/>
                <a:gd name="T8" fmla="*/ 22678 w 21"/>
                <a:gd name="T9" fmla="*/ 96838 h 51"/>
                <a:gd name="T10" fmla="*/ 7559 w 21"/>
                <a:gd name="T11" fmla="*/ 77850 h 51"/>
                <a:gd name="T12" fmla="*/ 1890 w 21"/>
                <a:gd name="T13" fmla="*/ 66457 h 51"/>
                <a:gd name="T14" fmla="*/ 5670 w 21"/>
                <a:gd name="T15" fmla="*/ 37976 h 51"/>
                <a:gd name="T16" fmla="*/ 15119 w 21"/>
                <a:gd name="T17" fmla="*/ 15190 h 51"/>
                <a:gd name="T18" fmla="*/ 17009 w 21"/>
                <a:gd name="T19" fmla="*/ 5696 h 51"/>
                <a:gd name="T20" fmla="*/ 26458 w 21"/>
                <a:gd name="T21" fmla="*/ 0 h 51"/>
                <a:gd name="T22" fmla="*/ 37797 w 21"/>
                <a:gd name="T23" fmla="*/ 5696 h 51"/>
                <a:gd name="T24" fmla="*/ 39687 w 21"/>
                <a:gd name="T25" fmla="*/ 11393 h 5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1"/>
                <a:gd name="T40" fmla="*/ 0 h 51"/>
                <a:gd name="T41" fmla="*/ 21 w 21"/>
                <a:gd name="T42" fmla="*/ 51 h 5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1" h="51">
                  <a:moveTo>
                    <a:pt x="21" y="6"/>
                  </a:moveTo>
                  <a:cubicBezTo>
                    <a:pt x="20" y="10"/>
                    <a:pt x="19" y="15"/>
                    <a:pt x="18" y="20"/>
                  </a:cubicBezTo>
                  <a:cubicBezTo>
                    <a:pt x="18" y="24"/>
                    <a:pt x="18" y="29"/>
                    <a:pt x="17" y="33"/>
                  </a:cubicBezTo>
                  <a:cubicBezTo>
                    <a:pt x="16" y="36"/>
                    <a:pt x="13" y="39"/>
                    <a:pt x="12" y="42"/>
                  </a:cubicBezTo>
                  <a:cubicBezTo>
                    <a:pt x="11" y="45"/>
                    <a:pt x="13" y="48"/>
                    <a:pt x="12" y="51"/>
                  </a:cubicBezTo>
                  <a:cubicBezTo>
                    <a:pt x="8" y="47"/>
                    <a:pt x="6" y="45"/>
                    <a:pt x="4" y="41"/>
                  </a:cubicBezTo>
                  <a:cubicBezTo>
                    <a:pt x="2" y="39"/>
                    <a:pt x="1" y="37"/>
                    <a:pt x="1" y="35"/>
                  </a:cubicBezTo>
                  <a:cubicBezTo>
                    <a:pt x="0" y="30"/>
                    <a:pt x="2" y="25"/>
                    <a:pt x="3" y="20"/>
                  </a:cubicBezTo>
                  <a:cubicBezTo>
                    <a:pt x="4" y="16"/>
                    <a:pt x="6" y="12"/>
                    <a:pt x="8" y="8"/>
                  </a:cubicBezTo>
                  <a:cubicBezTo>
                    <a:pt x="8" y="7"/>
                    <a:pt x="8" y="5"/>
                    <a:pt x="9" y="3"/>
                  </a:cubicBezTo>
                  <a:cubicBezTo>
                    <a:pt x="10" y="2"/>
                    <a:pt x="12" y="1"/>
                    <a:pt x="14" y="0"/>
                  </a:cubicBezTo>
                  <a:cubicBezTo>
                    <a:pt x="16" y="0"/>
                    <a:pt x="18" y="1"/>
                    <a:pt x="20" y="3"/>
                  </a:cubicBezTo>
                  <a:cubicBezTo>
                    <a:pt x="21" y="3"/>
                    <a:pt x="21" y="4"/>
                    <a:pt x="21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5" name="Freeform 365"/>
            <p:cNvSpPr>
              <a:spLocks noChangeAspect="1"/>
            </p:cNvSpPr>
            <p:nvPr/>
          </p:nvSpPr>
          <p:spPr bwMode="auto">
            <a:xfrm>
              <a:off x="7491413" y="3522663"/>
              <a:ext cx="6350" cy="9525"/>
            </a:xfrm>
            <a:custGeom>
              <a:avLst/>
              <a:gdLst>
                <a:gd name="T0" fmla="*/ 4762 w 4"/>
                <a:gd name="T1" fmla="*/ 0 h 5"/>
                <a:gd name="T2" fmla="*/ 4762 w 4"/>
                <a:gd name="T3" fmla="*/ 7620 h 5"/>
                <a:gd name="T4" fmla="*/ 0 w 4"/>
                <a:gd name="T5" fmla="*/ 3810 h 5"/>
                <a:gd name="T6" fmla="*/ 4762 w 4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3" y="0"/>
                  </a:moveTo>
                  <a:cubicBezTo>
                    <a:pt x="4" y="1"/>
                    <a:pt x="4" y="4"/>
                    <a:pt x="3" y="4"/>
                  </a:cubicBezTo>
                  <a:cubicBezTo>
                    <a:pt x="2" y="5"/>
                    <a:pt x="0" y="3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6" name="Freeform 366"/>
            <p:cNvSpPr>
              <a:spLocks noChangeAspect="1"/>
            </p:cNvSpPr>
            <p:nvPr/>
          </p:nvSpPr>
          <p:spPr bwMode="auto">
            <a:xfrm>
              <a:off x="7516813" y="3508375"/>
              <a:ext cx="6350" cy="7938"/>
            </a:xfrm>
            <a:custGeom>
              <a:avLst/>
              <a:gdLst>
                <a:gd name="T0" fmla="*/ 4233 w 3"/>
                <a:gd name="T1" fmla="*/ 0 h 4"/>
                <a:gd name="T2" fmla="*/ 4233 w 3"/>
                <a:gd name="T3" fmla="*/ 7938 h 4"/>
                <a:gd name="T4" fmla="*/ 0 w 3"/>
                <a:gd name="T5" fmla="*/ 3969 h 4"/>
                <a:gd name="T6" fmla="*/ 4233 w 3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2" y="0"/>
                  </a:moveTo>
                  <a:cubicBezTo>
                    <a:pt x="3" y="1"/>
                    <a:pt x="3" y="3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7" name="Freeform 367"/>
            <p:cNvSpPr>
              <a:spLocks noChangeAspect="1"/>
            </p:cNvSpPr>
            <p:nvPr/>
          </p:nvSpPr>
          <p:spPr bwMode="auto">
            <a:xfrm>
              <a:off x="7477125" y="3522663"/>
              <a:ext cx="7938" cy="9525"/>
            </a:xfrm>
            <a:custGeom>
              <a:avLst/>
              <a:gdLst>
                <a:gd name="T0" fmla="*/ 7938 w 4"/>
                <a:gd name="T1" fmla="*/ 3810 h 5"/>
                <a:gd name="T2" fmla="*/ 1985 w 4"/>
                <a:gd name="T3" fmla="*/ 9525 h 5"/>
                <a:gd name="T4" fmla="*/ 1985 w 4"/>
                <a:gd name="T5" fmla="*/ 1905 h 5"/>
                <a:gd name="T6" fmla="*/ 7938 w 4"/>
                <a:gd name="T7" fmla="*/ 381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4" y="2"/>
                  </a:moveTo>
                  <a:cubicBezTo>
                    <a:pt x="4" y="3"/>
                    <a:pt x="2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8" name="Freeform 368"/>
            <p:cNvSpPr>
              <a:spLocks noChangeAspect="1"/>
            </p:cNvSpPr>
            <p:nvPr/>
          </p:nvSpPr>
          <p:spPr bwMode="auto">
            <a:xfrm>
              <a:off x="7477125" y="3522663"/>
              <a:ext cx="7938" cy="9525"/>
            </a:xfrm>
            <a:custGeom>
              <a:avLst/>
              <a:gdLst>
                <a:gd name="T0" fmla="*/ 7938 w 4"/>
                <a:gd name="T1" fmla="*/ 3810 h 5"/>
                <a:gd name="T2" fmla="*/ 1985 w 4"/>
                <a:gd name="T3" fmla="*/ 9525 h 5"/>
                <a:gd name="T4" fmla="*/ 1985 w 4"/>
                <a:gd name="T5" fmla="*/ 1905 h 5"/>
                <a:gd name="T6" fmla="*/ 7938 w 4"/>
                <a:gd name="T7" fmla="*/ 381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4" y="2"/>
                  </a:moveTo>
                  <a:cubicBezTo>
                    <a:pt x="4" y="3"/>
                    <a:pt x="2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69" name="Freeform 369"/>
            <p:cNvSpPr>
              <a:spLocks noChangeAspect="1"/>
            </p:cNvSpPr>
            <p:nvPr/>
          </p:nvSpPr>
          <p:spPr bwMode="auto">
            <a:xfrm>
              <a:off x="7505700" y="3252788"/>
              <a:ext cx="19050" cy="12700"/>
            </a:xfrm>
            <a:custGeom>
              <a:avLst/>
              <a:gdLst>
                <a:gd name="T0" fmla="*/ 13335 w 10"/>
                <a:gd name="T1" fmla="*/ 0 h 6"/>
                <a:gd name="T2" fmla="*/ 19050 w 10"/>
                <a:gd name="T3" fmla="*/ 6350 h 6"/>
                <a:gd name="T4" fmla="*/ 11430 w 10"/>
                <a:gd name="T5" fmla="*/ 10583 h 6"/>
                <a:gd name="T6" fmla="*/ 3810 w 10"/>
                <a:gd name="T7" fmla="*/ 12700 h 6"/>
                <a:gd name="T8" fmla="*/ 1905 w 10"/>
                <a:gd name="T9" fmla="*/ 8467 h 6"/>
                <a:gd name="T10" fmla="*/ 13335 w 10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6"/>
                <a:gd name="T20" fmla="*/ 10 w 10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6">
                  <a:moveTo>
                    <a:pt x="7" y="0"/>
                  </a:moveTo>
                  <a:cubicBezTo>
                    <a:pt x="8" y="0"/>
                    <a:pt x="10" y="2"/>
                    <a:pt x="10" y="3"/>
                  </a:cubicBezTo>
                  <a:cubicBezTo>
                    <a:pt x="10" y="5"/>
                    <a:pt x="7" y="5"/>
                    <a:pt x="6" y="5"/>
                  </a:cubicBezTo>
                  <a:cubicBezTo>
                    <a:pt x="5" y="6"/>
                    <a:pt x="4" y="6"/>
                    <a:pt x="2" y="6"/>
                  </a:cubicBezTo>
                  <a:cubicBezTo>
                    <a:pt x="2" y="6"/>
                    <a:pt x="0" y="5"/>
                    <a:pt x="1" y="4"/>
                  </a:cubicBezTo>
                  <a:cubicBezTo>
                    <a:pt x="2" y="2"/>
                    <a:pt x="4" y="0"/>
                    <a:pt x="7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0" name="Freeform 370"/>
            <p:cNvSpPr>
              <a:spLocks noChangeAspect="1"/>
            </p:cNvSpPr>
            <p:nvPr/>
          </p:nvSpPr>
          <p:spPr bwMode="auto">
            <a:xfrm>
              <a:off x="5138738" y="1652589"/>
              <a:ext cx="3470275" cy="1362075"/>
            </a:xfrm>
            <a:custGeom>
              <a:avLst/>
              <a:gdLst>
                <a:gd name="T0" fmla="*/ 2505992 w 1821"/>
                <a:gd name="T1" fmla="*/ 950595 h 715"/>
                <a:gd name="T2" fmla="*/ 2711808 w 1821"/>
                <a:gd name="T3" fmla="*/ 748665 h 715"/>
                <a:gd name="T4" fmla="*/ 2910000 w 1821"/>
                <a:gd name="T5" fmla="*/ 708660 h 715"/>
                <a:gd name="T6" fmla="*/ 2877603 w 1821"/>
                <a:gd name="T7" fmla="*/ 830580 h 715"/>
                <a:gd name="T8" fmla="*/ 3024342 w 1821"/>
                <a:gd name="T9" fmla="*/ 868680 h 715"/>
                <a:gd name="T10" fmla="*/ 3085324 w 1821"/>
                <a:gd name="T11" fmla="*/ 706755 h 715"/>
                <a:gd name="T12" fmla="*/ 3266365 w 1821"/>
                <a:gd name="T13" fmla="*/ 541020 h 715"/>
                <a:gd name="T14" fmla="*/ 3435972 w 1821"/>
                <a:gd name="T15" fmla="*/ 483870 h 715"/>
                <a:gd name="T16" fmla="*/ 2974794 w 1821"/>
                <a:gd name="T17" fmla="*/ 381000 h 715"/>
                <a:gd name="T18" fmla="*/ 2589843 w 1821"/>
                <a:gd name="T19" fmla="*/ 295275 h 715"/>
                <a:gd name="T20" fmla="*/ 2412613 w 1821"/>
                <a:gd name="T21" fmla="*/ 240030 h 715"/>
                <a:gd name="T22" fmla="*/ 2229666 w 1821"/>
                <a:gd name="T23" fmla="*/ 270510 h 715"/>
                <a:gd name="T24" fmla="*/ 1951435 w 1821"/>
                <a:gd name="T25" fmla="*/ 190500 h 715"/>
                <a:gd name="T26" fmla="*/ 1684637 w 1821"/>
                <a:gd name="T27" fmla="*/ 186690 h 715"/>
                <a:gd name="T28" fmla="*/ 1705599 w 1821"/>
                <a:gd name="T29" fmla="*/ 72390 h 715"/>
                <a:gd name="T30" fmla="*/ 1455953 w 1821"/>
                <a:gd name="T31" fmla="*/ 36195 h 715"/>
                <a:gd name="T32" fmla="*/ 1290157 w 1821"/>
                <a:gd name="T33" fmla="*/ 97155 h 715"/>
                <a:gd name="T34" fmla="*/ 1160570 w 1821"/>
                <a:gd name="T35" fmla="*/ 184785 h 715"/>
                <a:gd name="T36" fmla="*/ 1133890 w 1821"/>
                <a:gd name="T37" fmla="*/ 329565 h 715"/>
                <a:gd name="T38" fmla="*/ 998586 w 1821"/>
                <a:gd name="T39" fmla="*/ 249555 h 715"/>
                <a:gd name="T40" fmla="*/ 949037 w 1821"/>
                <a:gd name="T41" fmla="*/ 259080 h 715"/>
                <a:gd name="T42" fmla="*/ 1080531 w 1821"/>
                <a:gd name="T43" fmla="*/ 436245 h 715"/>
                <a:gd name="T44" fmla="*/ 949037 w 1821"/>
                <a:gd name="T45" fmla="*/ 489585 h 715"/>
                <a:gd name="T46" fmla="*/ 838507 w 1821"/>
                <a:gd name="T47" fmla="*/ 215265 h 715"/>
                <a:gd name="T48" fmla="*/ 687957 w 1821"/>
                <a:gd name="T49" fmla="*/ 388620 h 715"/>
                <a:gd name="T50" fmla="*/ 461179 w 1821"/>
                <a:gd name="T51" fmla="*/ 415290 h 715"/>
                <a:gd name="T52" fmla="*/ 335403 w 1821"/>
                <a:gd name="T53" fmla="*/ 419100 h 715"/>
                <a:gd name="T54" fmla="*/ 209627 w 1821"/>
                <a:gd name="T55" fmla="*/ 542925 h 715"/>
                <a:gd name="T56" fmla="*/ 89568 w 1821"/>
                <a:gd name="T57" fmla="*/ 462915 h 715"/>
                <a:gd name="T58" fmla="*/ 76228 w 1821"/>
                <a:gd name="T59" fmla="*/ 352425 h 715"/>
                <a:gd name="T60" fmla="*/ 1906 w 1821"/>
                <a:gd name="T61" fmla="*/ 400050 h 715"/>
                <a:gd name="T62" fmla="*/ 45737 w 1821"/>
                <a:gd name="T63" fmla="*/ 558165 h 715"/>
                <a:gd name="T64" fmla="*/ 28585 w 1821"/>
                <a:gd name="T65" fmla="*/ 714375 h 715"/>
                <a:gd name="T66" fmla="*/ 13340 w 1821"/>
                <a:gd name="T67" fmla="*/ 758190 h 715"/>
                <a:gd name="T68" fmla="*/ 26680 w 1821"/>
                <a:gd name="T69" fmla="*/ 857250 h 715"/>
                <a:gd name="T70" fmla="*/ 112436 w 1821"/>
                <a:gd name="T71" fmla="*/ 946785 h 715"/>
                <a:gd name="T72" fmla="*/ 165796 w 1821"/>
                <a:gd name="T73" fmla="*/ 994410 h 715"/>
                <a:gd name="T74" fmla="*/ 270609 w 1821"/>
                <a:gd name="T75" fmla="*/ 1070610 h 715"/>
                <a:gd name="T76" fmla="*/ 280138 w 1821"/>
                <a:gd name="T77" fmla="*/ 1144905 h 715"/>
                <a:gd name="T78" fmla="*/ 259175 w 1821"/>
                <a:gd name="T79" fmla="*/ 1219200 h 715"/>
                <a:gd name="T80" fmla="*/ 377328 w 1821"/>
                <a:gd name="T81" fmla="*/ 1293495 h 715"/>
                <a:gd name="T82" fmla="*/ 506916 w 1821"/>
                <a:gd name="T83" fmla="*/ 1360170 h 715"/>
                <a:gd name="T84" fmla="*/ 497387 w 1821"/>
                <a:gd name="T85" fmla="*/ 1215390 h 715"/>
                <a:gd name="T86" fmla="*/ 468802 w 1821"/>
                <a:gd name="T87" fmla="*/ 1146810 h 715"/>
                <a:gd name="T88" fmla="*/ 501199 w 1821"/>
                <a:gd name="T89" fmla="*/ 1068705 h 715"/>
                <a:gd name="T90" fmla="*/ 598389 w 1821"/>
                <a:gd name="T91" fmla="*/ 1021080 h 715"/>
                <a:gd name="T92" fmla="*/ 720354 w 1821"/>
                <a:gd name="T93" fmla="*/ 1047750 h 715"/>
                <a:gd name="T94" fmla="*/ 781336 w 1821"/>
                <a:gd name="T95" fmla="*/ 967740 h 715"/>
                <a:gd name="T96" fmla="*/ 924263 w 1821"/>
                <a:gd name="T97" fmla="*/ 893445 h 715"/>
                <a:gd name="T98" fmla="*/ 1029077 w 1821"/>
                <a:gd name="T99" fmla="*/ 941070 h 715"/>
                <a:gd name="T100" fmla="*/ 1210118 w 1821"/>
                <a:gd name="T101" fmla="*/ 1047750 h 715"/>
                <a:gd name="T102" fmla="*/ 1326366 w 1821"/>
                <a:gd name="T103" fmla="*/ 1070610 h 715"/>
                <a:gd name="T104" fmla="*/ 1469293 w 1821"/>
                <a:gd name="T105" fmla="*/ 1061085 h 715"/>
                <a:gd name="T106" fmla="*/ 1598880 w 1821"/>
                <a:gd name="T107" fmla="*/ 1078230 h 715"/>
                <a:gd name="T108" fmla="*/ 1699882 w 1821"/>
                <a:gd name="T109" fmla="*/ 1022985 h 715"/>
                <a:gd name="T110" fmla="*/ 1852338 w 1821"/>
                <a:gd name="T111" fmla="*/ 1087755 h 715"/>
                <a:gd name="T112" fmla="*/ 2041002 w 1821"/>
                <a:gd name="T113" fmla="*/ 1078230 h 715"/>
                <a:gd name="T114" fmla="*/ 2128664 w 1821"/>
                <a:gd name="T115" fmla="*/ 973455 h 715"/>
                <a:gd name="T116" fmla="*/ 2271592 w 1821"/>
                <a:gd name="T117" fmla="*/ 1043940 h 715"/>
                <a:gd name="T118" fmla="*/ 2384028 w 1821"/>
                <a:gd name="T119" fmla="*/ 1152525 h 715"/>
                <a:gd name="T120" fmla="*/ 2446916 w 1821"/>
                <a:gd name="T121" fmla="*/ 1238250 h 71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21"/>
                <a:gd name="T184" fmla="*/ 0 h 715"/>
                <a:gd name="T185" fmla="*/ 1821 w 1821"/>
                <a:gd name="T186" fmla="*/ 715 h 71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21" h="715">
                  <a:moveTo>
                    <a:pt x="1266" y="694"/>
                  </a:moveTo>
                  <a:cubicBezTo>
                    <a:pt x="1272" y="691"/>
                    <a:pt x="1278" y="683"/>
                    <a:pt x="1283" y="682"/>
                  </a:cubicBezTo>
                  <a:cubicBezTo>
                    <a:pt x="1285" y="681"/>
                    <a:pt x="1286" y="685"/>
                    <a:pt x="1288" y="686"/>
                  </a:cubicBezTo>
                  <a:cubicBezTo>
                    <a:pt x="1292" y="687"/>
                    <a:pt x="1297" y="688"/>
                    <a:pt x="1301" y="686"/>
                  </a:cubicBezTo>
                  <a:cubicBezTo>
                    <a:pt x="1307" y="684"/>
                    <a:pt x="1314" y="682"/>
                    <a:pt x="1318" y="676"/>
                  </a:cubicBezTo>
                  <a:cubicBezTo>
                    <a:pt x="1328" y="663"/>
                    <a:pt x="1334" y="646"/>
                    <a:pt x="1342" y="631"/>
                  </a:cubicBezTo>
                  <a:cubicBezTo>
                    <a:pt x="1348" y="618"/>
                    <a:pt x="1354" y="606"/>
                    <a:pt x="1361" y="593"/>
                  </a:cubicBezTo>
                  <a:cubicBezTo>
                    <a:pt x="1358" y="580"/>
                    <a:pt x="1359" y="566"/>
                    <a:pt x="1354" y="553"/>
                  </a:cubicBezTo>
                  <a:cubicBezTo>
                    <a:pt x="1350" y="544"/>
                    <a:pt x="1355" y="536"/>
                    <a:pt x="1356" y="529"/>
                  </a:cubicBezTo>
                  <a:cubicBezTo>
                    <a:pt x="1355" y="523"/>
                    <a:pt x="1353" y="516"/>
                    <a:pt x="1352" y="510"/>
                  </a:cubicBezTo>
                  <a:cubicBezTo>
                    <a:pt x="1342" y="504"/>
                    <a:pt x="1334" y="494"/>
                    <a:pt x="1323" y="490"/>
                  </a:cubicBezTo>
                  <a:cubicBezTo>
                    <a:pt x="1314" y="487"/>
                    <a:pt x="1319" y="498"/>
                    <a:pt x="1315" y="499"/>
                  </a:cubicBezTo>
                  <a:cubicBezTo>
                    <a:pt x="1312" y="500"/>
                    <a:pt x="1308" y="501"/>
                    <a:pt x="1304" y="500"/>
                  </a:cubicBezTo>
                  <a:cubicBezTo>
                    <a:pt x="1302" y="500"/>
                    <a:pt x="1301" y="487"/>
                    <a:pt x="1300" y="486"/>
                  </a:cubicBezTo>
                  <a:cubicBezTo>
                    <a:pt x="1299" y="486"/>
                    <a:pt x="1297" y="499"/>
                    <a:pt x="1296" y="498"/>
                  </a:cubicBezTo>
                  <a:cubicBezTo>
                    <a:pt x="1291" y="494"/>
                    <a:pt x="1296" y="481"/>
                    <a:pt x="1290" y="481"/>
                  </a:cubicBezTo>
                  <a:cubicBezTo>
                    <a:pt x="1286" y="481"/>
                    <a:pt x="1273" y="486"/>
                    <a:pt x="1271" y="478"/>
                  </a:cubicBezTo>
                  <a:cubicBezTo>
                    <a:pt x="1269" y="470"/>
                    <a:pt x="1281" y="467"/>
                    <a:pt x="1286" y="461"/>
                  </a:cubicBezTo>
                  <a:cubicBezTo>
                    <a:pt x="1294" y="451"/>
                    <a:pt x="1302" y="441"/>
                    <a:pt x="1309" y="431"/>
                  </a:cubicBezTo>
                  <a:cubicBezTo>
                    <a:pt x="1314" y="423"/>
                    <a:pt x="1317" y="412"/>
                    <a:pt x="1325" y="405"/>
                  </a:cubicBezTo>
                  <a:cubicBezTo>
                    <a:pt x="1333" y="399"/>
                    <a:pt x="1344" y="398"/>
                    <a:pt x="1354" y="396"/>
                  </a:cubicBezTo>
                  <a:cubicBezTo>
                    <a:pt x="1364" y="395"/>
                    <a:pt x="1375" y="399"/>
                    <a:pt x="1385" y="398"/>
                  </a:cubicBezTo>
                  <a:cubicBezTo>
                    <a:pt x="1392" y="398"/>
                    <a:pt x="1399" y="394"/>
                    <a:pt x="1406" y="393"/>
                  </a:cubicBezTo>
                  <a:cubicBezTo>
                    <a:pt x="1405" y="387"/>
                    <a:pt x="1417" y="393"/>
                    <a:pt x="1423" y="393"/>
                  </a:cubicBezTo>
                  <a:cubicBezTo>
                    <a:pt x="1430" y="394"/>
                    <a:pt x="1438" y="394"/>
                    <a:pt x="1445" y="397"/>
                  </a:cubicBezTo>
                  <a:cubicBezTo>
                    <a:pt x="1447" y="398"/>
                    <a:pt x="1436" y="400"/>
                    <a:pt x="1434" y="402"/>
                  </a:cubicBezTo>
                  <a:cubicBezTo>
                    <a:pt x="1433" y="403"/>
                    <a:pt x="1434" y="406"/>
                    <a:pt x="1435" y="407"/>
                  </a:cubicBezTo>
                  <a:cubicBezTo>
                    <a:pt x="1440" y="407"/>
                    <a:pt x="1449" y="404"/>
                    <a:pt x="1454" y="403"/>
                  </a:cubicBezTo>
                  <a:cubicBezTo>
                    <a:pt x="1460" y="399"/>
                    <a:pt x="1469" y="402"/>
                    <a:pt x="1477" y="401"/>
                  </a:cubicBezTo>
                  <a:cubicBezTo>
                    <a:pt x="1480" y="397"/>
                    <a:pt x="1472" y="394"/>
                    <a:pt x="1470" y="395"/>
                  </a:cubicBezTo>
                  <a:cubicBezTo>
                    <a:pt x="1467" y="393"/>
                    <a:pt x="1463" y="391"/>
                    <a:pt x="1464" y="387"/>
                  </a:cubicBezTo>
                  <a:cubicBezTo>
                    <a:pt x="1468" y="376"/>
                    <a:pt x="1475" y="365"/>
                    <a:pt x="1483" y="357"/>
                  </a:cubicBezTo>
                  <a:cubicBezTo>
                    <a:pt x="1489" y="352"/>
                    <a:pt x="1498" y="351"/>
                    <a:pt x="1505" y="349"/>
                  </a:cubicBezTo>
                  <a:cubicBezTo>
                    <a:pt x="1509" y="348"/>
                    <a:pt x="1515" y="344"/>
                    <a:pt x="1519" y="347"/>
                  </a:cubicBezTo>
                  <a:cubicBezTo>
                    <a:pt x="1523" y="351"/>
                    <a:pt x="1517" y="361"/>
                    <a:pt x="1520" y="366"/>
                  </a:cubicBezTo>
                  <a:cubicBezTo>
                    <a:pt x="1524" y="365"/>
                    <a:pt x="1524" y="373"/>
                    <a:pt x="1527" y="372"/>
                  </a:cubicBezTo>
                  <a:cubicBezTo>
                    <a:pt x="1534" y="365"/>
                    <a:pt x="1543" y="355"/>
                    <a:pt x="1555" y="353"/>
                  </a:cubicBezTo>
                  <a:cubicBezTo>
                    <a:pt x="1551" y="349"/>
                    <a:pt x="1545" y="339"/>
                    <a:pt x="1549" y="334"/>
                  </a:cubicBezTo>
                  <a:cubicBezTo>
                    <a:pt x="1553" y="329"/>
                    <a:pt x="1562" y="332"/>
                    <a:pt x="1568" y="335"/>
                  </a:cubicBezTo>
                  <a:cubicBezTo>
                    <a:pt x="1570" y="337"/>
                    <a:pt x="1562" y="338"/>
                    <a:pt x="1561" y="341"/>
                  </a:cubicBezTo>
                  <a:cubicBezTo>
                    <a:pt x="1559" y="346"/>
                    <a:pt x="1561" y="351"/>
                    <a:pt x="1561" y="356"/>
                  </a:cubicBezTo>
                  <a:cubicBezTo>
                    <a:pt x="1561" y="360"/>
                    <a:pt x="1563" y="364"/>
                    <a:pt x="1561" y="367"/>
                  </a:cubicBezTo>
                  <a:cubicBezTo>
                    <a:pt x="1558" y="371"/>
                    <a:pt x="1551" y="369"/>
                    <a:pt x="1547" y="373"/>
                  </a:cubicBezTo>
                  <a:cubicBezTo>
                    <a:pt x="1545" y="375"/>
                    <a:pt x="1549" y="379"/>
                    <a:pt x="1547" y="381"/>
                  </a:cubicBezTo>
                  <a:cubicBezTo>
                    <a:pt x="1544" y="387"/>
                    <a:pt x="1539" y="392"/>
                    <a:pt x="1535" y="398"/>
                  </a:cubicBezTo>
                  <a:cubicBezTo>
                    <a:pt x="1531" y="405"/>
                    <a:pt x="1530" y="415"/>
                    <a:pt x="1524" y="421"/>
                  </a:cubicBezTo>
                  <a:cubicBezTo>
                    <a:pt x="1519" y="425"/>
                    <a:pt x="1510" y="420"/>
                    <a:pt x="1506" y="425"/>
                  </a:cubicBezTo>
                  <a:cubicBezTo>
                    <a:pt x="1503" y="428"/>
                    <a:pt x="1510" y="432"/>
                    <a:pt x="1510" y="436"/>
                  </a:cubicBezTo>
                  <a:cubicBezTo>
                    <a:pt x="1509" y="441"/>
                    <a:pt x="1504" y="445"/>
                    <a:pt x="1504" y="449"/>
                  </a:cubicBezTo>
                  <a:cubicBezTo>
                    <a:pt x="1504" y="459"/>
                    <a:pt x="1505" y="469"/>
                    <a:pt x="1509" y="478"/>
                  </a:cubicBezTo>
                  <a:cubicBezTo>
                    <a:pt x="1515" y="493"/>
                    <a:pt x="1526" y="506"/>
                    <a:pt x="1533" y="521"/>
                  </a:cubicBezTo>
                  <a:cubicBezTo>
                    <a:pt x="1536" y="527"/>
                    <a:pt x="1537" y="534"/>
                    <a:pt x="1540" y="541"/>
                  </a:cubicBezTo>
                  <a:cubicBezTo>
                    <a:pt x="1541" y="543"/>
                    <a:pt x="1543" y="549"/>
                    <a:pt x="1545" y="547"/>
                  </a:cubicBezTo>
                  <a:cubicBezTo>
                    <a:pt x="1550" y="541"/>
                    <a:pt x="1557" y="534"/>
                    <a:pt x="1559" y="527"/>
                  </a:cubicBezTo>
                  <a:cubicBezTo>
                    <a:pt x="1561" y="522"/>
                    <a:pt x="1554" y="518"/>
                    <a:pt x="1556" y="513"/>
                  </a:cubicBezTo>
                  <a:cubicBezTo>
                    <a:pt x="1559" y="510"/>
                    <a:pt x="1568" y="516"/>
                    <a:pt x="1570" y="512"/>
                  </a:cubicBezTo>
                  <a:cubicBezTo>
                    <a:pt x="1573" y="505"/>
                    <a:pt x="1562" y="496"/>
                    <a:pt x="1566" y="490"/>
                  </a:cubicBezTo>
                  <a:cubicBezTo>
                    <a:pt x="1570" y="484"/>
                    <a:pt x="1583" y="491"/>
                    <a:pt x="1586" y="485"/>
                  </a:cubicBezTo>
                  <a:cubicBezTo>
                    <a:pt x="1589" y="480"/>
                    <a:pt x="1577" y="476"/>
                    <a:pt x="1578" y="470"/>
                  </a:cubicBezTo>
                  <a:cubicBezTo>
                    <a:pt x="1578" y="466"/>
                    <a:pt x="1580" y="448"/>
                    <a:pt x="1587" y="456"/>
                  </a:cubicBezTo>
                  <a:cubicBezTo>
                    <a:pt x="1589" y="454"/>
                    <a:pt x="1587" y="450"/>
                    <a:pt x="1587" y="448"/>
                  </a:cubicBezTo>
                  <a:cubicBezTo>
                    <a:pt x="1588" y="443"/>
                    <a:pt x="1580" y="447"/>
                    <a:pt x="1579" y="442"/>
                  </a:cubicBezTo>
                  <a:cubicBezTo>
                    <a:pt x="1577" y="437"/>
                    <a:pt x="1577" y="430"/>
                    <a:pt x="1580" y="424"/>
                  </a:cubicBezTo>
                  <a:cubicBezTo>
                    <a:pt x="1577" y="420"/>
                    <a:pt x="1569" y="428"/>
                    <a:pt x="1565" y="424"/>
                  </a:cubicBezTo>
                  <a:cubicBezTo>
                    <a:pt x="1562" y="421"/>
                    <a:pt x="1564" y="415"/>
                    <a:pt x="1565" y="410"/>
                  </a:cubicBezTo>
                  <a:cubicBezTo>
                    <a:pt x="1570" y="403"/>
                    <a:pt x="1565" y="393"/>
                    <a:pt x="1571" y="387"/>
                  </a:cubicBezTo>
                  <a:cubicBezTo>
                    <a:pt x="1574" y="384"/>
                    <a:pt x="1580" y="392"/>
                    <a:pt x="1585" y="391"/>
                  </a:cubicBezTo>
                  <a:cubicBezTo>
                    <a:pt x="1587" y="391"/>
                    <a:pt x="1583" y="386"/>
                    <a:pt x="1584" y="384"/>
                  </a:cubicBezTo>
                  <a:cubicBezTo>
                    <a:pt x="1587" y="380"/>
                    <a:pt x="1592" y="374"/>
                    <a:pt x="1597" y="375"/>
                  </a:cubicBezTo>
                  <a:cubicBezTo>
                    <a:pt x="1601" y="376"/>
                    <a:pt x="1596" y="384"/>
                    <a:pt x="1598" y="387"/>
                  </a:cubicBezTo>
                  <a:cubicBezTo>
                    <a:pt x="1599" y="389"/>
                    <a:pt x="1601" y="385"/>
                    <a:pt x="1603" y="384"/>
                  </a:cubicBezTo>
                  <a:cubicBezTo>
                    <a:pt x="1609" y="380"/>
                    <a:pt x="1612" y="372"/>
                    <a:pt x="1619" y="371"/>
                  </a:cubicBezTo>
                  <a:cubicBezTo>
                    <a:pt x="1626" y="371"/>
                    <a:pt x="1633" y="377"/>
                    <a:pt x="1640" y="379"/>
                  </a:cubicBezTo>
                  <a:cubicBezTo>
                    <a:pt x="1642" y="380"/>
                    <a:pt x="1645" y="383"/>
                    <a:pt x="1646" y="381"/>
                  </a:cubicBezTo>
                  <a:cubicBezTo>
                    <a:pt x="1648" y="380"/>
                    <a:pt x="1646" y="375"/>
                    <a:pt x="1648" y="373"/>
                  </a:cubicBezTo>
                  <a:cubicBezTo>
                    <a:pt x="1654" y="365"/>
                    <a:pt x="1662" y="359"/>
                    <a:pt x="1670" y="353"/>
                  </a:cubicBezTo>
                  <a:cubicBezTo>
                    <a:pt x="1678" y="348"/>
                    <a:pt x="1686" y="342"/>
                    <a:pt x="1695" y="339"/>
                  </a:cubicBezTo>
                  <a:cubicBezTo>
                    <a:pt x="1705" y="333"/>
                    <a:pt x="1717" y="338"/>
                    <a:pt x="1727" y="337"/>
                  </a:cubicBezTo>
                  <a:cubicBezTo>
                    <a:pt x="1731" y="335"/>
                    <a:pt x="1729" y="328"/>
                    <a:pt x="1727" y="325"/>
                  </a:cubicBezTo>
                  <a:cubicBezTo>
                    <a:pt x="1721" y="315"/>
                    <a:pt x="1713" y="308"/>
                    <a:pt x="1704" y="301"/>
                  </a:cubicBezTo>
                  <a:cubicBezTo>
                    <a:pt x="1698" y="297"/>
                    <a:pt x="1690" y="298"/>
                    <a:pt x="1685" y="294"/>
                  </a:cubicBezTo>
                  <a:cubicBezTo>
                    <a:pt x="1682" y="293"/>
                    <a:pt x="1679" y="288"/>
                    <a:pt x="1682" y="286"/>
                  </a:cubicBezTo>
                  <a:cubicBezTo>
                    <a:pt x="1686" y="284"/>
                    <a:pt x="1690" y="290"/>
                    <a:pt x="1695" y="289"/>
                  </a:cubicBezTo>
                  <a:cubicBezTo>
                    <a:pt x="1701" y="289"/>
                    <a:pt x="1710" y="289"/>
                    <a:pt x="1714" y="284"/>
                  </a:cubicBezTo>
                  <a:cubicBezTo>
                    <a:pt x="1717" y="280"/>
                    <a:pt x="1712" y="274"/>
                    <a:pt x="1712" y="270"/>
                  </a:cubicBezTo>
                  <a:cubicBezTo>
                    <a:pt x="1712" y="266"/>
                    <a:pt x="1711" y="259"/>
                    <a:pt x="1714" y="258"/>
                  </a:cubicBezTo>
                  <a:cubicBezTo>
                    <a:pt x="1718" y="257"/>
                    <a:pt x="1722" y="263"/>
                    <a:pt x="1724" y="266"/>
                  </a:cubicBezTo>
                  <a:cubicBezTo>
                    <a:pt x="1727" y="270"/>
                    <a:pt x="1726" y="279"/>
                    <a:pt x="1731" y="280"/>
                  </a:cubicBezTo>
                  <a:cubicBezTo>
                    <a:pt x="1737" y="282"/>
                    <a:pt x="1744" y="272"/>
                    <a:pt x="1750" y="274"/>
                  </a:cubicBezTo>
                  <a:cubicBezTo>
                    <a:pt x="1759" y="276"/>
                    <a:pt x="1765" y="288"/>
                    <a:pt x="1772" y="293"/>
                  </a:cubicBezTo>
                  <a:cubicBezTo>
                    <a:pt x="1779" y="293"/>
                    <a:pt x="1785" y="300"/>
                    <a:pt x="1793" y="302"/>
                  </a:cubicBezTo>
                  <a:cubicBezTo>
                    <a:pt x="1796" y="302"/>
                    <a:pt x="1811" y="299"/>
                    <a:pt x="1801" y="295"/>
                  </a:cubicBezTo>
                  <a:cubicBezTo>
                    <a:pt x="1802" y="289"/>
                    <a:pt x="1797" y="281"/>
                    <a:pt x="1800" y="276"/>
                  </a:cubicBezTo>
                  <a:cubicBezTo>
                    <a:pt x="1804" y="278"/>
                    <a:pt x="1811" y="279"/>
                    <a:pt x="1816" y="276"/>
                  </a:cubicBezTo>
                  <a:cubicBezTo>
                    <a:pt x="1819" y="275"/>
                    <a:pt x="1819" y="267"/>
                    <a:pt x="1821" y="264"/>
                  </a:cubicBezTo>
                  <a:cubicBezTo>
                    <a:pt x="1813" y="260"/>
                    <a:pt x="1809" y="257"/>
                    <a:pt x="1803" y="254"/>
                  </a:cubicBezTo>
                  <a:cubicBezTo>
                    <a:pt x="1792" y="251"/>
                    <a:pt x="1781" y="245"/>
                    <a:pt x="1769" y="245"/>
                  </a:cubicBezTo>
                  <a:cubicBezTo>
                    <a:pt x="1766" y="246"/>
                    <a:pt x="1773" y="253"/>
                    <a:pt x="1771" y="255"/>
                  </a:cubicBezTo>
                  <a:cubicBezTo>
                    <a:pt x="1768" y="258"/>
                    <a:pt x="1763" y="257"/>
                    <a:pt x="1760" y="254"/>
                  </a:cubicBezTo>
                  <a:cubicBezTo>
                    <a:pt x="1754" y="248"/>
                    <a:pt x="1754" y="235"/>
                    <a:pt x="1746" y="230"/>
                  </a:cubicBezTo>
                  <a:cubicBezTo>
                    <a:pt x="1725" y="221"/>
                    <a:pt x="1710" y="214"/>
                    <a:pt x="1692" y="207"/>
                  </a:cubicBezTo>
                  <a:cubicBezTo>
                    <a:pt x="1670" y="199"/>
                    <a:pt x="1649" y="187"/>
                    <a:pt x="1626" y="182"/>
                  </a:cubicBezTo>
                  <a:cubicBezTo>
                    <a:pt x="1617" y="180"/>
                    <a:pt x="1607" y="186"/>
                    <a:pt x="1598" y="185"/>
                  </a:cubicBezTo>
                  <a:cubicBezTo>
                    <a:pt x="1589" y="184"/>
                    <a:pt x="1580" y="179"/>
                    <a:pt x="1571" y="177"/>
                  </a:cubicBezTo>
                  <a:cubicBezTo>
                    <a:pt x="1569" y="177"/>
                    <a:pt x="1564" y="177"/>
                    <a:pt x="1568" y="183"/>
                  </a:cubicBezTo>
                  <a:cubicBezTo>
                    <a:pt x="1570" y="189"/>
                    <a:pt x="1578" y="192"/>
                    <a:pt x="1579" y="199"/>
                  </a:cubicBezTo>
                  <a:cubicBezTo>
                    <a:pt x="1580" y="202"/>
                    <a:pt x="1577" y="206"/>
                    <a:pt x="1574" y="207"/>
                  </a:cubicBezTo>
                  <a:cubicBezTo>
                    <a:pt x="1569" y="209"/>
                    <a:pt x="1564" y="206"/>
                    <a:pt x="1561" y="200"/>
                  </a:cubicBezTo>
                  <a:cubicBezTo>
                    <a:pt x="1557" y="199"/>
                    <a:pt x="1552" y="200"/>
                    <a:pt x="1548" y="197"/>
                  </a:cubicBezTo>
                  <a:cubicBezTo>
                    <a:pt x="1544" y="195"/>
                    <a:pt x="1544" y="187"/>
                    <a:pt x="1540" y="185"/>
                  </a:cubicBezTo>
                  <a:cubicBezTo>
                    <a:pt x="1537" y="184"/>
                    <a:pt x="1533" y="191"/>
                    <a:pt x="1530" y="192"/>
                  </a:cubicBezTo>
                  <a:cubicBezTo>
                    <a:pt x="1517" y="192"/>
                    <a:pt x="1503" y="185"/>
                    <a:pt x="1490" y="187"/>
                  </a:cubicBezTo>
                  <a:cubicBezTo>
                    <a:pt x="1484" y="188"/>
                    <a:pt x="1475" y="191"/>
                    <a:pt x="1474" y="199"/>
                  </a:cubicBezTo>
                  <a:cubicBezTo>
                    <a:pt x="1470" y="199"/>
                    <a:pt x="1470" y="191"/>
                    <a:pt x="1467" y="190"/>
                  </a:cubicBezTo>
                  <a:cubicBezTo>
                    <a:pt x="1462" y="187"/>
                    <a:pt x="1456" y="189"/>
                    <a:pt x="1451" y="187"/>
                  </a:cubicBezTo>
                  <a:cubicBezTo>
                    <a:pt x="1450" y="187"/>
                    <a:pt x="1451" y="184"/>
                    <a:pt x="1451" y="183"/>
                  </a:cubicBezTo>
                  <a:cubicBezTo>
                    <a:pt x="1451" y="176"/>
                    <a:pt x="1448" y="168"/>
                    <a:pt x="1438" y="163"/>
                  </a:cubicBezTo>
                  <a:cubicBezTo>
                    <a:pt x="1428" y="159"/>
                    <a:pt x="1415" y="159"/>
                    <a:pt x="1404" y="159"/>
                  </a:cubicBezTo>
                  <a:cubicBezTo>
                    <a:pt x="1389" y="160"/>
                    <a:pt x="1374" y="163"/>
                    <a:pt x="1359" y="162"/>
                  </a:cubicBezTo>
                  <a:cubicBezTo>
                    <a:pt x="1357" y="161"/>
                    <a:pt x="1361" y="156"/>
                    <a:pt x="1359" y="155"/>
                  </a:cubicBezTo>
                  <a:cubicBezTo>
                    <a:pt x="1354" y="150"/>
                    <a:pt x="1351" y="148"/>
                    <a:pt x="1344" y="147"/>
                  </a:cubicBezTo>
                  <a:cubicBezTo>
                    <a:pt x="1337" y="150"/>
                    <a:pt x="1323" y="147"/>
                    <a:pt x="1316" y="145"/>
                  </a:cubicBezTo>
                  <a:cubicBezTo>
                    <a:pt x="1312" y="143"/>
                    <a:pt x="1325" y="143"/>
                    <a:pt x="1327" y="139"/>
                  </a:cubicBezTo>
                  <a:cubicBezTo>
                    <a:pt x="1319" y="132"/>
                    <a:pt x="1304" y="129"/>
                    <a:pt x="1293" y="130"/>
                  </a:cubicBezTo>
                  <a:cubicBezTo>
                    <a:pt x="1287" y="130"/>
                    <a:pt x="1289" y="135"/>
                    <a:pt x="1285" y="138"/>
                  </a:cubicBezTo>
                  <a:cubicBezTo>
                    <a:pt x="1282" y="141"/>
                    <a:pt x="1280" y="148"/>
                    <a:pt x="1276" y="147"/>
                  </a:cubicBezTo>
                  <a:cubicBezTo>
                    <a:pt x="1275" y="146"/>
                    <a:pt x="1272" y="143"/>
                    <a:pt x="1273" y="141"/>
                  </a:cubicBezTo>
                  <a:cubicBezTo>
                    <a:pt x="1277" y="140"/>
                    <a:pt x="1276" y="134"/>
                    <a:pt x="1280" y="134"/>
                  </a:cubicBezTo>
                  <a:cubicBezTo>
                    <a:pt x="1280" y="133"/>
                    <a:pt x="1281" y="140"/>
                    <a:pt x="1282" y="139"/>
                  </a:cubicBezTo>
                  <a:cubicBezTo>
                    <a:pt x="1284" y="138"/>
                    <a:pt x="1287" y="131"/>
                    <a:pt x="1286" y="131"/>
                  </a:cubicBezTo>
                  <a:cubicBezTo>
                    <a:pt x="1282" y="127"/>
                    <a:pt x="1257" y="136"/>
                    <a:pt x="1258" y="131"/>
                  </a:cubicBezTo>
                  <a:cubicBezTo>
                    <a:pt x="1259" y="129"/>
                    <a:pt x="1262" y="126"/>
                    <a:pt x="1266" y="126"/>
                  </a:cubicBezTo>
                  <a:cubicBezTo>
                    <a:pt x="1272" y="126"/>
                    <a:pt x="1280" y="129"/>
                    <a:pt x="1283" y="127"/>
                  </a:cubicBezTo>
                  <a:cubicBezTo>
                    <a:pt x="1276" y="122"/>
                    <a:pt x="1267" y="125"/>
                    <a:pt x="1262" y="124"/>
                  </a:cubicBezTo>
                  <a:cubicBezTo>
                    <a:pt x="1248" y="121"/>
                    <a:pt x="1230" y="118"/>
                    <a:pt x="1218" y="114"/>
                  </a:cubicBezTo>
                  <a:cubicBezTo>
                    <a:pt x="1216" y="116"/>
                    <a:pt x="1222" y="120"/>
                    <a:pt x="1221" y="121"/>
                  </a:cubicBezTo>
                  <a:cubicBezTo>
                    <a:pt x="1219" y="125"/>
                    <a:pt x="1211" y="122"/>
                    <a:pt x="1207" y="124"/>
                  </a:cubicBezTo>
                  <a:cubicBezTo>
                    <a:pt x="1207" y="125"/>
                    <a:pt x="1205" y="130"/>
                    <a:pt x="1206" y="132"/>
                  </a:cubicBezTo>
                  <a:cubicBezTo>
                    <a:pt x="1208" y="134"/>
                    <a:pt x="1215" y="128"/>
                    <a:pt x="1215" y="130"/>
                  </a:cubicBezTo>
                  <a:cubicBezTo>
                    <a:pt x="1210" y="135"/>
                    <a:pt x="1214" y="140"/>
                    <a:pt x="1219" y="149"/>
                  </a:cubicBezTo>
                  <a:cubicBezTo>
                    <a:pt x="1215" y="149"/>
                    <a:pt x="1208" y="144"/>
                    <a:pt x="1203" y="144"/>
                  </a:cubicBezTo>
                  <a:cubicBezTo>
                    <a:pt x="1201" y="144"/>
                    <a:pt x="1191" y="146"/>
                    <a:pt x="1203" y="151"/>
                  </a:cubicBezTo>
                  <a:cubicBezTo>
                    <a:pt x="1202" y="153"/>
                    <a:pt x="1201" y="155"/>
                    <a:pt x="1199" y="155"/>
                  </a:cubicBezTo>
                  <a:cubicBezTo>
                    <a:pt x="1189" y="152"/>
                    <a:pt x="1180" y="144"/>
                    <a:pt x="1170" y="142"/>
                  </a:cubicBezTo>
                  <a:cubicBezTo>
                    <a:pt x="1166" y="141"/>
                    <a:pt x="1165" y="148"/>
                    <a:pt x="1162" y="149"/>
                  </a:cubicBezTo>
                  <a:cubicBezTo>
                    <a:pt x="1158" y="150"/>
                    <a:pt x="1152" y="151"/>
                    <a:pt x="1148" y="149"/>
                  </a:cubicBezTo>
                  <a:cubicBezTo>
                    <a:pt x="1143" y="143"/>
                    <a:pt x="1136" y="144"/>
                    <a:pt x="1134" y="137"/>
                  </a:cubicBezTo>
                  <a:cubicBezTo>
                    <a:pt x="1130" y="138"/>
                    <a:pt x="1133" y="147"/>
                    <a:pt x="1133" y="152"/>
                  </a:cubicBezTo>
                  <a:cubicBezTo>
                    <a:pt x="1133" y="157"/>
                    <a:pt x="1131" y="164"/>
                    <a:pt x="1127" y="164"/>
                  </a:cubicBezTo>
                  <a:cubicBezTo>
                    <a:pt x="1118" y="164"/>
                    <a:pt x="1114" y="156"/>
                    <a:pt x="1106" y="151"/>
                  </a:cubicBezTo>
                  <a:cubicBezTo>
                    <a:pt x="1101" y="147"/>
                    <a:pt x="1092" y="142"/>
                    <a:pt x="1089" y="136"/>
                  </a:cubicBezTo>
                  <a:cubicBezTo>
                    <a:pt x="1091" y="134"/>
                    <a:pt x="1096" y="135"/>
                    <a:pt x="1096" y="133"/>
                  </a:cubicBezTo>
                  <a:cubicBezTo>
                    <a:pt x="1096" y="129"/>
                    <a:pt x="1095" y="126"/>
                    <a:pt x="1093" y="122"/>
                  </a:cubicBezTo>
                  <a:cubicBezTo>
                    <a:pt x="1092" y="108"/>
                    <a:pt x="1082" y="104"/>
                    <a:pt x="1073" y="100"/>
                  </a:cubicBezTo>
                  <a:cubicBezTo>
                    <a:pt x="1065" y="96"/>
                    <a:pt x="1056" y="97"/>
                    <a:pt x="1047" y="97"/>
                  </a:cubicBezTo>
                  <a:cubicBezTo>
                    <a:pt x="1034" y="97"/>
                    <a:pt x="1032" y="89"/>
                    <a:pt x="1024" y="100"/>
                  </a:cubicBezTo>
                  <a:cubicBezTo>
                    <a:pt x="1020" y="103"/>
                    <a:pt x="1030" y="112"/>
                    <a:pt x="1026" y="112"/>
                  </a:cubicBezTo>
                  <a:cubicBezTo>
                    <a:pt x="1009" y="114"/>
                    <a:pt x="985" y="110"/>
                    <a:pt x="969" y="106"/>
                  </a:cubicBezTo>
                  <a:cubicBezTo>
                    <a:pt x="973" y="103"/>
                    <a:pt x="976" y="99"/>
                    <a:pt x="973" y="99"/>
                  </a:cubicBezTo>
                  <a:cubicBezTo>
                    <a:pt x="956" y="97"/>
                    <a:pt x="938" y="96"/>
                    <a:pt x="921" y="100"/>
                  </a:cubicBezTo>
                  <a:cubicBezTo>
                    <a:pt x="917" y="101"/>
                    <a:pt x="924" y="113"/>
                    <a:pt x="921" y="113"/>
                  </a:cubicBezTo>
                  <a:cubicBezTo>
                    <a:pt x="915" y="108"/>
                    <a:pt x="916" y="96"/>
                    <a:pt x="909" y="93"/>
                  </a:cubicBezTo>
                  <a:cubicBezTo>
                    <a:pt x="907" y="92"/>
                    <a:pt x="910" y="99"/>
                    <a:pt x="908" y="100"/>
                  </a:cubicBezTo>
                  <a:cubicBezTo>
                    <a:pt x="904" y="101"/>
                    <a:pt x="899" y="101"/>
                    <a:pt x="895" y="100"/>
                  </a:cubicBezTo>
                  <a:cubicBezTo>
                    <a:pt x="891" y="98"/>
                    <a:pt x="892" y="92"/>
                    <a:pt x="888" y="91"/>
                  </a:cubicBezTo>
                  <a:cubicBezTo>
                    <a:pt x="885" y="95"/>
                    <a:pt x="876" y="87"/>
                    <a:pt x="874" y="90"/>
                  </a:cubicBezTo>
                  <a:cubicBezTo>
                    <a:pt x="873" y="92"/>
                    <a:pt x="871" y="96"/>
                    <a:pt x="873" y="97"/>
                  </a:cubicBezTo>
                  <a:cubicBezTo>
                    <a:pt x="878" y="97"/>
                    <a:pt x="883" y="95"/>
                    <a:pt x="884" y="98"/>
                  </a:cubicBezTo>
                  <a:cubicBezTo>
                    <a:pt x="880" y="101"/>
                    <a:pt x="875" y="101"/>
                    <a:pt x="870" y="103"/>
                  </a:cubicBezTo>
                  <a:cubicBezTo>
                    <a:pt x="865" y="108"/>
                    <a:pt x="857" y="108"/>
                    <a:pt x="851" y="110"/>
                  </a:cubicBezTo>
                  <a:cubicBezTo>
                    <a:pt x="848" y="112"/>
                    <a:pt x="845" y="107"/>
                    <a:pt x="841" y="109"/>
                  </a:cubicBezTo>
                  <a:cubicBezTo>
                    <a:pt x="841" y="114"/>
                    <a:pt x="833" y="119"/>
                    <a:pt x="828" y="121"/>
                  </a:cubicBezTo>
                  <a:cubicBezTo>
                    <a:pt x="828" y="121"/>
                    <a:pt x="827" y="119"/>
                    <a:pt x="828" y="119"/>
                  </a:cubicBezTo>
                  <a:cubicBezTo>
                    <a:pt x="836" y="112"/>
                    <a:pt x="845" y="95"/>
                    <a:pt x="848" y="99"/>
                  </a:cubicBezTo>
                  <a:cubicBezTo>
                    <a:pt x="859" y="91"/>
                    <a:pt x="873" y="86"/>
                    <a:pt x="884" y="78"/>
                  </a:cubicBezTo>
                  <a:cubicBezTo>
                    <a:pt x="892" y="73"/>
                    <a:pt x="901" y="68"/>
                    <a:pt x="905" y="60"/>
                  </a:cubicBezTo>
                  <a:cubicBezTo>
                    <a:pt x="907" y="57"/>
                    <a:pt x="899" y="59"/>
                    <a:pt x="897" y="57"/>
                  </a:cubicBezTo>
                  <a:cubicBezTo>
                    <a:pt x="895" y="55"/>
                    <a:pt x="889" y="50"/>
                    <a:pt x="892" y="48"/>
                  </a:cubicBezTo>
                  <a:cubicBezTo>
                    <a:pt x="896" y="46"/>
                    <a:pt x="904" y="57"/>
                    <a:pt x="905" y="52"/>
                  </a:cubicBezTo>
                  <a:cubicBezTo>
                    <a:pt x="903" y="47"/>
                    <a:pt x="900" y="42"/>
                    <a:pt x="895" y="38"/>
                  </a:cubicBezTo>
                  <a:cubicBezTo>
                    <a:pt x="893" y="37"/>
                    <a:pt x="893" y="44"/>
                    <a:pt x="891" y="43"/>
                  </a:cubicBezTo>
                  <a:cubicBezTo>
                    <a:pt x="888" y="40"/>
                    <a:pt x="885" y="34"/>
                    <a:pt x="881" y="33"/>
                  </a:cubicBezTo>
                  <a:cubicBezTo>
                    <a:pt x="870" y="29"/>
                    <a:pt x="859" y="27"/>
                    <a:pt x="847" y="26"/>
                  </a:cubicBezTo>
                  <a:cubicBezTo>
                    <a:pt x="839" y="26"/>
                    <a:pt x="828" y="34"/>
                    <a:pt x="820" y="32"/>
                  </a:cubicBezTo>
                  <a:cubicBezTo>
                    <a:pt x="821" y="27"/>
                    <a:pt x="831" y="23"/>
                    <a:pt x="828" y="21"/>
                  </a:cubicBezTo>
                  <a:cubicBezTo>
                    <a:pt x="821" y="18"/>
                    <a:pt x="816" y="20"/>
                    <a:pt x="808" y="21"/>
                  </a:cubicBezTo>
                  <a:cubicBezTo>
                    <a:pt x="813" y="15"/>
                    <a:pt x="807" y="17"/>
                    <a:pt x="802" y="19"/>
                  </a:cubicBezTo>
                  <a:cubicBezTo>
                    <a:pt x="798" y="19"/>
                    <a:pt x="794" y="20"/>
                    <a:pt x="793" y="19"/>
                  </a:cubicBezTo>
                  <a:cubicBezTo>
                    <a:pt x="795" y="16"/>
                    <a:pt x="807" y="13"/>
                    <a:pt x="810" y="9"/>
                  </a:cubicBezTo>
                  <a:cubicBezTo>
                    <a:pt x="809" y="6"/>
                    <a:pt x="807" y="4"/>
                    <a:pt x="805" y="3"/>
                  </a:cubicBezTo>
                  <a:cubicBezTo>
                    <a:pt x="807" y="13"/>
                    <a:pt x="793" y="0"/>
                    <a:pt x="788" y="1"/>
                  </a:cubicBezTo>
                  <a:cubicBezTo>
                    <a:pt x="781" y="5"/>
                    <a:pt x="770" y="11"/>
                    <a:pt x="764" y="19"/>
                  </a:cubicBezTo>
                  <a:cubicBezTo>
                    <a:pt x="762" y="22"/>
                    <a:pt x="763" y="27"/>
                    <a:pt x="764" y="31"/>
                  </a:cubicBezTo>
                  <a:cubicBezTo>
                    <a:pt x="766" y="35"/>
                    <a:pt x="780" y="37"/>
                    <a:pt x="776" y="40"/>
                  </a:cubicBezTo>
                  <a:cubicBezTo>
                    <a:pt x="772" y="43"/>
                    <a:pt x="764" y="36"/>
                    <a:pt x="758" y="35"/>
                  </a:cubicBezTo>
                  <a:cubicBezTo>
                    <a:pt x="752" y="34"/>
                    <a:pt x="746" y="35"/>
                    <a:pt x="739" y="34"/>
                  </a:cubicBezTo>
                  <a:cubicBezTo>
                    <a:pt x="736" y="38"/>
                    <a:pt x="751" y="39"/>
                    <a:pt x="754" y="44"/>
                  </a:cubicBezTo>
                  <a:cubicBezTo>
                    <a:pt x="755" y="46"/>
                    <a:pt x="753" y="51"/>
                    <a:pt x="751" y="51"/>
                  </a:cubicBezTo>
                  <a:cubicBezTo>
                    <a:pt x="753" y="43"/>
                    <a:pt x="744" y="42"/>
                    <a:pt x="740" y="42"/>
                  </a:cubicBezTo>
                  <a:cubicBezTo>
                    <a:pt x="730" y="41"/>
                    <a:pt x="720" y="47"/>
                    <a:pt x="710" y="47"/>
                  </a:cubicBezTo>
                  <a:cubicBezTo>
                    <a:pt x="709" y="47"/>
                    <a:pt x="712" y="40"/>
                    <a:pt x="710" y="40"/>
                  </a:cubicBezTo>
                  <a:cubicBezTo>
                    <a:pt x="700" y="40"/>
                    <a:pt x="691" y="41"/>
                    <a:pt x="682" y="45"/>
                  </a:cubicBezTo>
                  <a:cubicBezTo>
                    <a:pt x="679" y="46"/>
                    <a:pt x="693" y="45"/>
                    <a:pt x="691" y="48"/>
                  </a:cubicBezTo>
                  <a:cubicBezTo>
                    <a:pt x="688" y="51"/>
                    <a:pt x="682" y="50"/>
                    <a:pt x="677" y="51"/>
                  </a:cubicBezTo>
                  <a:cubicBezTo>
                    <a:pt x="664" y="53"/>
                    <a:pt x="650" y="53"/>
                    <a:pt x="637" y="57"/>
                  </a:cubicBezTo>
                  <a:cubicBezTo>
                    <a:pt x="634" y="58"/>
                    <a:pt x="632" y="61"/>
                    <a:pt x="629" y="63"/>
                  </a:cubicBezTo>
                  <a:cubicBezTo>
                    <a:pt x="618" y="62"/>
                    <a:pt x="618" y="63"/>
                    <a:pt x="626" y="68"/>
                  </a:cubicBezTo>
                  <a:cubicBezTo>
                    <a:pt x="625" y="70"/>
                    <a:pt x="621" y="74"/>
                    <a:pt x="620" y="77"/>
                  </a:cubicBezTo>
                  <a:cubicBezTo>
                    <a:pt x="620" y="77"/>
                    <a:pt x="617" y="72"/>
                    <a:pt x="615" y="71"/>
                  </a:cubicBezTo>
                  <a:cubicBezTo>
                    <a:pt x="611" y="71"/>
                    <a:pt x="609" y="74"/>
                    <a:pt x="612" y="76"/>
                  </a:cubicBezTo>
                  <a:cubicBezTo>
                    <a:pt x="613" y="76"/>
                    <a:pt x="625" y="81"/>
                    <a:pt x="623" y="82"/>
                  </a:cubicBezTo>
                  <a:cubicBezTo>
                    <a:pt x="614" y="79"/>
                    <a:pt x="612" y="81"/>
                    <a:pt x="612" y="83"/>
                  </a:cubicBezTo>
                  <a:cubicBezTo>
                    <a:pt x="612" y="84"/>
                    <a:pt x="620" y="86"/>
                    <a:pt x="621" y="87"/>
                  </a:cubicBezTo>
                  <a:cubicBezTo>
                    <a:pt x="623" y="90"/>
                    <a:pt x="631" y="94"/>
                    <a:pt x="628" y="97"/>
                  </a:cubicBezTo>
                  <a:cubicBezTo>
                    <a:pt x="627" y="98"/>
                    <a:pt x="625" y="99"/>
                    <a:pt x="624" y="99"/>
                  </a:cubicBezTo>
                  <a:cubicBezTo>
                    <a:pt x="631" y="87"/>
                    <a:pt x="613" y="97"/>
                    <a:pt x="609" y="97"/>
                  </a:cubicBezTo>
                  <a:cubicBezTo>
                    <a:pt x="607" y="96"/>
                    <a:pt x="604" y="94"/>
                    <a:pt x="602" y="94"/>
                  </a:cubicBezTo>
                  <a:cubicBezTo>
                    <a:pt x="597" y="94"/>
                    <a:pt x="593" y="97"/>
                    <a:pt x="589" y="97"/>
                  </a:cubicBezTo>
                  <a:cubicBezTo>
                    <a:pt x="579" y="99"/>
                    <a:pt x="567" y="99"/>
                    <a:pt x="558" y="100"/>
                  </a:cubicBezTo>
                  <a:cubicBezTo>
                    <a:pt x="559" y="103"/>
                    <a:pt x="562" y="108"/>
                    <a:pt x="563" y="113"/>
                  </a:cubicBezTo>
                  <a:cubicBezTo>
                    <a:pt x="565" y="116"/>
                    <a:pt x="563" y="124"/>
                    <a:pt x="566" y="127"/>
                  </a:cubicBezTo>
                  <a:cubicBezTo>
                    <a:pt x="569" y="131"/>
                    <a:pt x="575" y="128"/>
                    <a:pt x="579" y="130"/>
                  </a:cubicBezTo>
                  <a:cubicBezTo>
                    <a:pt x="582" y="132"/>
                    <a:pt x="583" y="136"/>
                    <a:pt x="586" y="138"/>
                  </a:cubicBezTo>
                  <a:cubicBezTo>
                    <a:pt x="590" y="140"/>
                    <a:pt x="594" y="138"/>
                    <a:pt x="597" y="142"/>
                  </a:cubicBezTo>
                  <a:cubicBezTo>
                    <a:pt x="599" y="145"/>
                    <a:pt x="597" y="150"/>
                    <a:pt x="599" y="153"/>
                  </a:cubicBezTo>
                  <a:cubicBezTo>
                    <a:pt x="601" y="159"/>
                    <a:pt x="608" y="162"/>
                    <a:pt x="609" y="168"/>
                  </a:cubicBezTo>
                  <a:cubicBezTo>
                    <a:pt x="609" y="172"/>
                    <a:pt x="605" y="174"/>
                    <a:pt x="602" y="175"/>
                  </a:cubicBezTo>
                  <a:cubicBezTo>
                    <a:pt x="600" y="176"/>
                    <a:pt x="597" y="174"/>
                    <a:pt x="595" y="173"/>
                  </a:cubicBezTo>
                  <a:cubicBezTo>
                    <a:pt x="594" y="172"/>
                    <a:pt x="600" y="163"/>
                    <a:pt x="598" y="160"/>
                  </a:cubicBezTo>
                  <a:cubicBezTo>
                    <a:pt x="596" y="158"/>
                    <a:pt x="592" y="168"/>
                    <a:pt x="589" y="169"/>
                  </a:cubicBezTo>
                  <a:cubicBezTo>
                    <a:pt x="590" y="161"/>
                    <a:pt x="586" y="156"/>
                    <a:pt x="587" y="151"/>
                  </a:cubicBezTo>
                  <a:cubicBezTo>
                    <a:pt x="588" y="148"/>
                    <a:pt x="593" y="149"/>
                    <a:pt x="593" y="147"/>
                  </a:cubicBezTo>
                  <a:cubicBezTo>
                    <a:pt x="593" y="146"/>
                    <a:pt x="594" y="142"/>
                    <a:pt x="590" y="142"/>
                  </a:cubicBezTo>
                  <a:cubicBezTo>
                    <a:pt x="586" y="143"/>
                    <a:pt x="581" y="144"/>
                    <a:pt x="577" y="142"/>
                  </a:cubicBezTo>
                  <a:cubicBezTo>
                    <a:pt x="572" y="140"/>
                    <a:pt x="567" y="136"/>
                    <a:pt x="565" y="131"/>
                  </a:cubicBezTo>
                  <a:cubicBezTo>
                    <a:pt x="559" y="131"/>
                    <a:pt x="550" y="126"/>
                    <a:pt x="542" y="125"/>
                  </a:cubicBezTo>
                  <a:cubicBezTo>
                    <a:pt x="538" y="125"/>
                    <a:pt x="532" y="128"/>
                    <a:pt x="532" y="132"/>
                  </a:cubicBezTo>
                  <a:cubicBezTo>
                    <a:pt x="537" y="132"/>
                    <a:pt x="540" y="133"/>
                    <a:pt x="541" y="137"/>
                  </a:cubicBezTo>
                  <a:cubicBezTo>
                    <a:pt x="542" y="139"/>
                    <a:pt x="538" y="143"/>
                    <a:pt x="535" y="142"/>
                  </a:cubicBezTo>
                  <a:cubicBezTo>
                    <a:pt x="531" y="140"/>
                    <a:pt x="529" y="133"/>
                    <a:pt x="524" y="131"/>
                  </a:cubicBezTo>
                  <a:cubicBezTo>
                    <a:pt x="523" y="132"/>
                    <a:pt x="518" y="136"/>
                    <a:pt x="516" y="137"/>
                  </a:cubicBezTo>
                  <a:cubicBezTo>
                    <a:pt x="515" y="141"/>
                    <a:pt x="519" y="143"/>
                    <a:pt x="522" y="145"/>
                  </a:cubicBezTo>
                  <a:cubicBezTo>
                    <a:pt x="527" y="148"/>
                    <a:pt x="533" y="151"/>
                    <a:pt x="539" y="150"/>
                  </a:cubicBezTo>
                  <a:cubicBezTo>
                    <a:pt x="543" y="152"/>
                    <a:pt x="546" y="156"/>
                    <a:pt x="549" y="158"/>
                  </a:cubicBezTo>
                  <a:cubicBezTo>
                    <a:pt x="550" y="159"/>
                    <a:pt x="547" y="159"/>
                    <a:pt x="546" y="159"/>
                  </a:cubicBezTo>
                  <a:cubicBezTo>
                    <a:pt x="541" y="158"/>
                    <a:pt x="538" y="153"/>
                    <a:pt x="531" y="154"/>
                  </a:cubicBezTo>
                  <a:cubicBezTo>
                    <a:pt x="524" y="152"/>
                    <a:pt x="515" y="154"/>
                    <a:pt x="511" y="148"/>
                  </a:cubicBezTo>
                  <a:cubicBezTo>
                    <a:pt x="509" y="146"/>
                    <a:pt x="511" y="141"/>
                    <a:pt x="508" y="140"/>
                  </a:cubicBezTo>
                  <a:cubicBezTo>
                    <a:pt x="507" y="134"/>
                    <a:pt x="508" y="129"/>
                    <a:pt x="507" y="124"/>
                  </a:cubicBezTo>
                  <a:cubicBezTo>
                    <a:pt x="506" y="120"/>
                    <a:pt x="503" y="116"/>
                    <a:pt x="500" y="114"/>
                  </a:cubicBezTo>
                  <a:cubicBezTo>
                    <a:pt x="499" y="113"/>
                    <a:pt x="500" y="117"/>
                    <a:pt x="501" y="119"/>
                  </a:cubicBezTo>
                  <a:cubicBezTo>
                    <a:pt x="502" y="125"/>
                    <a:pt x="503" y="131"/>
                    <a:pt x="498" y="136"/>
                  </a:cubicBezTo>
                  <a:cubicBezTo>
                    <a:pt x="497" y="138"/>
                    <a:pt x="494" y="139"/>
                    <a:pt x="491" y="140"/>
                  </a:cubicBezTo>
                  <a:cubicBezTo>
                    <a:pt x="491" y="142"/>
                    <a:pt x="488" y="146"/>
                    <a:pt x="484" y="149"/>
                  </a:cubicBezTo>
                  <a:cubicBezTo>
                    <a:pt x="490" y="154"/>
                    <a:pt x="498" y="157"/>
                    <a:pt x="501" y="164"/>
                  </a:cubicBezTo>
                  <a:cubicBezTo>
                    <a:pt x="503" y="167"/>
                    <a:pt x="499" y="173"/>
                    <a:pt x="499" y="177"/>
                  </a:cubicBezTo>
                  <a:cubicBezTo>
                    <a:pt x="500" y="184"/>
                    <a:pt x="499" y="191"/>
                    <a:pt x="503" y="196"/>
                  </a:cubicBezTo>
                  <a:cubicBezTo>
                    <a:pt x="505" y="198"/>
                    <a:pt x="510" y="197"/>
                    <a:pt x="514" y="198"/>
                  </a:cubicBezTo>
                  <a:cubicBezTo>
                    <a:pt x="519" y="195"/>
                    <a:pt x="522" y="191"/>
                    <a:pt x="526" y="192"/>
                  </a:cubicBezTo>
                  <a:cubicBezTo>
                    <a:pt x="534" y="194"/>
                    <a:pt x="538" y="199"/>
                    <a:pt x="546" y="203"/>
                  </a:cubicBezTo>
                  <a:cubicBezTo>
                    <a:pt x="550" y="207"/>
                    <a:pt x="554" y="211"/>
                    <a:pt x="555" y="216"/>
                  </a:cubicBezTo>
                  <a:cubicBezTo>
                    <a:pt x="556" y="218"/>
                    <a:pt x="549" y="217"/>
                    <a:pt x="549" y="219"/>
                  </a:cubicBezTo>
                  <a:cubicBezTo>
                    <a:pt x="549" y="222"/>
                    <a:pt x="551" y="226"/>
                    <a:pt x="553" y="227"/>
                  </a:cubicBezTo>
                  <a:cubicBezTo>
                    <a:pt x="558" y="228"/>
                    <a:pt x="563" y="226"/>
                    <a:pt x="567" y="229"/>
                  </a:cubicBezTo>
                  <a:cubicBezTo>
                    <a:pt x="570" y="230"/>
                    <a:pt x="573" y="233"/>
                    <a:pt x="572" y="236"/>
                  </a:cubicBezTo>
                  <a:cubicBezTo>
                    <a:pt x="571" y="238"/>
                    <a:pt x="569" y="232"/>
                    <a:pt x="567" y="231"/>
                  </a:cubicBezTo>
                  <a:cubicBezTo>
                    <a:pt x="562" y="230"/>
                    <a:pt x="555" y="234"/>
                    <a:pt x="550" y="231"/>
                  </a:cubicBezTo>
                  <a:cubicBezTo>
                    <a:pt x="545" y="228"/>
                    <a:pt x="546" y="220"/>
                    <a:pt x="543" y="214"/>
                  </a:cubicBezTo>
                  <a:cubicBezTo>
                    <a:pt x="541" y="210"/>
                    <a:pt x="539" y="205"/>
                    <a:pt x="535" y="203"/>
                  </a:cubicBezTo>
                  <a:cubicBezTo>
                    <a:pt x="530" y="201"/>
                    <a:pt x="525" y="202"/>
                    <a:pt x="520" y="203"/>
                  </a:cubicBezTo>
                  <a:cubicBezTo>
                    <a:pt x="517" y="204"/>
                    <a:pt x="513" y="206"/>
                    <a:pt x="513" y="209"/>
                  </a:cubicBezTo>
                  <a:cubicBezTo>
                    <a:pt x="513" y="217"/>
                    <a:pt x="520" y="217"/>
                    <a:pt x="520" y="222"/>
                  </a:cubicBezTo>
                  <a:cubicBezTo>
                    <a:pt x="521" y="226"/>
                    <a:pt x="516" y="229"/>
                    <a:pt x="514" y="232"/>
                  </a:cubicBezTo>
                  <a:cubicBezTo>
                    <a:pt x="513" y="235"/>
                    <a:pt x="513" y="240"/>
                    <a:pt x="511" y="242"/>
                  </a:cubicBezTo>
                  <a:cubicBezTo>
                    <a:pt x="508" y="246"/>
                    <a:pt x="502" y="247"/>
                    <a:pt x="499" y="251"/>
                  </a:cubicBezTo>
                  <a:cubicBezTo>
                    <a:pt x="497" y="253"/>
                    <a:pt x="501" y="255"/>
                    <a:pt x="498" y="257"/>
                  </a:cubicBezTo>
                  <a:cubicBezTo>
                    <a:pt x="493" y="259"/>
                    <a:pt x="487" y="258"/>
                    <a:pt x="482" y="258"/>
                  </a:cubicBezTo>
                  <a:cubicBezTo>
                    <a:pt x="477" y="257"/>
                    <a:pt x="468" y="257"/>
                    <a:pt x="468" y="251"/>
                  </a:cubicBezTo>
                  <a:cubicBezTo>
                    <a:pt x="472" y="250"/>
                    <a:pt x="476" y="254"/>
                    <a:pt x="481" y="252"/>
                  </a:cubicBezTo>
                  <a:cubicBezTo>
                    <a:pt x="484" y="251"/>
                    <a:pt x="487" y="247"/>
                    <a:pt x="489" y="245"/>
                  </a:cubicBezTo>
                  <a:cubicBezTo>
                    <a:pt x="493" y="239"/>
                    <a:pt x="495" y="232"/>
                    <a:pt x="499" y="227"/>
                  </a:cubicBezTo>
                  <a:cubicBezTo>
                    <a:pt x="501" y="222"/>
                    <a:pt x="498" y="214"/>
                    <a:pt x="501" y="211"/>
                  </a:cubicBezTo>
                  <a:cubicBezTo>
                    <a:pt x="500" y="206"/>
                    <a:pt x="492" y="206"/>
                    <a:pt x="491" y="201"/>
                  </a:cubicBezTo>
                  <a:cubicBezTo>
                    <a:pt x="489" y="187"/>
                    <a:pt x="487" y="171"/>
                    <a:pt x="483" y="157"/>
                  </a:cubicBezTo>
                  <a:cubicBezTo>
                    <a:pt x="481" y="154"/>
                    <a:pt x="472" y="150"/>
                    <a:pt x="471" y="144"/>
                  </a:cubicBezTo>
                  <a:cubicBezTo>
                    <a:pt x="473" y="139"/>
                    <a:pt x="476" y="134"/>
                    <a:pt x="476" y="128"/>
                  </a:cubicBezTo>
                  <a:cubicBezTo>
                    <a:pt x="476" y="123"/>
                    <a:pt x="477" y="116"/>
                    <a:pt x="472" y="114"/>
                  </a:cubicBezTo>
                  <a:cubicBezTo>
                    <a:pt x="463" y="115"/>
                    <a:pt x="447" y="115"/>
                    <a:pt x="440" y="113"/>
                  </a:cubicBezTo>
                  <a:cubicBezTo>
                    <a:pt x="433" y="118"/>
                    <a:pt x="437" y="131"/>
                    <a:pt x="433" y="139"/>
                  </a:cubicBezTo>
                  <a:cubicBezTo>
                    <a:pt x="432" y="149"/>
                    <a:pt x="417" y="147"/>
                    <a:pt x="416" y="155"/>
                  </a:cubicBezTo>
                  <a:cubicBezTo>
                    <a:pt x="416" y="157"/>
                    <a:pt x="416" y="160"/>
                    <a:pt x="416" y="162"/>
                  </a:cubicBezTo>
                  <a:cubicBezTo>
                    <a:pt x="421" y="159"/>
                    <a:pt x="423" y="168"/>
                    <a:pt x="424" y="176"/>
                  </a:cubicBezTo>
                  <a:cubicBezTo>
                    <a:pt x="424" y="181"/>
                    <a:pt x="420" y="184"/>
                    <a:pt x="424" y="187"/>
                  </a:cubicBezTo>
                  <a:cubicBezTo>
                    <a:pt x="428" y="188"/>
                    <a:pt x="434" y="190"/>
                    <a:pt x="439" y="191"/>
                  </a:cubicBezTo>
                  <a:cubicBezTo>
                    <a:pt x="438" y="198"/>
                    <a:pt x="445" y="205"/>
                    <a:pt x="450" y="205"/>
                  </a:cubicBezTo>
                  <a:cubicBezTo>
                    <a:pt x="451" y="209"/>
                    <a:pt x="446" y="214"/>
                    <a:pt x="444" y="218"/>
                  </a:cubicBezTo>
                  <a:cubicBezTo>
                    <a:pt x="427" y="205"/>
                    <a:pt x="413" y="191"/>
                    <a:pt x="393" y="186"/>
                  </a:cubicBezTo>
                  <a:cubicBezTo>
                    <a:pt x="382" y="183"/>
                    <a:pt x="371" y="181"/>
                    <a:pt x="360" y="181"/>
                  </a:cubicBezTo>
                  <a:cubicBezTo>
                    <a:pt x="356" y="181"/>
                    <a:pt x="349" y="183"/>
                    <a:pt x="350" y="187"/>
                  </a:cubicBezTo>
                  <a:cubicBezTo>
                    <a:pt x="350" y="194"/>
                    <a:pt x="363" y="196"/>
                    <a:pt x="361" y="204"/>
                  </a:cubicBezTo>
                  <a:cubicBezTo>
                    <a:pt x="357" y="209"/>
                    <a:pt x="349" y="215"/>
                    <a:pt x="341" y="213"/>
                  </a:cubicBezTo>
                  <a:cubicBezTo>
                    <a:pt x="337" y="211"/>
                    <a:pt x="343" y="201"/>
                    <a:pt x="339" y="200"/>
                  </a:cubicBezTo>
                  <a:cubicBezTo>
                    <a:pt x="327" y="199"/>
                    <a:pt x="319" y="214"/>
                    <a:pt x="315" y="207"/>
                  </a:cubicBezTo>
                  <a:cubicBezTo>
                    <a:pt x="307" y="204"/>
                    <a:pt x="300" y="206"/>
                    <a:pt x="295" y="209"/>
                  </a:cubicBezTo>
                  <a:cubicBezTo>
                    <a:pt x="296" y="216"/>
                    <a:pt x="295" y="217"/>
                    <a:pt x="291" y="214"/>
                  </a:cubicBezTo>
                  <a:cubicBezTo>
                    <a:pt x="287" y="216"/>
                    <a:pt x="277" y="217"/>
                    <a:pt x="275" y="214"/>
                  </a:cubicBezTo>
                  <a:cubicBezTo>
                    <a:pt x="281" y="212"/>
                    <a:pt x="282" y="207"/>
                    <a:pt x="281" y="203"/>
                  </a:cubicBezTo>
                  <a:cubicBezTo>
                    <a:pt x="280" y="200"/>
                    <a:pt x="276" y="201"/>
                    <a:pt x="273" y="203"/>
                  </a:cubicBezTo>
                  <a:cubicBezTo>
                    <a:pt x="271" y="205"/>
                    <a:pt x="264" y="206"/>
                    <a:pt x="271" y="211"/>
                  </a:cubicBezTo>
                  <a:cubicBezTo>
                    <a:pt x="270" y="212"/>
                    <a:pt x="268" y="216"/>
                    <a:pt x="267" y="216"/>
                  </a:cubicBezTo>
                  <a:cubicBezTo>
                    <a:pt x="265" y="215"/>
                    <a:pt x="267" y="210"/>
                    <a:pt x="264" y="210"/>
                  </a:cubicBezTo>
                  <a:cubicBezTo>
                    <a:pt x="256" y="212"/>
                    <a:pt x="250" y="216"/>
                    <a:pt x="242" y="218"/>
                  </a:cubicBezTo>
                  <a:cubicBezTo>
                    <a:pt x="240" y="219"/>
                    <a:pt x="237" y="223"/>
                    <a:pt x="234" y="225"/>
                  </a:cubicBezTo>
                  <a:cubicBezTo>
                    <a:pt x="227" y="224"/>
                    <a:pt x="227" y="228"/>
                    <a:pt x="228" y="231"/>
                  </a:cubicBezTo>
                  <a:cubicBezTo>
                    <a:pt x="225" y="233"/>
                    <a:pt x="220" y="232"/>
                    <a:pt x="219" y="234"/>
                  </a:cubicBezTo>
                  <a:cubicBezTo>
                    <a:pt x="217" y="236"/>
                    <a:pt x="220" y="242"/>
                    <a:pt x="218" y="243"/>
                  </a:cubicBezTo>
                  <a:cubicBezTo>
                    <a:pt x="212" y="246"/>
                    <a:pt x="205" y="249"/>
                    <a:pt x="198" y="246"/>
                  </a:cubicBezTo>
                  <a:cubicBezTo>
                    <a:pt x="192" y="244"/>
                    <a:pt x="187" y="236"/>
                    <a:pt x="187" y="230"/>
                  </a:cubicBezTo>
                  <a:cubicBezTo>
                    <a:pt x="188" y="225"/>
                    <a:pt x="196" y="224"/>
                    <a:pt x="201" y="224"/>
                  </a:cubicBezTo>
                  <a:cubicBezTo>
                    <a:pt x="202" y="223"/>
                    <a:pt x="201" y="220"/>
                    <a:pt x="199" y="218"/>
                  </a:cubicBezTo>
                  <a:cubicBezTo>
                    <a:pt x="197" y="214"/>
                    <a:pt x="194" y="208"/>
                    <a:pt x="189" y="208"/>
                  </a:cubicBezTo>
                  <a:cubicBezTo>
                    <a:pt x="181" y="205"/>
                    <a:pt x="172" y="205"/>
                    <a:pt x="164" y="203"/>
                  </a:cubicBezTo>
                  <a:cubicBezTo>
                    <a:pt x="163" y="203"/>
                    <a:pt x="164" y="207"/>
                    <a:pt x="165" y="208"/>
                  </a:cubicBezTo>
                  <a:cubicBezTo>
                    <a:pt x="168" y="212"/>
                    <a:pt x="175" y="214"/>
                    <a:pt x="176" y="220"/>
                  </a:cubicBezTo>
                  <a:cubicBezTo>
                    <a:pt x="177" y="225"/>
                    <a:pt x="172" y="235"/>
                    <a:pt x="173" y="241"/>
                  </a:cubicBezTo>
                  <a:cubicBezTo>
                    <a:pt x="178" y="240"/>
                    <a:pt x="178" y="243"/>
                    <a:pt x="180" y="248"/>
                  </a:cubicBezTo>
                  <a:cubicBezTo>
                    <a:pt x="181" y="252"/>
                    <a:pt x="178" y="257"/>
                    <a:pt x="180" y="262"/>
                  </a:cubicBezTo>
                  <a:cubicBezTo>
                    <a:pt x="175" y="259"/>
                    <a:pt x="170" y="256"/>
                    <a:pt x="164" y="254"/>
                  </a:cubicBezTo>
                  <a:cubicBezTo>
                    <a:pt x="162" y="253"/>
                    <a:pt x="158" y="252"/>
                    <a:pt x="156" y="253"/>
                  </a:cubicBezTo>
                  <a:cubicBezTo>
                    <a:pt x="150" y="259"/>
                    <a:pt x="142" y="264"/>
                    <a:pt x="135" y="270"/>
                  </a:cubicBezTo>
                  <a:cubicBezTo>
                    <a:pt x="133" y="271"/>
                    <a:pt x="133" y="275"/>
                    <a:pt x="134" y="277"/>
                  </a:cubicBezTo>
                  <a:cubicBezTo>
                    <a:pt x="139" y="281"/>
                    <a:pt x="143" y="288"/>
                    <a:pt x="146" y="294"/>
                  </a:cubicBezTo>
                  <a:cubicBezTo>
                    <a:pt x="144" y="295"/>
                    <a:pt x="141" y="293"/>
                    <a:pt x="139" y="293"/>
                  </a:cubicBezTo>
                  <a:cubicBezTo>
                    <a:pt x="134" y="291"/>
                    <a:pt x="131" y="289"/>
                    <a:pt x="125" y="288"/>
                  </a:cubicBezTo>
                  <a:cubicBezTo>
                    <a:pt x="121" y="287"/>
                    <a:pt x="117" y="291"/>
                    <a:pt x="113" y="289"/>
                  </a:cubicBezTo>
                  <a:cubicBezTo>
                    <a:pt x="112" y="289"/>
                    <a:pt x="120" y="286"/>
                    <a:pt x="110" y="285"/>
                  </a:cubicBezTo>
                  <a:cubicBezTo>
                    <a:pt x="110" y="283"/>
                    <a:pt x="109" y="281"/>
                    <a:pt x="107" y="280"/>
                  </a:cubicBezTo>
                  <a:cubicBezTo>
                    <a:pt x="105" y="279"/>
                    <a:pt x="101" y="279"/>
                    <a:pt x="100" y="281"/>
                  </a:cubicBezTo>
                  <a:cubicBezTo>
                    <a:pt x="96" y="286"/>
                    <a:pt x="99" y="292"/>
                    <a:pt x="104" y="294"/>
                  </a:cubicBezTo>
                  <a:cubicBezTo>
                    <a:pt x="106" y="296"/>
                    <a:pt x="110" y="293"/>
                    <a:pt x="113" y="295"/>
                  </a:cubicBezTo>
                  <a:cubicBezTo>
                    <a:pt x="115" y="297"/>
                    <a:pt x="116" y="302"/>
                    <a:pt x="113" y="304"/>
                  </a:cubicBezTo>
                  <a:cubicBezTo>
                    <a:pt x="110" y="306"/>
                    <a:pt x="105" y="306"/>
                    <a:pt x="101" y="304"/>
                  </a:cubicBezTo>
                  <a:cubicBezTo>
                    <a:pt x="97" y="303"/>
                    <a:pt x="93" y="300"/>
                    <a:pt x="89" y="298"/>
                  </a:cubicBezTo>
                  <a:cubicBezTo>
                    <a:pt x="85" y="295"/>
                    <a:pt x="82" y="293"/>
                    <a:pt x="79" y="290"/>
                  </a:cubicBezTo>
                  <a:cubicBezTo>
                    <a:pt x="77" y="286"/>
                    <a:pt x="76" y="281"/>
                    <a:pt x="75" y="276"/>
                  </a:cubicBezTo>
                  <a:cubicBezTo>
                    <a:pt x="75" y="273"/>
                    <a:pt x="78" y="269"/>
                    <a:pt x="76" y="266"/>
                  </a:cubicBezTo>
                  <a:cubicBezTo>
                    <a:pt x="73" y="261"/>
                    <a:pt x="67" y="256"/>
                    <a:pt x="61" y="256"/>
                  </a:cubicBezTo>
                  <a:cubicBezTo>
                    <a:pt x="62" y="249"/>
                    <a:pt x="51" y="248"/>
                    <a:pt x="47" y="243"/>
                  </a:cubicBezTo>
                  <a:cubicBezTo>
                    <a:pt x="46" y="242"/>
                    <a:pt x="50" y="240"/>
                    <a:pt x="51" y="241"/>
                  </a:cubicBezTo>
                  <a:cubicBezTo>
                    <a:pt x="61" y="244"/>
                    <a:pt x="69" y="250"/>
                    <a:pt x="79" y="253"/>
                  </a:cubicBezTo>
                  <a:cubicBezTo>
                    <a:pt x="84" y="255"/>
                    <a:pt x="92" y="255"/>
                    <a:pt x="98" y="257"/>
                  </a:cubicBezTo>
                  <a:cubicBezTo>
                    <a:pt x="104" y="258"/>
                    <a:pt x="107" y="260"/>
                    <a:pt x="113" y="261"/>
                  </a:cubicBezTo>
                  <a:cubicBezTo>
                    <a:pt x="123" y="261"/>
                    <a:pt x="134" y="256"/>
                    <a:pt x="142" y="250"/>
                  </a:cubicBezTo>
                  <a:cubicBezTo>
                    <a:pt x="146" y="247"/>
                    <a:pt x="148" y="240"/>
                    <a:pt x="146" y="235"/>
                  </a:cubicBezTo>
                  <a:cubicBezTo>
                    <a:pt x="143" y="228"/>
                    <a:pt x="135" y="225"/>
                    <a:pt x="129" y="221"/>
                  </a:cubicBezTo>
                  <a:cubicBezTo>
                    <a:pt x="119" y="218"/>
                    <a:pt x="112" y="211"/>
                    <a:pt x="104" y="207"/>
                  </a:cubicBezTo>
                  <a:cubicBezTo>
                    <a:pt x="94" y="202"/>
                    <a:pt x="85" y="198"/>
                    <a:pt x="74" y="196"/>
                  </a:cubicBezTo>
                  <a:cubicBezTo>
                    <a:pt x="69" y="194"/>
                    <a:pt x="58" y="190"/>
                    <a:pt x="56" y="194"/>
                  </a:cubicBezTo>
                  <a:cubicBezTo>
                    <a:pt x="50" y="193"/>
                    <a:pt x="45" y="191"/>
                    <a:pt x="40" y="188"/>
                  </a:cubicBezTo>
                  <a:cubicBezTo>
                    <a:pt x="39" y="188"/>
                    <a:pt x="39" y="185"/>
                    <a:pt x="40" y="185"/>
                  </a:cubicBezTo>
                  <a:cubicBezTo>
                    <a:pt x="43" y="184"/>
                    <a:pt x="48" y="188"/>
                    <a:pt x="50" y="185"/>
                  </a:cubicBezTo>
                  <a:cubicBezTo>
                    <a:pt x="48" y="182"/>
                    <a:pt x="45" y="181"/>
                    <a:pt x="42" y="181"/>
                  </a:cubicBezTo>
                  <a:cubicBezTo>
                    <a:pt x="37" y="181"/>
                    <a:pt x="32" y="183"/>
                    <a:pt x="27" y="185"/>
                  </a:cubicBezTo>
                  <a:cubicBezTo>
                    <a:pt x="26" y="186"/>
                    <a:pt x="26" y="188"/>
                    <a:pt x="24" y="188"/>
                  </a:cubicBezTo>
                  <a:cubicBezTo>
                    <a:pt x="22" y="188"/>
                    <a:pt x="20" y="185"/>
                    <a:pt x="18" y="185"/>
                  </a:cubicBezTo>
                  <a:cubicBezTo>
                    <a:pt x="16" y="185"/>
                    <a:pt x="17" y="190"/>
                    <a:pt x="16" y="190"/>
                  </a:cubicBezTo>
                  <a:cubicBezTo>
                    <a:pt x="13" y="191"/>
                    <a:pt x="11" y="192"/>
                    <a:pt x="9" y="193"/>
                  </a:cubicBezTo>
                  <a:cubicBezTo>
                    <a:pt x="8" y="195"/>
                    <a:pt x="9" y="198"/>
                    <a:pt x="8" y="199"/>
                  </a:cubicBezTo>
                  <a:cubicBezTo>
                    <a:pt x="7" y="200"/>
                    <a:pt x="5" y="198"/>
                    <a:pt x="4" y="198"/>
                  </a:cubicBezTo>
                  <a:cubicBezTo>
                    <a:pt x="3" y="199"/>
                    <a:pt x="0" y="200"/>
                    <a:pt x="0" y="202"/>
                  </a:cubicBezTo>
                  <a:cubicBezTo>
                    <a:pt x="0" y="203"/>
                    <a:pt x="3" y="202"/>
                    <a:pt x="3" y="203"/>
                  </a:cubicBezTo>
                  <a:cubicBezTo>
                    <a:pt x="3" y="206"/>
                    <a:pt x="1" y="207"/>
                    <a:pt x="1" y="210"/>
                  </a:cubicBezTo>
                  <a:cubicBezTo>
                    <a:pt x="1" y="212"/>
                    <a:pt x="1" y="215"/>
                    <a:pt x="3" y="217"/>
                  </a:cubicBezTo>
                  <a:cubicBezTo>
                    <a:pt x="5" y="219"/>
                    <a:pt x="10" y="217"/>
                    <a:pt x="11" y="219"/>
                  </a:cubicBezTo>
                  <a:cubicBezTo>
                    <a:pt x="12" y="221"/>
                    <a:pt x="15" y="224"/>
                    <a:pt x="19" y="228"/>
                  </a:cubicBezTo>
                  <a:lnTo>
                    <a:pt x="9" y="240"/>
                  </a:lnTo>
                  <a:lnTo>
                    <a:pt x="24" y="263"/>
                  </a:lnTo>
                  <a:lnTo>
                    <a:pt x="21" y="267"/>
                  </a:lnTo>
                  <a:cubicBezTo>
                    <a:pt x="20" y="269"/>
                    <a:pt x="18" y="271"/>
                    <a:pt x="18" y="274"/>
                  </a:cubicBezTo>
                  <a:cubicBezTo>
                    <a:pt x="18" y="276"/>
                    <a:pt x="22" y="274"/>
                    <a:pt x="22" y="276"/>
                  </a:cubicBezTo>
                  <a:cubicBezTo>
                    <a:pt x="23" y="277"/>
                    <a:pt x="20" y="278"/>
                    <a:pt x="20" y="280"/>
                  </a:cubicBezTo>
                  <a:cubicBezTo>
                    <a:pt x="19" y="282"/>
                    <a:pt x="19" y="285"/>
                    <a:pt x="20" y="287"/>
                  </a:cubicBezTo>
                  <a:cubicBezTo>
                    <a:pt x="21" y="288"/>
                    <a:pt x="23" y="286"/>
                    <a:pt x="24" y="287"/>
                  </a:cubicBezTo>
                  <a:cubicBezTo>
                    <a:pt x="25" y="289"/>
                    <a:pt x="23" y="291"/>
                    <a:pt x="24" y="293"/>
                  </a:cubicBezTo>
                  <a:cubicBezTo>
                    <a:pt x="25" y="295"/>
                    <a:pt x="27" y="295"/>
                    <a:pt x="28" y="296"/>
                  </a:cubicBezTo>
                  <a:cubicBezTo>
                    <a:pt x="29" y="297"/>
                    <a:pt x="30" y="299"/>
                    <a:pt x="30" y="301"/>
                  </a:cubicBezTo>
                  <a:cubicBezTo>
                    <a:pt x="29" y="303"/>
                    <a:pt x="25" y="305"/>
                    <a:pt x="26" y="307"/>
                  </a:cubicBezTo>
                  <a:cubicBezTo>
                    <a:pt x="28" y="310"/>
                    <a:pt x="32" y="312"/>
                    <a:pt x="35" y="315"/>
                  </a:cubicBezTo>
                  <a:cubicBezTo>
                    <a:pt x="37" y="318"/>
                    <a:pt x="42" y="320"/>
                    <a:pt x="42" y="324"/>
                  </a:cubicBezTo>
                  <a:cubicBezTo>
                    <a:pt x="42" y="328"/>
                    <a:pt x="37" y="330"/>
                    <a:pt x="35" y="333"/>
                  </a:cubicBezTo>
                  <a:cubicBezTo>
                    <a:pt x="32" y="337"/>
                    <a:pt x="30" y="342"/>
                    <a:pt x="27" y="347"/>
                  </a:cubicBezTo>
                  <a:cubicBezTo>
                    <a:pt x="25" y="351"/>
                    <a:pt x="23" y="355"/>
                    <a:pt x="20" y="358"/>
                  </a:cubicBezTo>
                  <a:cubicBezTo>
                    <a:pt x="17" y="361"/>
                    <a:pt x="12" y="362"/>
                    <a:pt x="9" y="365"/>
                  </a:cubicBezTo>
                  <a:cubicBezTo>
                    <a:pt x="7" y="367"/>
                    <a:pt x="7" y="370"/>
                    <a:pt x="5" y="373"/>
                  </a:cubicBezTo>
                  <a:cubicBezTo>
                    <a:pt x="8" y="372"/>
                    <a:pt x="11" y="368"/>
                    <a:pt x="13" y="369"/>
                  </a:cubicBezTo>
                  <a:cubicBezTo>
                    <a:pt x="15" y="370"/>
                    <a:pt x="14" y="374"/>
                    <a:pt x="15" y="375"/>
                  </a:cubicBezTo>
                  <a:cubicBezTo>
                    <a:pt x="16" y="377"/>
                    <a:pt x="18" y="379"/>
                    <a:pt x="20" y="379"/>
                  </a:cubicBezTo>
                  <a:cubicBezTo>
                    <a:pt x="22" y="380"/>
                    <a:pt x="25" y="378"/>
                    <a:pt x="27" y="378"/>
                  </a:cubicBezTo>
                  <a:cubicBezTo>
                    <a:pt x="29" y="379"/>
                    <a:pt x="30" y="381"/>
                    <a:pt x="31" y="382"/>
                  </a:cubicBezTo>
                  <a:cubicBezTo>
                    <a:pt x="32" y="384"/>
                    <a:pt x="37" y="384"/>
                    <a:pt x="35" y="385"/>
                  </a:cubicBezTo>
                  <a:cubicBezTo>
                    <a:pt x="33" y="387"/>
                    <a:pt x="30" y="386"/>
                    <a:pt x="27" y="386"/>
                  </a:cubicBezTo>
                  <a:cubicBezTo>
                    <a:pt x="25" y="386"/>
                    <a:pt x="23" y="385"/>
                    <a:pt x="21" y="386"/>
                  </a:cubicBezTo>
                  <a:cubicBezTo>
                    <a:pt x="20" y="386"/>
                    <a:pt x="20" y="388"/>
                    <a:pt x="18" y="388"/>
                  </a:cubicBezTo>
                  <a:cubicBezTo>
                    <a:pt x="17" y="388"/>
                    <a:pt x="16" y="386"/>
                    <a:pt x="14" y="386"/>
                  </a:cubicBezTo>
                  <a:cubicBezTo>
                    <a:pt x="13" y="386"/>
                    <a:pt x="11" y="387"/>
                    <a:pt x="10" y="387"/>
                  </a:cubicBezTo>
                  <a:cubicBezTo>
                    <a:pt x="9" y="387"/>
                    <a:pt x="7" y="387"/>
                    <a:pt x="7" y="388"/>
                  </a:cubicBezTo>
                  <a:cubicBezTo>
                    <a:pt x="7" y="390"/>
                    <a:pt x="8" y="391"/>
                    <a:pt x="8" y="393"/>
                  </a:cubicBezTo>
                  <a:cubicBezTo>
                    <a:pt x="8" y="394"/>
                    <a:pt x="7" y="396"/>
                    <a:pt x="7" y="398"/>
                  </a:cubicBezTo>
                  <a:cubicBezTo>
                    <a:pt x="6" y="399"/>
                    <a:pt x="6" y="400"/>
                    <a:pt x="6" y="401"/>
                  </a:cubicBezTo>
                  <a:cubicBezTo>
                    <a:pt x="6" y="404"/>
                    <a:pt x="7" y="408"/>
                    <a:pt x="7" y="410"/>
                  </a:cubicBezTo>
                  <a:cubicBezTo>
                    <a:pt x="7" y="413"/>
                    <a:pt x="4" y="415"/>
                    <a:pt x="5" y="417"/>
                  </a:cubicBezTo>
                  <a:cubicBezTo>
                    <a:pt x="6" y="419"/>
                    <a:pt x="11" y="419"/>
                    <a:pt x="13" y="421"/>
                  </a:cubicBezTo>
                  <a:cubicBezTo>
                    <a:pt x="13" y="423"/>
                    <a:pt x="12" y="425"/>
                    <a:pt x="10" y="425"/>
                  </a:cubicBezTo>
                  <a:cubicBezTo>
                    <a:pt x="8" y="425"/>
                    <a:pt x="6" y="422"/>
                    <a:pt x="3" y="421"/>
                  </a:cubicBezTo>
                  <a:cubicBezTo>
                    <a:pt x="3" y="421"/>
                    <a:pt x="3" y="422"/>
                    <a:pt x="2" y="423"/>
                  </a:cubicBezTo>
                  <a:cubicBezTo>
                    <a:pt x="2" y="424"/>
                    <a:pt x="1" y="424"/>
                    <a:pt x="1" y="425"/>
                  </a:cubicBezTo>
                  <a:cubicBezTo>
                    <a:pt x="2" y="426"/>
                    <a:pt x="3" y="428"/>
                    <a:pt x="5" y="429"/>
                  </a:cubicBezTo>
                  <a:cubicBezTo>
                    <a:pt x="6" y="431"/>
                    <a:pt x="8" y="431"/>
                    <a:pt x="8" y="433"/>
                  </a:cubicBezTo>
                  <a:cubicBezTo>
                    <a:pt x="9" y="435"/>
                    <a:pt x="8" y="438"/>
                    <a:pt x="8" y="440"/>
                  </a:cubicBezTo>
                  <a:cubicBezTo>
                    <a:pt x="10" y="444"/>
                    <a:pt x="13" y="446"/>
                    <a:pt x="14" y="450"/>
                  </a:cubicBezTo>
                  <a:cubicBezTo>
                    <a:pt x="14" y="451"/>
                    <a:pt x="13" y="453"/>
                    <a:pt x="13" y="454"/>
                  </a:cubicBezTo>
                  <a:cubicBezTo>
                    <a:pt x="15" y="454"/>
                    <a:pt x="17" y="453"/>
                    <a:pt x="19" y="454"/>
                  </a:cubicBezTo>
                  <a:cubicBezTo>
                    <a:pt x="20" y="454"/>
                    <a:pt x="20" y="457"/>
                    <a:pt x="21" y="457"/>
                  </a:cubicBezTo>
                  <a:cubicBezTo>
                    <a:pt x="23" y="458"/>
                    <a:pt x="25" y="456"/>
                    <a:pt x="27" y="457"/>
                  </a:cubicBezTo>
                  <a:cubicBezTo>
                    <a:pt x="28" y="458"/>
                    <a:pt x="26" y="461"/>
                    <a:pt x="28" y="462"/>
                  </a:cubicBezTo>
                  <a:cubicBezTo>
                    <a:pt x="30" y="463"/>
                    <a:pt x="33" y="460"/>
                    <a:pt x="36" y="460"/>
                  </a:cubicBezTo>
                  <a:cubicBezTo>
                    <a:pt x="40" y="461"/>
                    <a:pt x="46" y="461"/>
                    <a:pt x="48" y="464"/>
                  </a:cubicBezTo>
                  <a:cubicBezTo>
                    <a:pt x="50" y="468"/>
                    <a:pt x="46" y="473"/>
                    <a:pt x="47" y="478"/>
                  </a:cubicBezTo>
                  <a:cubicBezTo>
                    <a:pt x="47" y="480"/>
                    <a:pt x="49" y="480"/>
                    <a:pt x="50" y="482"/>
                  </a:cubicBezTo>
                  <a:cubicBezTo>
                    <a:pt x="51" y="483"/>
                    <a:pt x="50" y="485"/>
                    <a:pt x="51" y="486"/>
                  </a:cubicBezTo>
                  <a:cubicBezTo>
                    <a:pt x="53" y="488"/>
                    <a:pt x="57" y="488"/>
                    <a:pt x="59" y="491"/>
                  </a:cubicBezTo>
                  <a:cubicBezTo>
                    <a:pt x="60" y="493"/>
                    <a:pt x="57" y="496"/>
                    <a:pt x="59" y="497"/>
                  </a:cubicBezTo>
                  <a:cubicBezTo>
                    <a:pt x="60" y="499"/>
                    <a:pt x="63" y="497"/>
                    <a:pt x="65" y="499"/>
                  </a:cubicBezTo>
                  <a:cubicBezTo>
                    <a:pt x="67" y="500"/>
                    <a:pt x="70" y="502"/>
                    <a:pt x="70" y="505"/>
                  </a:cubicBezTo>
                  <a:cubicBezTo>
                    <a:pt x="70" y="508"/>
                    <a:pt x="67" y="508"/>
                    <a:pt x="64" y="509"/>
                  </a:cubicBezTo>
                  <a:cubicBezTo>
                    <a:pt x="63" y="510"/>
                    <a:pt x="61" y="510"/>
                    <a:pt x="60" y="509"/>
                  </a:cubicBezTo>
                  <a:cubicBezTo>
                    <a:pt x="58" y="509"/>
                    <a:pt x="58" y="506"/>
                    <a:pt x="56" y="506"/>
                  </a:cubicBezTo>
                  <a:cubicBezTo>
                    <a:pt x="55" y="506"/>
                    <a:pt x="52" y="508"/>
                    <a:pt x="52" y="510"/>
                  </a:cubicBezTo>
                  <a:cubicBezTo>
                    <a:pt x="52" y="512"/>
                    <a:pt x="56" y="514"/>
                    <a:pt x="56" y="516"/>
                  </a:cubicBezTo>
                  <a:cubicBezTo>
                    <a:pt x="58" y="519"/>
                    <a:pt x="58" y="522"/>
                    <a:pt x="58" y="525"/>
                  </a:cubicBezTo>
                  <a:cubicBezTo>
                    <a:pt x="61" y="526"/>
                    <a:pt x="62" y="528"/>
                    <a:pt x="65" y="527"/>
                  </a:cubicBezTo>
                  <a:cubicBezTo>
                    <a:pt x="66" y="527"/>
                    <a:pt x="66" y="524"/>
                    <a:pt x="67" y="523"/>
                  </a:cubicBezTo>
                  <a:cubicBezTo>
                    <a:pt x="71" y="522"/>
                    <a:pt x="74" y="522"/>
                    <a:pt x="78" y="522"/>
                  </a:cubicBezTo>
                  <a:cubicBezTo>
                    <a:pt x="81" y="522"/>
                    <a:pt x="85" y="520"/>
                    <a:pt x="87" y="522"/>
                  </a:cubicBezTo>
                  <a:cubicBezTo>
                    <a:pt x="89" y="523"/>
                    <a:pt x="87" y="526"/>
                    <a:pt x="88" y="528"/>
                  </a:cubicBezTo>
                  <a:cubicBezTo>
                    <a:pt x="89" y="530"/>
                    <a:pt x="93" y="532"/>
                    <a:pt x="93" y="534"/>
                  </a:cubicBezTo>
                  <a:cubicBezTo>
                    <a:pt x="93" y="536"/>
                    <a:pt x="90" y="536"/>
                    <a:pt x="89" y="537"/>
                  </a:cubicBezTo>
                  <a:cubicBezTo>
                    <a:pt x="89" y="538"/>
                    <a:pt x="88" y="541"/>
                    <a:pt x="89" y="541"/>
                  </a:cubicBezTo>
                  <a:cubicBezTo>
                    <a:pt x="93" y="543"/>
                    <a:pt x="99" y="540"/>
                    <a:pt x="103" y="543"/>
                  </a:cubicBezTo>
                  <a:cubicBezTo>
                    <a:pt x="106" y="546"/>
                    <a:pt x="104" y="553"/>
                    <a:pt x="107" y="557"/>
                  </a:cubicBezTo>
                  <a:cubicBezTo>
                    <a:pt x="109" y="559"/>
                    <a:pt x="113" y="557"/>
                    <a:pt x="116" y="557"/>
                  </a:cubicBezTo>
                  <a:cubicBezTo>
                    <a:pt x="119" y="557"/>
                    <a:pt x="123" y="557"/>
                    <a:pt x="126" y="556"/>
                  </a:cubicBezTo>
                  <a:cubicBezTo>
                    <a:pt x="127" y="555"/>
                    <a:pt x="127" y="551"/>
                    <a:pt x="128" y="552"/>
                  </a:cubicBezTo>
                  <a:cubicBezTo>
                    <a:pt x="131" y="554"/>
                    <a:pt x="131" y="558"/>
                    <a:pt x="133" y="560"/>
                  </a:cubicBezTo>
                  <a:cubicBezTo>
                    <a:pt x="135" y="562"/>
                    <a:pt x="137" y="564"/>
                    <a:pt x="140" y="564"/>
                  </a:cubicBezTo>
                  <a:cubicBezTo>
                    <a:pt x="141" y="564"/>
                    <a:pt x="141" y="561"/>
                    <a:pt x="142" y="562"/>
                  </a:cubicBezTo>
                  <a:cubicBezTo>
                    <a:pt x="146" y="563"/>
                    <a:pt x="148" y="565"/>
                    <a:pt x="152" y="567"/>
                  </a:cubicBezTo>
                  <a:cubicBezTo>
                    <a:pt x="154" y="568"/>
                    <a:pt x="156" y="571"/>
                    <a:pt x="159" y="571"/>
                  </a:cubicBezTo>
                  <a:cubicBezTo>
                    <a:pt x="160" y="572"/>
                    <a:pt x="162" y="569"/>
                    <a:pt x="162" y="570"/>
                  </a:cubicBezTo>
                  <a:cubicBezTo>
                    <a:pt x="163" y="573"/>
                    <a:pt x="163" y="576"/>
                    <a:pt x="162" y="578"/>
                  </a:cubicBezTo>
                  <a:cubicBezTo>
                    <a:pt x="161" y="580"/>
                    <a:pt x="158" y="579"/>
                    <a:pt x="157" y="581"/>
                  </a:cubicBezTo>
                  <a:cubicBezTo>
                    <a:pt x="157" y="583"/>
                    <a:pt x="161" y="583"/>
                    <a:pt x="161" y="584"/>
                  </a:cubicBezTo>
                  <a:cubicBezTo>
                    <a:pt x="161" y="586"/>
                    <a:pt x="158" y="584"/>
                    <a:pt x="157" y="585"/>
                  </a:cubicBezTo>
                  <a:cubicBezTo>
                    <a:pt x="156" y="586"/>
                    <a:pt x="156" y="589"/>
                    <a:pt x="157" y="590"/>
                  </a:cubicBezTo>
                  <a:cubicBezTo>
                    <a:pt x="158" y="591"/>
                    <a:pt x="160" y="589"/>
                    <a:pt x="160" y="590"/>
                  </a:cubicBezTo>
                  <a:cubicBezTo>
                    <a:pt x="162" y="592"/>
                    <a:pt x="162" y="595"/>
                    <a:pt x="161" y="597"/>
                  </a:cubicBezTo>
                  <a:cubicBezTo>
                    <a:pt x="161" y="599"/>
                    <a:pt x="160" y="601"/>
                    <a:pt x="158" y="601"/>
                  </a:cubicBezTo>
                  <a:cubicBezTo>
                    <a:pt x="154" y="602"/>
                    <a:pt x="150" y="600"/>
                    <a:pt x="147" y="601"/>
                  </a:cubicBezTo>
                  <a:cubicBezTo>
                    <a:pt x="144" y="602"/>
                    <a:pt x="142" y="605"/>
                    <a:pt x="142" y="608"/>
                  </a:cubicBezTo>
                  <a:cubicBezTo>
                    <a:pt x="141" y="610"/>
                    <a:pt x="143" y="611"/>
                    <a:pt x="144" y="613"/>
                  </a:cubicBezTo>
                  <a:cubicBezTo>
                    <a:pt x="144" y="614"/>
                    <a:pt x="144" y="615"/>
                    <a:pt x="144" y="615"/>
                  </a:cubicBezTo>
                  <a:cubicBezTo>
                    <a:pt x="145" y="613"/>
                    <a:pt x="147" y="611"/>
                    <a:pt x="150" y="610"/>
                  </a:cubicBezTo>
                  <a:cubicBezTo>
                    <a:pt x="151" y="609"/>
                    <a:pt x="152" y="611"/>
                    <a:pt x="153" y="612"/>
                  </a:cubicBezTo>
                  <a:cubicBezTo>
                    <a:pt x="154" y="613"/>
                    <a:pt x="154" y="615"/>
                    <a:pt x="153" y="615"/>
                  </a:cubicBezTo>
                  <a:cubicBezTo>
                    <a:pt x="151" y="617"/>
                    <a:pt x="148" y="617"/>
                    <a:pt x="147" y="619"/>
                  </a:cubicBezTo>
                  <a:cubicBezTo>
                    <a:pt x="146" y="620"/>
                    <a:pt x="148" y="622"/>
                    <a:pt x="147" y="623"/>
                  </a:cubicBezTo>
                  <a:cubicBezTo>
                    <a:pt x="144" y="625"/>
                    <a:pt x="137" y="622"/>
                    <a:pt x="137" y="625"/>
                  </a:cubicBezTo>
                  <a:cubicBezTo>
                    <a:pt x="138" y="629"/>
                    <a:pt x="146" y="627"/>
                    <a:pt x="147" y="630"/>
                  </a:cubicBezTo>
                  <a:cubicBezTo>
                    <a:pt x="148" y="633"/>
                    <a:pt x="142" y="630"/>
                    <a:pt x="140" y="632"/>
                  </a:cubicBezTo>
                  <a:cubicBezTo>
                    <a:pt x="138" y="634"/>
                    <a:pt x="136" y="637"/>
                    <a:pt x="136" y="640"/>
                  </a:cubicBezTo>
                  <a:cubicBezTo>
                    <a:pt x="135" y="641"/>
                    <a:pt x="138" y="643"/>
                    <a:pt x="137" y="644"/>
                  </a:cubicBezTo>
                  <a:cubicBezTo>
                    <a:pt x="136" y="645"/>
                    <a:pt x="133" y="644"/>
                    <a:pt x="131" y="644"/>
                  </a:cubicBezTo>
                  <a:cubicBezTo>
                    <a:pt x="130" y="644"/>
                    <a:pt x="128" y="643"/>
                    <a:pt x="127" y="644"/>
                  </a:cubicBezTo>
                  <a:cubicBezTo>
                    <a:pt x="126" y="645"/>
                    <a:pt x="126" y="647"/>
                    <a:pt x="126" y="648"/>
                  </a:cubicBezTo>
                  <a:cubicBezTo>
                    <a:pt x="127" y="650"/>
                    <a:pt x="130" y="650"/>
                    <a:pt x="132" y="652"/>
                  </a:cubicBezTo>
                  <a:cubicBezTo>
                    <a:pt x="133" y="653"/>
                    <a:pt x="135" y="655"/>
                    <a:pt x="137" y="656"/>
                  </a:cubicBezTo>
                  <a:cubicBezTo>
                    <a:pt x="138" y="656"/>
                    <a:pt x="139" y="655"/>
                    <a:pt x="140" y="656"/>
                  </a:cubicBezTo>
                  <a:cubicBezTo>
                    <a:pt x="146" y="658"/>
                    <a:pt x="152" y="661"/>
                    <a:pt x="157" y="665"/>
                  </a:cubicBezTo>
                  <a:cubicBezTo>
                    <a:pt x="162" y="668"/>
                    <a:pt x="165" y="672"/>
                    <a:pt x="169" y="676"/>
                  </a:cubicBezTo>
                  <a:cubicBezTo>
                    <a:pt x="172" y="675"/>
                    <a:pt x="176" y="675"/>
                    <a:pt x="180" y="676"/>
                  </a:cubicBezTo>
                  <a:cubicBezTo>
                    <a:pt x="183" y="677"/>
                    <a:pt x="185" y="680"/>
                    <a:pt x="188" y="680"/>
                  </a:cubicBezTo>
                  <a:cubicBezTo>
                    <a:pt x="191" y="681"/>
                    <a:pt x="195" y="678"/>
                    <a:pt x="198" y="679"/>
                  </a:cubicBezTo>
                  <a:cubicBezTo>
                    <a:pt x="201" y="680"/>
                    <a:pt x="203" y="683"/>
                    <a:pt x="206" y="684"/>
                  </a:cubicBezTo>
                  <a:cubicBezTo>
                    <a:pt x="209" y="686"/>
                    <a:pt x="211" y="686"/>
                    <a:pt x="214" y="688"/>
                  </a:cubicBezTo>
                  <a:cubicBezTo>
                    <a:pt x="215" y="689"/>
                    <a:pt x="215" y="691"/>
                    <a:pt x="217" y="691"/>
                  </a:cubicBezTo>
                  <a:cubicBezTo>
                    <a:pt x="219" y="691"/>
                    <a:pt x="221" y="689"/>
                    <a:pt x="223" y="689"/>
                  </a:cubicBezTo>
                  <a:cubicBezTo>
                    <a:pt x="224" y="688"/>
                    <a:pt x="226" y="688"/>
                    <a:pt x="227" y="688"/>
                  </a:cubicBezTo>
                  <a:cubicBezTo>
                    <a:pt x="228" y="688"/>
                    <a:pt x="229" y="688"/>
                    <a:pt x="230" y="688"/>
                  </a:cubicBezTo>
                  <a:cubicBezTo>
                    <a:pt x="233" y="689"/>
                    <a:pt x="236" y="690"/>
                    <a:pt x="237" y="692"/>
                  </a:cubicBezTo>
                  <a:cubicBezTo>
                    <a:pt x="238" y="693"/>
                    <a:pt x="236" y="695"/>
                    <a:pt x="237" y="696"/>
                  </a:cubicBezTo>
                  <a:cubicBezTo>
                    <a:pt x="240" y="699"/>
                    <a:pt x="244" y="700"/>
                    <a:pt x="248" y="702"/>
                  </a:cubicBezTo>
                  <a:cubicBezTo>
                    <a:pt x="250" y="703"/>
                    <a:pt x="253" y="704"/>
                    <a:pt x="255" y="706"/>
                  </a:cubicBezTo>
                  <a:cubicBezTo>
                    <a:pt x="256" y="707"/>
                    <a:pt x="257" y="711"/>
                    <a:pt x="258" y="712"/>
                  </a:cubicBezTo>
                  <a:cubicBezTo>
                    <a:pt x="260" y="714"/>
                    <a:pt x="263" y="715"/>
                    <a:pt x="266" y="714"/>
                  </a:cubicBezTo>
                  <a:cubicBezTo>
                    <a:pt x="267" y="713"/>
                    <a:pt x="266" y="710"/>
                    <a:pt x="267" y="709"/>
                  </a:cubicBezTo>
                  <a:cubicBezTo>
                    <a:pt x="268" y="708"/>
                    <a:pt x="270" y="709"/>
                    <a:pt x="271" y="708"/>
                  </a:cubicBezTo>
                  <a:cubicBezTo>
                    <a:pt x="272" y="707"/>
                    <a:pt x="272" y="706"/>
                    <a:pt x="273" y="704"/>
                  </a:cubicBezTo>
                  <a:cubicBezTo>
                    <a:pt x="271" y="702"/>
                    <a:pt x="270" y="699"/>
                    <a:pt x="268" y="696"/>
                  </a:cubicBezTo>
                  <a:cubicBezTo>
                    <a:pt x="266" y="692"/>
                    <a:pt x="263" y="689"/>
                    <a:pt x="261" y="685"/>
                  </a:cubicBezTo>
                  <a:cubicBezTo>
                    <a:pt x="259" y="683"/>
                    <a:pt x="257" y="682"/>
                    <a:pt x="257" y="679"/>
                  </a:cubicBezTo>
                  <a:cubicBezTo>
                    <a:pt x="256" y="677"/>
                    <a:pt x="259" y="674"/>
                    <a:pt x="258" y="672"/>
                  </a:cubicBezTo>
                  <a:cubicBezTo>
                    <a:pt x="257" y="668"/>
                    <a:pt x="256" y="665"/>
                    <a:pt x="254" y="662"/>
                  </a:cubicBezTo>
                  <a:cubicBezTo>
                    <a:pt x="252" y="660"/>
                    <a:pt x="247" y="660"/>
                    <a:pt x="247" y="657"/>
                  </a:cubicBezTo>
                  <a:cubicBezTo>
                    <a:pt x="246" y="653"/>
                    <a:pt x="250" y="650"/>
                    <a:pt x="252" y="647"/>
                  </a:cubicBezTo>
                  <a:cubicBezTo>
                    <a:pt x="253" y="645"/>
                    <a:pt x="253" y="641"/>
                    <a:pt x="255" y="640"/>
                  </a:cubicBezTo>
                  <a:cubicBezTo>
                    <a:pt x="256" y="638"/>
                    <a:pt x="259" y="638"/>
                    <a:pt x="261" y="638"/>
                  </a:cubicBezTo>
                  <a:cubicBezTo>
                    <a:pt x="262" y="638"/>
                    <a:pt x="263" y="640"/>
                    <a:pt x="264" y="639"/>
                  </a:cubicBezTo>
                  <a:cubicBezTo>
                    <a:pt x="265" y="637"/>
                    <a:pt x="264" y="634"/>
                    <a:pt x="266" y="633"/>
                  </a:cubicBezTo>
                  <a:cubicBezTo>
                    <a:pt x="267" y="633"/>
                    <a:pt x="269" y="637"/>
                    <a:pt x="270" y="636"/>
                  </a:cubicBezTo>
                  <a:cubicBezTo>
                    <a:pt x="272" y="634"/>
                    <a:pt x="271" y="630"/>
                    <a:pt x="272" y="628"/>
                  </a:cubicBezTo>
                  <a:cubicBezTo>
                    <a:pt x="271" y="627"/>
                    <a:pt x="270" y="626"/>
                    <a:pt x="269" y="626"/>
                  </a:cubicBezTo>
                  <a:cubicBezTo>
                    <a:pt x="267" y="626"/>
                    <a:pt x="264" y="626"/>
                    <a:pt x="263" y="624"/>
                  </a:cubicBezTo>
                  <a:cubicBezTo>
                    <a:pt x="264" y="623"/>
                    <a:pt x="263" y="621"/>
                    <a:pt x="264" y="621"/>
                  </a:cubicBezTo>
                  <a:cubicBezTo>
                    <a:pt x="265" y="619"/>
                    <a:pt x="270" y="621"/>
                    <a:pt x="269" y="619"/>
                  </a:cubicBezTo>
                  <a:cubicBezTo>
                    <a:pt x="268" y="613"/>
                    <a:pt x="263" y="608"/>
                    <a:pt x="258" y="604"/>
                  </a:cubicBezTo>
                  <a:cubicBezTo>
                    <a:pt x="257" y="603"/>
                    <a:pt x="254" y="603"/>
                    <a:pt x="252" y="603"/>
                  </a:cubicBezTo>
                  <a:cubicBezTo>
                    <a:pt x="251" y="603"/>
                    <a:pt x="252" y="605"/>
                    <a:pt x="252" y="605"/>
                  </a:cubicBezTo>
                  <a:cubicBezTo>
                    <a:pt x="250" y="604"/>
                    <a:pt x="247" y="603"/>
                    <a:pt x="246" y="602"/>
                  </a:cubicBezTo>
                  <a:cubicBezTo>
                    <a:pt x="245" y="600"/>
                    <a:pt x="247" y="596"/>
                    <a:pt x="246" y="595"/>
                  </a:cubicBezTo>
                  <a:cubicBezTo>
                    <a:pt x="244" y="593"/>
                    <a:pt x="239" y="595"/>
                    <a:pt x="238" y="593"/>
                  </a:cubicBezTo>
                  <a:cubicBezTo>
                    <a:pt x="237" y="589"/>
                    <a:pt x="240" y="585"/>
                    <a:pt x="241" y="581"/>
                  </a:cubicBezTo>
                  <a:cubicBezTo>
                    <a:pt x="242" y="580"/>
                    <a:pt x="244" y="580"/>
                    <a:pt x="244" y="579"/>
                  </a:cubicBezTo>
                  <a:cubicBezTo>
                    <a:pt x="244" y="577"/>
                    <a:pt x="241" y="576"/>
                    <a:pt x="240" y="573"/>
                  </a:cubicBezTo>
                  <a:cubicBezTo>
                    <a:pt x="239" y="571"/>
                    <a:pt x="240" y="568"/>
                    <a:pt x="241" y="565"/>
                  </a:cubicBezTo>
                  <a:cubicBezTo>
                    <a:pt x="242" y="563"/>
                    <a:pt x="245" y="562"/>
                    <a:pt x="246" y="560"/>
                  </a:cubicBezTo>
                  <a:cubicBezTo>
                    <a:pt x="247" y="558"/>
                    <a:pt x="245" y="556"/>
                    <a:pt x="246" y="554"/>
                  </a:cubicBezTo>
                  <a:cubicBezTo>
                    <a:pt x="247" y="553"/>
                    <a:pt x="250" y="553"/>
                    <a:pt x="251" y="554"/>
                  </a:cubicBezTo>
                  <a:cubicBezTo>
                    <a:pt x="255" y="557"/>
                    <a:pt x="255" y="562"/>
                    <a:pt x="259" y="565"/>
                  </a:cubicBezTo>
                  <a:cubicBezTo>
                    <a:pt x="260" y="567"/>
                    <a:pt x="262" y="567"/>
                    <a:pt x="263" y="565"/>
                  </a:cubicBezTo>
                  <a:cubicBezTo>
                    <a:pt x="264" y="564"/>
                    <a:pt x="264" y="562"/>
                    <a:pt x="263" y="561"/>
                  </a:cubicBezTo>
                  <a:cubicBezTo>
                    <a:pt x="262" y="557"/>
                    <a:pt x="258" y="555"/>
                    <a:pt x="259" y="551"/>
                  </a:cubicBezTo>
                  <a:cubicBezTo>
                    <a:pt x="259" y="549"/>
                    <a:pt x="262" y="552"/>
                    <a:pt x="264" y="551"/>
                  </a:cubicBezTo>
                  <a:cubicBezTo>
                    <a:pt x="266" y="551"/>
                    <a:pt x="268" y="550"/>
                    <a:pt x="269" y="548"/>
                  </a:cubicBezTo>
                  <a:cubicBezTo>
                    <a:pt x="270" y="547"/>
                    <a:pt x="267" y="544"/>
                    <a:pt x="269" y="543"/>
                  </a:cubicBezTo>
                  <a:cubicBezTo>
                    <a:pt x="272" y="541"/>
                    <a:pt x="276" y="542"/>
                    <a:pt x="280" y="539"/>
                  </a:cubicBezTo>
                  <a:cubicBezTo>
                    <a:pt x="282" y="538"/>
                    <a:pt x="282" y="534"/>
                    <a:pt x="284" y="533"/>
                  </a:cubicBezTo>
                  <a:cubicBezTo>
                    <a:pt x="286" y="532"/>
                    <a:pt x="289" y="533"/>
                    <a:pt x="291" y="534"/>
                  </a:cubicBezTo>
                  <a:cubicBezTo>
                    <a:pt x="292" y="535"/>
                    <a:pt x="290" y="536"/>
                    <a:pt x="290" y="537"/>
                  </a:cubicBezTo>
                  <a:cubicBezTo>
                    <a:pt x="292" y="538"/>
                    <a:pt x="294" y="538"/>
                    <a:pt x="295" y="537"/>
                  </a:cubicBezTo>
                  <a:cubicBezTo>
                    <a:pt x="297" y="536"/>
                    <a:pt x="298" y="534"/>
                    <a:pt x="301" y="533"/>
                  </a:cubicBezTo>
                  <a:cubicBezTo>
                    <a:pt x="302" y="533"/>
                    <a:pt x="303" y="535"/>
                    <a:pt x="304" y="536"/>
                  </a:cubicBezTo>
                  <a:cubicBezTo>
                    <a:pt x="307" y="536"/>
                    <a:pt x="311" y="535"/>
                    <a:pt x="314" y="536"/>
                  </a:cubicBezTo>
                  <a:cubicBezTo>
                    <a:pt x="316" y="536"/>
                    <a:pt x="317" y="539"/>
                    <a:pt x="319" y="541"/>
                  </a:cubicBezTo>
                  <a:cubicBezTo>
                    <a:pt x="322" y="543"/>
                    <a:pt x="326" y="543"/>
                    <a:pt x="328" y="546"/>
                  </a:cubicBezTo>
                  <a:cubicBezTo>
                    <a:pt x="330" y="548"/>
                    <a:pt x="328" y="551"/>
                    <a:pt x="330" y="553"/>
                  </a:cubicBezTo>
                  <a:cubicBezTo>
                    <a:pt x="330" y="554"/>
                    <a:pt x="333" y="554"/>
                    <a:pt x="333" y="553"/>
                  </a:cubicBezTo>
                  <a:cubicBezTo>
                    <a:pt x="334" y="551"/>
                    <a:pt x="331" y="546"/>
                    <a:pt x="333" y="546"/>
                  </a:cubicBezTo>
                  <a:cubicBezTo>
                    <a:pt x="338" y="546"/>
                    <a:pt x="340" y="553"/>
                    <a:pt x="345" y="553"/>
                  </a:cubicBezTo>
                  <a:cubicBezTo>
                    <a:pt x="348" y="553"/>
                    <a:pt x="349" y="547"/>
                    <a:pt x="352" y="546"/>
                  </a:cubicBezTo>
                  <a:cubicBezTo>
                    <a:pt x="354" y="544"/>
                    <a:pt x="357" y="544"/>
                    <a:pt x="360" y="544"/>
                  </a:cubicBezTo>
                  <a:cubicBezTo>
                    <a:pt x="362" y="544"/>
                    <a:pt x="364" y="547"/>
                    <a:pt x="366" y="546"/>
                  </a:cubicBezTo>
                  <a:cubicBezTo>
                    <a:pt x="367" y="546"/>
                    <a:pt x="366" y="543"/>
                    <a:pt x="368" y="542"/>
                  </a:cubicBezTo>
                  <a:cubicBezTo>
                    <a:pt x="370" y="541"/>
                    <a:pt x="373" y="542"/>
                    <a:pt x="375" y="543"/>
                  </a:cubicBezTo>
                  <a:cubicBezTo>
                    <a:pt x="377" y="544"/>
                    <a:pt x="376" y="548"/>
                    <a:pt x="378" y="550"/>
                  </a:cubicBezTo>
                  <a:cubicBezTo>
                    <a:pt x="382" y="552"/>
                    <a:pt x="387" y="553"/>
                    <a:pt x="392" y="553"/>
                  </a:cubicBezTo>
                  <a:cubicBezTo>
                    <a:pt x="394" y="552"/>
                    <a:pt x="393" y="547"/>
                    <a:pt x="395" y="547"/>
                  </a:cubicBezTo>
                  <a:cubicBezTo>
                    <a:pt x="399" y="547"/>
                    <a:pt x="402" y="552"/>
                    <a:pt x="406" y="551"/>
                  </a:cubicBezTo>
                  <a:cubicBezTo>
                    <a:pt x="409" y="551"/>
                    <a:pt x="410" y="547"/>
                    <a:pt x="411" y="545"/>
                  </a:cubicBezTo>
                  <a:cubicBezTo>
                    <a:pt x="412" y="542"/>
                    <a:pt x="413" y="539"/>
                    <a:pt x="411" y="537"/>
                  </a:cubicBezTo>
                  <a:cubicBezTo>
                    <a:pt x="410" y="535"/>
                    <a:pt x="406" y="537"/>
                    <a:pt x="404" y="536"/>
                  </a:cubicBezTo>
                  <a:cubicBezTo>
                    <a:pt x="400" y="534"/>
                    <a:pt x="396" y="530"/>
                    <a:pt x="394" y="527"/>
                  </a:cubicBezTo>
                  <a:cubicBezTo>
                    <a:pt x="397" y="525"/>
                    <a:pt x="401" y="526"/>
                    <a:pt x="403" y="523"/>
                  </a:cubicBezTo>
                  <a:cubicBezTo>
                    <a:pt x="404" y="521"/>
                    <a:pt x="400" y="520"/>
                    <a:pt x="400" y="517"/>
                  </a:cubicBezTo>
                  <a:cubicBezTo>
                    <a:pt x="400" y="514"/>
                    <a:pt x="402" y="511"/>
                    <a:pt x="405" y="510"/>
                  </a:cubicBezTo>
                  <a:cubicBezTo>
                    <a:pt x="408" y="509"/>
                    <a:pt x="411" y="513"/>
                    <a:pt x="414" y="512"/>
                  </a:cubicBezTo>
                  <a:cubicBezTo>
                    <a:pt x="416" y="511"/>
                    <a:pt x="412" y="509"/>
                    <a:pt x="410" y="508"/>
                  </a:cubicBezTo>
                  <a:cubicBezTo>
                    <a:pt x="409" y="507"/>
                    <a:pt x="406" y="508"/>
                    <a:pt x="405" y="506"/>
                  </a:cubicBezTo>
                  <a:cubicBezTo>
                    <a:pt x="404" y="505"/>
                    <a:pt x="407" y="504"/>
                    <a:pt x="406" y="503"/>
                  </a:cubicBezTo>
                  <a:cubicBezTo>
                    <a:pt x="405" y="502"/>
                    <a:pt x="402" y="504"/>
                    <a:pt x="401" y="503"/>
                  </a:cubicBezTo>
                  <a:cubicBezTo>
                    <a:pt x="399" y="501"/>
                    <a:pt x="399" y="497"/>
                    <a:pt x="401" y="495"/>
                  </a:cubicBezTo>
                  <a:cubicBezTo>
                    <a:pt x="403" y="493"/>
                    <a:pt x="408" y="496"/>
                    <a:pt x="412" y="494"/>
                  </a:cubicBezTo>
                  <a:cubicBezTo>
                    <a:pt x="414" y="494"/>
                    <a:pt x="416" y="492"/>
                    <a:pt x="419" y="494"/>
                  </a:cubicBezTo>
                  <a:cubicBezTo>
                    <a:pt x="425" y="494"/>
                    <a:pt x="430" y="492"/>
                    <a:pt x="435" y="491"/>
                  </a:cubicBezTo>
                  <a:cubicBezTo>
                    <a:pt x="439" y="487"/>
                    <a:pt x="445" y="487"/>
                    <a:pt x="451" y="488"/>
                  </a:cubicBezTo>
                  <a:cubicBezTo>
                    <a:pt x="451" y="485"/>
                    <a:pt x="453" y="482"/>
                    <a:pt x="455" y="480"/>
                  </a:cubicBezTo>
                  <a:cubicBezTo>
                    <a:pt x="456" y="479"/>
                    <a:pt x="458" y="481"/>
                    <a:pt x="459" y="481"/>
                  </a:cubicBezTo>
                  <a:cubicBezTo>
                    <a:pt x="468" y="479"/>
                    <a:pt x="476" y="478"/>
                    <a:pt x="484" y="475"/>
                  </a:cubicBezTo>
                  <a:cubicBezTo>
                    <a:pt x="486" y="474"/>
                    <a:pt x="483" y="470"/>
                    <a:pt x="485" y="469"/>
                  </a:cubicBezTo>
                  <a:cubicBezTo>
                    <a:pt x="486" y="467"/>
                    <a:pt x="489" y="466"/>
                    <a:pt x="492" y="466"/>
                  </a:cubicBezTo>
                  <a:cubicBezTo>
                    <a:pt x="498" y="467"/>
                    <a:pt x="503" y="470"/>
                    <a:pt x="509" y="471"/>
                  </a:cubicBezTo>
                  <a:cubicBezTo>
                    <a:pt x="511" y="472"/>
                    <a:pt x="513" y="469"/>
                    <a:pt x="515" y="470"/>
                  </a:cubicBezTo>
                  <a:cubicBezTo>
                    <a:pt x="517" y="473"/>
                    <a:pt x="517" y="477"/>
                    <a:pt x="518" y="480"/>
                  </a:cubicBezTo>
                  <a:cubicBezTo>
                    <a:pt x="519" y="481"/>
                    <a:pt x="521" y="482"/>
                    <a:pt x="521" y="483"/>
                  </a:cubicBezTo>
                  <a:cubicBezTo>
                    <a:pt x="522" y="485"/>
                    <a:pt x="519" y="488"/>
                    <a:pt x="520" y="490"/>
                  </a:cubicBezTo>
                  <a:cubicBezTo>
                    <a:pt x="522" y="489"/>
                    <a:pt x="524" y="490"/>
                    <a:pt x="526" y="490"/>
                  </a:cubicBezTo>
                  <a:cubicBezTo>
                    <a:pt x="527" y="490"/>
                    <a:pt x="528" y="488"/>
                    <a:pt x="529" y="488"/>
                  </a:cubicBezTo>
                  <a:cubicBezTo>
                    <a:pt x="530" y="488"/>
                    <a:pt x="531" y="489"/>
                    <a:pt x="532" y="489"/>
                  </a:cubicBezTo>
                  <a:cubicBezTo>
                    <a:pt x="533" y="488"/>
                    <a:pt x="533" y="484"/>
                    <a:pt x="534" y="485"/>
                  </a:cubicBezTo>
                  <a:cubicBezTo>
                    <a:pt x="536" y="488"/>
                    <a:pt x="535" y="492"/>
                    <a:pt x="537" y="495"/>
                  </a:cubicBezTo>
                  <a:cubicBezTo>
                    <a:pt x="538" y="496"/>
                    <a:pt x="540" y="495"/>
                    <a:pt x="540" y="494"/>
                  </a:cubicBezTo>
                  <a:cubicBezTo>
                    <a:pt x="541" y="493"/>
                    <a:pt x="539" y="491"/>
                    <a:pt x="540" y="491"/>
                  </a:cubicBezTo>
                  <a:cubicBezTo>
                    <a:pt x="543" y="490"/>
                    <a:pt x="547" y="493"/>
                    <a:pt x="550" y="493"/>
                  </a:cubicBezTo>
                  <a:cubicBezTo>
                    <a:pt x="552" y="494"/>
                    <a:pt x="548" y="497"/>
                    <a:pt x="549" y="499"/>
                  </a:cubicBezTo>
                  <a:cubicBezTo>
                    <a:pt x="549" y="500"/>
                    <a:pt x="550" y="501"/>
                    <a:pt x="551" y="501"/>
                  </a:cubicBezTo>
                  <a:cubicBezTo>
                    <a:pt x="553" y="500"/>
                    <a:pt x="555" y="497"/>
                    <a:pt x="557" y="497"/>
                  </a:cubicBezTo>
                  <a:cubicBezTo>
                    <a:pt x="559" y="497"/>
                    <a:pt x="560" y="500"/>
                    <a:pt x="561" y="500"/>
                  </a:cubicBezTo>
                  <a:cubicBezTo>
                    <a:pt x="561" y="495"/>
                    <a:pt x="570" y="495"/>
                    <a:pt x="572" y="492"/>
                  </a:cubicBezTo>
                  <a:cubicBezTo>
                    <a:pt x="579" y="491"/>
                    <a:pt x="581" y="486"/>
                    <a:pt x="587" y="487"/>
                  </a:cubicBezTo>
                  <a:cubicBezTo>
                    <a:pt x="589" y="487"/>
                    <a:pt x="584" y="491"/>
                    <a:pt x="585" y="493"/>
                  </a:cubicBezTo>
                  <a:cubicBezTo>
                    <a:pt x="586" y="495"/>
                    <a:pt x="588" y="497"/>
                    <a:pt x="591" y="499"/>
                  </a:cubicBezTo>
                  <a:cubicBezTo>
                    <a:pt x="594" y="501"/>
                    <a:pt x="598" y="501"/>
                    <a:pt x="600" y="504"/>
                  </a:cubicBezTo>
                  <a:cubicBezTo>
                    <a:pt x="613" y="519"/>
                    <a:pt x="622" y="536"/>
                    <a:pt x="635" y="550"/>
                  </a:cubicBezTo>
                  <a:cubicBezTo>
                    <a:pt x="636" y="552"/>
                    <a:pt x="638" y="548"/>
                    <a:pt x="639" y="546"/>
                  </a:cubicBezTo>
                  <a:cubicBezTo>
                    <a:pt x="639" y="545"/>
                    <a:pt x="637" y="544"/>
                    <a:pt x="638" y="543"/>
                  </a:cubicBezTo>
                  <a:cubicBezTo>
                    <a:pt x="640" y="542"/>
                    <a:pt x="642" y="542"/>
                    <a:pt x="643" y="543"/>
                  </a:cubicBezTo>
                  <a:cubicBezTo>
                    <a:pt x="645" y="543"/>
                    <a:pt x="647" y="545"/>
                    <a:pt x="648" y="547"/>
                  </a:cubicBezTo>
                  <a:cubicBezTo>
                    <a:pt x="649" y="548"/>
                    <a:pt x="646" y="549"/>
                    <a:pt x="647" y="550"/>
                  </a:cubicBezTo>
                  <a:cubicBezTo>
                    <a:pt x="648" y="550"/>
                    <a:pt x="650" y="549"/>
                    <a:pt x="651" y="550"/>
                  </a:cubicBezTo>
                  <a:cubicBezTo>
                    <a:pt x="652" y="550"/>
                    <a:pt x="651" y="552"/>
                    <a:pt x="651" y="552"/>
                  </a:cubicBezTo>
                  <a:cubicBezTo>
                    <a:pt x="656" y="553"/>
                    <a:pt x="661" y="552"/>
                    <a:pt x="666" y="552"/>
                  </a:cubicBezTo>
                  <a:cubicBezTo>
                    <a:pt x="669" y="551"/>
                    <a:pt x="669" y="546"/>
                    <a:pt x="672" y="546"/>
                  </a:cubicBezTo>
                  <a:cubicBezTo>
                    <a:pt x="677" y="547"/>
                    <a:pt x="681" y="551"/>
                    <a:pt x="684" y="555"/>
                  </a:cubicBezTo>
                  <a:cubicBezTo>
                    <a:pt x="686" y="557"/>
                    <a:pt x="685" y="561"/>
                    <a:pt x="687" y="562"/>
                  </a:cubicBezTo>
                  <a:cubicBezTo>
                    <a:pt x="689" y="564"/>
                    <a:pt x="693" y="561"/>
                    <a:pt x="696" y="562"/>
                  </a:cubicBezTo>
                  <a:cubicBezTo>
                    <a:pt x="697" y="562"/>
                    <a:pt x="697" y="565"/>
                    <a:pt x="698" y="566"/>
                  </a:cubicBezTo>
                  <a:cubicBezTo>
                    <a:pt x="699" y="568"/>
                    <a:pt x="701" y="570"/>
                    <a:pt x="704" y="571"/>
                  </a:cubicBezTo>
                  <a:cubicBezTo>
                    <a:pt x="707" y="570"/>
                    <a:pt x="709" y="573"/>
                    <a:pt x="712" y="572"/>
                  </a:cubicBezTo>
                  <a:cubicBezTo>
                    <a:pt x="714" y="571"/>
                    <a:pt x="714" y="567"/>
                    <a:pt x="716" y="567"/>
                  </a:cubicBezTo>
                  <a:cubicBezTo>
                    <a:pt x="718" y="567"/>
                    <a:pt x="715" y="570"/>
                    <a:pt x="715" y="572"/>
                  </a:cubicBezTo>
                  <a:cubicBezTo>
                    <a:pt x="718" y="575"/>
                    <a:pt x="722" y="577"/>
                    <a:pt x="725" y="580"/>
                  </a:cubicBezTo>
                  <a:cubicBezTo>
                    <a:pt x="727" y="580"/>
                    <a:pt x="730" y="580"/>
                    <a:pt x="733" y="580"/>
                  </a:cubicBezTo>
                  <a:cubicBezTo>
                    <a:pt x="735" y="578"/>
                    <a:pt x="738" y="575"/>
                    <a:pt x="740" y="574"/>
                  </a:cubicBezTo>
                  <a:cubicBezTo>
                    <a:pt x="743" y="572"/>
                    <a:pt x="747" y="573"/>
                    <a:pt x="750" y="571"/>
                  </a:cubicBezTo>
                  <a:cubicBezTo>
                    <a:pt x="752" y="570"/>
                    <a:pt x="754" y="567"/>
                    <a:pt x="756" y="565"/>
                  </a:cubicBezTo>
                  <a:cubicBezTo>
                    <a:pt x="759" y="562"/>
                    <a:pt x="762" y="559"/>
                    <a:pt x="765" y="557"/>
                  </a:cubicBezTo>
                  <a:cubicBezTo>
                    <a:pt x="767" y="556"/>
                    <a:pt x="769" y="558"/>
                    <a:pt x="771" y="557"/>
                  </a:cubicBezTo>
                  <a:cubicBezTo>
                    <a:pt x="772" y="556"/>
                    <a:pt x="772" y="554"/>
                    <a:pt x="774" y="553"/>
                  </a:cubicBezTo>
                  <a:cubicBezTo>
                    <a:pt x="775" y="552"/>
                    <a:pt x="777" y="554"/>
                    <a:pt x="779" y="553"/>
                  </a:cubicBezTo>
                  <a:cubicBezTo>
                    <a:pt x="780" y="553"/>
                    <a:pt x="781" y="551"/>
                    <a:pt x="782" y="551"/>
                  </a:cubicBezTo>
                  <a:cubicBezTo>
                    <a:pt x="783" y="551"/>
                    <a:pt x="784" y="552"/>
                    <a:pt x="785" y="552"/>
                  </a:cubicBezTo>
                  <a:cubicBezTo>
                    <a:pt x="786" y="552"/>
                    <a:pt x="787" y="550"/>
                    <a:pt x="788" y="550"/>
                  </a:cubicBezTo>
                  <a:cubicBezTo>
                    <a:pt x="790" y="551"/>
                    <a:pt x="790" y="553"/>
                    <a:pt x="792" y="553"/>
                  </a:cubicBezTo>
                  <a:cubicBezTo>
                    <a:pt x="796" y="554"/>
                    <a:pt x="801" y="553"/>
                    <a:pt x="806" y="555"/>
                  </a:cubicBezTo>
                  <a:cubicBezTo>
                    <a:pt x="807" y="555"/>
                    <a:pt x="806" y="557"/>
                    <a:pt x="806" y="558"/>
                  </a:cubicBezTo>
                  <a:cubicBezTo>
                    <a:pt x="807" y="560"/>
                    <a:pt x="808" y="562"/>
                    <a:pt x="810" y="563"/>
                  </a:cubicBezTo>
                  <a:cubicBezTo>
                    <a:pt x="813" y="565"/>
                    <a:pt x="817" y="566"/>
                    <a:pt x="820" y="567"/>
                  </a:cubicBezTo>
                  <a:cubicBezTo>
                    <a:pt x="823" y="567"/>
                    <a:pt x="826" y="566"/>
                    <a:pt x="828" y="566"/>
                  </a:cubicBezTo>
                  <a:cubicBezTo>
                    <a:pt x="832" y="566"/>
                    <a:pt x="835" y="566"/>
                    <a:pt x="839" y="566"/>
                  </a:cubicBezTo>
                  <a:cubicBezTo>
                    <a:pt x="841" y="567"/>
                    <a:pt x="843" y="568"/>
                    <a:pt x="845" y="568"/>
                  </a:cubicBezTo>
                  <a:cubicBezTo>
                    <a:pt x="847" y="568"/>
                    <a:pt x="849" y="567"/>
                    <a:pt x="850" y="565"/>
                  </a:cubicBezTo>
                  <a:cubicBezTo>
                    <a:pt x="852" y="564"/>
                    <a:pt x="854" y="561"/>
                    <a:pt x="853" y="559"/>
                  </a:cubicBezTo>
                  <a:cubicBezTo>
                    <a:pt x="853" y="556"/>
                    <a:pt x="850" y="555"/>
                    <a:pt x="849" y="553"/>
                  </a:cubicBezTo>
                  <a:cubicBezTo>
                    <a:pt x="848" y="550"/>
                    <a:pt x="847" y="547"/>
                    <a:pt x="846" y="545"/>
                  </a:cubicBezTo>
                  <a:cubicBezTo>
                    <a:pt x="846" y="542"/>
                    <a:pt x="847" y="539"/>
                    <a:pt x="848" y="537"/>
                  </a:cubicBezTo>
                  <a:cubicBezTo>
                    <a:pt x="848" y="536"/>
                    <a:pt x="850" y="537"/>
                    <a:pt x="851" y="536"/>
                  </a:cubicBezTo>
                  <a:cubicBezTo>
                    <a:pt x="852" y="533"/>
                    <a:pt x="850" y="527"/>
                    <a:pt x="853" y="526"/>
                  </a:cubicBezTo>
                  <a:cubicBezTo>
                    <a:pt x="857" y="525"/>
                    <a:pt x="860" y="532"/>
                    <a:pt x="864" y="533"/>
                  </a:cubicBezTo>
                  <a:cubicBezTo>
                    <a:pt x="868" y="534"/>
                    <a:pt x="872" y="530"/>
                    <a:pt x="876" y="531"/>
                  </a:cubicBezTo>
                  <a:cubicBezTo>
                    <a:pt x="879" y="531"/>
                    <a:pt x="881" y="535"/>
                    <a:pt x="883" y="536"/>
                  </a:cubicBezTo>
                  <a:cubicBezTo>
                    <a:pt x="886" y="537"/>
                    <a:pt x="890" y="535"/>
                    <a:pt x="892" y="537"/>
                  </a:cubicBezTo>
                  <a:cubicBezTo>
                    <a:pt x="895" y="538"/>
                    <a:pt x="898" y="540"/>
                    <a:pt x="899" y="543"/>
                  </a:cubicBezTo>
                  <a:cubicBezTo>
                    <a:pt x="900" y="546"/>
                    <a:pt x="898" y="551"/>
                    <a:pt x="900" y="554"/>
                  </a:cubicBezTo>
                  <a:cubicBezTo>
                    <a:pt x="902" y="557"/>
                    <a:pt x="905" y="560"/>
                    <a:pt x="908" y="561"/>
                  </a:cubicBezTo>
                  <a:cubicBezTo>
                    <a:pt x="910" y="562"/>
                    <a:pt x="912" y="559"/>
                    <a:pt x="914" y="559"/>
                  </a:cubicBezTo>
                  <a:cubicBezTo>
                    <a:pt x="914" y="559"/>
                    <a:pt x="913" y="561"/>
                    <a:pt x="914" y="561"/>
                  </a:cubicBezTo>
                  <a:cubicBezTo>
                    <a:pt x="916" y="562"/>
                    <a:pt x="918" y="562"/>
                    <a:pt x="920" y="562"/>
                  </a:cubicBezTo>
                  <a:cubicBezTo>
                    <a:pt x="925" y="562"/>
                    <a:pt x="929" y="562"/>
                    <a:pt x="934" y="561"/>
                  </a:cubicBezTo>
                  <a:cubicBezTo>
                    <a:pt x="935" y="561"/>
                    <a:pt x="935" y="560"/>
                    <a:pt x="936" y="560"/>
                  </a:cubicBezTo>
                  <a:cubicBezTo>
                    <a:pt x="942" y="560"/>
                    <a:pt x="948" y="559"/>
                    <a:pt x="953" y="560"/>
                  </a:cubicBezTo>
                  <a:cubicBezTo>
                    <a:pt x="956" y="560"/>
                    <a:pt x="959" y="562"/>
                    <a:pt x="962" y="563"/>
                  </a:cubicBezTo>
                  <a:cubicBezTo>
                    <a:pt x="965" y="564"/>
                    <a:pt x="969" y="563"/>
                    <a:pt x="972" y="565"/>
                  </a:cubicBezTo>
                  <a:cubicBezTo>
                    <a:pt x="973" y="567"/>
                    <a:pt x="971" y="570"/>
                    <a:pt x="972" y="571"/>
                  </a:cubicBezTo>
                  <a:cubicBezTo>
                    <a:pt x="973" y="574"/>
                    <a:pt x="975" y="576"/>
                    <a:pt x="978" y="577"/>
                  </a:cubicBezTo>
                  <a:cubicBezTo>
                    <a:pt x="985" y="579"/>
                    <a:pt x="992" y="577"/>
                    <a:pt x="1000" y="578"/>
                  </a:cubicBezTo>
                  <a:cubicBezTo>
                    <a:pt x="1001" y="578"/>
                    <a:pt x="1003" y="580"/>
                    <a:pt x="1005" y="579"/>
                  </a:cubicBezTo>
                  <a:cubicBezTo>
                    <a:pt x="1008" y="578"/>
                    <a:pt x="1009" y="575"/>
                    <a:pt x="1011" y="575"/>
                  </a:cubicBezTo>
                  <a:cubicBezTo>
                    <a:pt x="1015" y="574"/>
                    <a:pt x="1019" y="575"/>
                    <a:pt x="1023" y="574"/>
                  </a:cubicBezTo>
                  <a:cubicBezTo>
                    <a:pt x="1025" y="574"/>
                    <a:pt x="1027" y="572"/>
                    <a:pt x="1029" y="571"/>
                  </a:cubicBezTo>
                  <a:cubicBezTo>
                    <a:pt x="1031" y="569"/>
                    <a:pt x="1032" y="568"/>
                    <a:pt x="1033" y="567"/>
                  </a:cubicBezTo>
                  <a:cubicBezTo>
                    <a:pt x="1036" y="565"/>
                    <a:pt x="1039" y="564"/>
                    <a:pt x="1042" y="563"/>
                  </a:cubicBezTo>
                  <a:cubicBezTo>
                    <a:pt x="1044" y="562"/>
                    <a:pt x="1047" y="560"/>
                    <a:pt x="1049" y="561"/>
                  </a:cubicBezTo>
                  <a:cubicBezTo>
                    <a:pt x="1052" y="561"/>
                    <a:pt x="1054" y="564"/>
                    <a:pt x="1057" y="565"/>
                  </a:cubicBezTo>
                  <a:cubicBezTo>
                    <a:pt x="1059" y="566"/>
                    <a:pt x="1061" y="567"/>
                    <a:pt x="1064" y="567"/>
                  </a:cubicBezTo>
                  <a:cubicBezTo>
                    <a:pt x="1066" y="567"/>
                    <a:pt x="1069" y="566"/>
                    <a:pt x="1071" y="566"/>
                  </a:cubicBezTo>
                  <a:cubicBezTo>
                    <a:pt x="1073" y="566"/>
                    <a:pt x="1074" y="568"/>
                    <a:pt x="1075" y="568"/>
                  </a:cubicBezTo>
                  <a:cubicBezTo>
                    <a:pt x="1080" y="570"/>
                    <a:pt x="1086" y="571"/>
                    <a:pt x="1091" y="572"/>
                  </a:cubicBezTo>
                  <a:cubicBezTo>
                    <a:pt x="1095" y="569"/>
                    <a:pt x="1101" y="567"/>
                    <a:pt x="1104" y="564"/>
                  </a:cubicBezTo>
                  <a:cubicBezTo>
                    <a:pt x="1105" y="563"/>
                    <a:pt x="1103" y="561"/>
                    <a:pt x="1103" y="560"/>
                  </a:cubicBezTo>
                  <a:cubicBezTo>
                    <a:pt x="1104" y="558"/>
                    <a:pt x="1106" y="556"/>
                    <a:pt x="1107" y="553"/>
                  </a:cubicBezTo>
                  <a:cubicBezTo>
                    <a:pt x="1107" y="549"/>
                    <a:pt x="1105" y="545"/>
                    <a:pt x="1107" y="540"/>
                  </a:cubicBezTo>
                  <a:cubicBezTo>
                    <a:pt x="1108" y="537"/>
                    <a:pt x="1112" y="536"/>
                    <a:pt x="1113" y="532"/>
                  </a:cubicBezTo>
                  <a:cubicBezTo>
                    <a:pt x="1114" y="528"/>
                    <a:pt x="1114" y="523"/>
                    <a:pt x="1112" y="520"/>
                  </a:cubicBezTo>
                  <a:cubicBezTo>
                    <a:pt x="1110" y="518"/>
                    <a:pt x="1108" y="523"/>
                    <a:pt x="1106" y="523"/>
                  </a:cubicBezTo>
                  <a:cubicBezTo>
                    <a:pt x="1104" y="522"/>
                    <a:pt x="1102" y="520"/>
                    <a:pt x="1103" y="519"/>
                  </a:cubicBezTo>
                  <a:cubicBezTo>
                    <a:pt x="1104" y="515"/>
                    <a:pt x="1107" y="512"/>
                    <a:pt x="1110" y="511"/>
                  </a:cubicBezTo>
                  <a:cubicBezTo>
                    <a:pt x="1112" y="509"/>
                    <a:pt x="1115" y="511"/>
                    <a:pt x="1117" y="511"/>
                  </a:cubicBezTo>
                  <a:cubicBezTo>
                    <a:pt x="1119" y="510"/>
                    <a:pt x="1121" y="508"/>
                    <a:pt x="1124" y="507"/>
                  </a:cubicBezTo>
                  <a:cubicBezTo>
                    <a:pt x="1129" y="506"/>
                    <a:pt x="1135" y="505"/>
                    <a:pt x="1141" y="505"/>
                  </a:cubicBezTo>
                  <a:cubicBezTo>
                    <a:pt x="1145" y="505"/>
                    <a:pt x="1148" y="507"/>
                    <a:pt x="1152" y="508"/>
                  </a:cubicBezTo>
                  <a:cubicBezTo>
                    <a:pt x="1153" y="509"/>
                    <a:pt x="1155" y="509"/>
                    <a:pt x="1156" y="509"/>
                  </a:cubicBezTo>
                  <a:cubicBezTo>
                    <a:pt x="1158" y="509"/>
                    <a:pt x="1159" y="508"/>
                    <a:pt x="1160" y="508"/>
                  </a:cubicBezTo>
                  <a:cubicBezTo>
                    <a:pt x="1164" y="510"/>
                    <a:pt x="1169" y="513"/>
                    <a:pt x="1173" y="516"/>
                  </a:cubicBezTo>
                  <a:cubicBezTo>
                    <a:pt x="1175" y="518"/>
                    <a:pt x="1175" y="522"/>
                    <a:pt x="1177" y="524"/>
                  </a:cubicBezTo>
                  <a:cubicBezTo>
                    <a:pt x="1177" y="525"/>
                    <a:pt x="1179" y="525"/>
                    <a:pt x="1179" y="526"/>
                  </a:cubicBezTo>
                  <a:cubicBezTo>
                    <a:pt x="1179" y="527"/>
                    <a:pt x="1177" y="528"/>
                    <a:pt x="1178" y="529"/>
                  </a:cubicBezTo>
                  <a:cubicBezTo>
                    <a:pt x="1180" y="533"/>
                    <a:pt x="1184" y="536"/>
                    <a:pt x="1187" y="540"/>
                  </a:cubicBezTo>
                  <a:cubicBezTo>
                    <a:pt x="1188" y="541"/>
                    <a:pt x="1187" y="543"/>
                    <a:pt x="1188" y="544"/>
                  </a:cubicBezTo>
                  <a:cubicBezTo>
                    <a:pt x="1189" y="546"/>
                    <a:pt x="1191" y="547"/>
                    <a:pt x="1192" y="548"/>
                  </a:cubicBezTo>
                  <a:cubicBezTo>
                    <a:pt x="1194" y="552"/>
                    <a:pt x="1196" y="555"/>
                    <a:pt x="1197" y="559"/>
                  </a:cubicBezTo>
                  <a:cubicBezTo>
                    <a:pt x="1198" y="561"/>
                    <a:pt x="1201" y="560"/>
                    <a:pt x="1202" y="561"/>
                  </a:cubicBezTo>
                  <a:cubicBezTo>
                    <a:pt x="1202" y="562"/>
                    <a:pt x="1200" y="563"/>
                    <a:pt x="1201" y="564"/>
                  </a:cubicBezTo>
                  <a:cubicBezTo>
                    <a:pt x="1201" y="566"/>
                    <a:pt x="1202" y="569"/>
                    <a:pt x="1204" y="570"/>
                  </a:cubicBezTo>
                  <a:cubicBezTo>
                    <a:pt x="1207" y="571"/>
                    <a:pt x="1211" y="570"/>
                    <a:pt x="1214" y="572"/>
                  </a:cubicBezTo>
                  <a:cubicBezTo>
                    <a:pt x="1217" y="572"/>
                    <a:pt x="1219" y="575"/>
                    <a:pt x="1222" y="575"/>
                  </a:cubicBezTo>
                  <a:cubicBezTo>
                    <a:pt x="1224" y="575"/>
                    <a:pt x="1225" y="572"/>
                    <a:pt x="1227" y="573"/>
                  </a:cubicBezTo>
                  <a:cubicBezTo>
                    <a:pt x="1231" y="575"/>
                    <a:pt x="1233" y="580"/>
                    <a:pt x="1237" y="583"/>
                  </a:cubicBezTo>
                  <a:cubicBezTo>
                    <a:pt x="1238" y="584"/>
                    <a:pt x="1241" y="583"/>
                    <a:pt x="1243" y="584"/>
                  </a:cubicBezTo>
                  <a:cubicBezTo>
                    <a:pt x="1244" y="586"/>
                    <a:pt x="1244" y="589"/>
                    <a:pt x="1245" y="592"/>
                  </a:cubicBezTo>
                  <a:cubicBezTo>
                    <a:pt x="1245" y="593"/>
                    <a:pt x="1244" y="595"/>
                    <a:pt x="1245" y="597"/>
                  </a:cubicBezTo>
                  <a:cubicBezTo>
                    <a:pt x="1246" y="600"/>
                    <a:pt x="1248" y="605"/>
                    <a:pt x="1251" y="605"/>
                  </a:cubicBezTo>
                  <a:cubicBezTo>
                    <a:pt x="1257" y="606"/>
                    <a:pt x="1264" y="605"/>
                    <a:pt x="1270" y="605"/>
                  </a:cubicBezTo>
                  <a:cubicBezTo>
                    <a:pt x="1272" y="605"/>
                    <a:pt x="1272" y="600"/>
                    <a:pt x="1274" y="599"/>
                  </a:cubicBezTo>
                  <a:cubicBezTo>
                    <a:pt x="1281" y="597"/>
                    <a:pt x="1287" y="594"/>
                    <a:pt x="1294" y="593"/>
                  </a:cubicBezTo>
                  <a:cubicBezTo>
                    <a:pt x="1296" y="593"/>
                    <a:pt x="1294" y="597"/>
                    <a:pt x="1295" y="598"/>
                  </a:cubicBezTo>
                  <a:cubicBezTo>
                    <a:pt x="1296" y="601"/>
                    <a:pt x="1298" y="604"/>
                    <a:pt x="1298" y="607"/>
                  </a:cubicBezTo>
                  <a:cubicBezTo>
                    <a:pt x="1298" y="610"/>
                    <a:pt x="1294" y="612"/>
                    <a:pt x="1294" y="614"/>
                  </a:cubicBezTo>
                  <a:cubicBezTo>
                    <a:pt x="1293" y="618"/>
                    <a:pt x="1294" y="622"/>
                    <a:pt x="1294" y="626"/>
                  </a:cubicBezTo>
                  <a:cubicBezTo>
                    <a:pt x="1294" y="629"/>
                    <a:pt x="1294" y="631"/>
                    <a:pt x="1293" y="634"/>
                  </a:cubicBezTo>
                  <a:cubicBezTo>
                    <a:pt x="1293" y="636"/>
                    <a:pt x="1293" y="639"/>
                    <a:pt x="1292" y="641"/>
                  </a:cubicBezTo>
                  <a:cubicBezTo>
                    <a:pt x="1292" y="642"/>
                    <a:pt x="1290" y="642"/>
                    <a:pt x="1289" y="644"/>
                  </a:cubicBezTo>
                  <a:cubicBezTo>
                    <a:pt x="1289" y="645"/>
                    <a:pt x="1290" y="648"/>
                    <a:pt x="1288" y="649"/>
                  </a:cubicBezTo>
                  <a:cubicBezTo>
                    <a:pt x="1287" y="650"/>
                    <a:pt x="1285" y="650"/>
                    <a:pt x="1284" y="650"/>
                  </a:cubicBezTo>
                  <a:cubicBezTo>
                    <a:pt x="1280" y="649"/>
                    <a:pt x="1277" y="646"/>
                    <a:pt x="1274" y="646"/>
                  </a:cubicBezTo>
                  <a:cubicBezTo>
                    <a:pt x="1272" y="647"/>
                    <a:pt x="1272" y="650"/>
                    <a:pt x="1271" y="652"/>
                  </a:cubicBezTo>
                  <a:cubicBezTo>
                    <a:pt x="1269" y="653"/>
                    <a:pt x="1266" y="653"/>
                    <a:pt x="1265" y="655"/>
                  </a:cubicBezTo>
                  <a:cubicBezTo>
                    <a:pt x="1264" y="655"/>
                    <a:pt x="1265" y="657"/>
                    <a:pt x="1266" y="657"/>
                  </a:cubicBezTo>
                  <a:cubicBezTo>
                    <a:pt x="1267" y="661"/>
                    <a:pt x="1271" y="665"/>
                    <a:pt x="1271" y="669"/>
                  </a:cubicBezTo>
                  <a:cubicBezTo>
                    <a:pt x="1273" y="674"/>
                    <a:pt x="1272" y="680"/>
                    <a:pt x="1271" y="686"/>
                  </a:cubicBezTo>
                  <a:cubicBezTo>
                    <a:pt x="1271" y="688"/>
                    <a:pt x="1268" y="687"/>
                    <a:pt x="1267" y="689"/>
                  </a:cubicBezTo>
                  <a:cubicBezTo>
                    <a:pt x="1266" y="690"/>
                    <a:pt x="1266" y="692"/>
                    <a:pt x="1266" y="694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1" name="Freeform 371"/>
            <p:cNvSpPr>
              <a:spLocks noChangeAspect="1"/>
            </p:cNvSpPr>
            <p:nvPr/>
          </p:nvSpPr>
          <p:spPr bwMode="auto">
            <a:xfrm>
              <a:off x="7770813" y="2878138"/>
              <a:ext cx="134937" cy="128587"/>
            </a:xfrm>
            <a:custGeom>
              <a:avLst/>
              <a:gdLst>
                <a:gd name="T0" fmla="*/ 28508 w 71"/>
                <a:gd name="T1" fmla="*/ 1891 h 68"/>
                <a:gd name="T2" fmla="*/ 66518 w 71"/>
                <a:gd name="T3" fmla="*/ 35929 h 68"/>
                <a:gd name="T4" fmla="*/ 91225 w 71"/>
                <a:gd name="T5" fmla="*/ 45384 h 68"/>
                <a:gd name="T6" fmla="*/ 104529 w 71"/>
                <a:gd name="T7" fmla="*/ 49166 h 68"/>
                <a:gd name="T8" fmla="*/ 114031 w 71"/>
                <a:gd name="T9" fmla="*/ 39711 h 68"/>
                <a:gd name="T10" fmla="*/ 112131 w 71"/>
                <a:gd name="T11" fmla="*/ 54839 h 68"/>
                <a:gd name="T12" fmla="*/ 119733 w 71"/>
                <a:gd name="T13" fmla="*/ 71857 h 68"/>
                <a:gd name="T14" fmla="*/ 133036 w 71"/>
                <a:gd name="T15" fmla="*/ 68075 h 68"/>
                <a:gd name="T16" fmla="*/ 115932 w 71"/>
                <a:gd name="T17" fmla="*/ 81312 h 68"/>
                <a:gd name="T18" fmla="*/ 106429 w 71"/>
                <a:gd name="T19" fmla="*/ 83203 h 68"/>
                <a:gd name="T20" fmla="*/ 96927 w 71"/>
                <a:gd name="T21" fmla="*/ 83203 h 68"/>
                <a:gd name="T22" fmla="*/ 85523 w 71"/>
                <a:gd name="T23" fmla="*/ 100222 h 68"/>
                <a:gd name="T24" fmla="*/ 81722 w 71"/>
                <a:gd name="T25" fmla="*/ 115350 h 68"/>
                <a:gd name="T26" fmla="*/ 41811 w 71"/>
                <a:gd name="T27" fmla="*/ 92658 h 68"/>
                <a:gd name="T28" fmla="*/ 30408 w 71"/>
                <a:gd name="T29" fmla="*/ 102113 h 68"/>
                <a:gd name="T30" fmla="*/ 15204 w 71"/>
                <a:gd name="T31" fmla="*/ 94549 h 68"/>
                <a:gd name="T32" fmla="*/ 15204 w 71"/>
                <a:gd name="T33" fmla="*/ 100222 h 68"/>
                <a:gd name="T34" fmla="*/ 28508 w 71"/>
                <a:gd name="T35" fmla="*/ 113459 h 68"/>
                <a:gd name="T36" fmla="*/ 36110 w 71"/>
                <a:gd name="T37" fmla="*/ 119132 h 68"/>
                <a:gd name="T38" fmla="*/ 22806 w 71"/>
                <a:gd name="T39" fmla="*/ 119132 h 68"/>
                <a:gd name="T40" fmla="*/ 17105 w 71"/>
                <a:gd name="T41" fmla="*/ 128587 h 68"/>
                <a:gd name="T42" fmla="*/ 13304 w 71"/>
                <a:gd name="T43" fmla="*/ 122914 h 68"/>
                <a:gd name="T44" fmla="*/ 13304 w 71"/>
                <a:gd name="T45" fmla="*/ 113459 h 68"/>
                <a:gd name="T46" fmla="*/ 3801 w 71"/>
                <a:gd name="T47" fmla="*/ 107786 h 68"/>
                <a:gd name="T48" fmla="*/ 1901 w 71"/>
                <a:gd name="T49" fmla="*/ 92658 h 68"/>
                <a:gd name="T50" fmla="*/ 11403 w 71"/>
                <a:gd name="T51" fmla="*/ 83203 h 68"/>
                <a:gd name="T52" fmla="*/ 3801 w 71"/>
                <a:gd name="T53" fmla="*/ 73748 h 68"/>
                <a:gd name="T54" fmla="*/ 7602 w 71"/>
                <a:gd name="T55" fmla="*/ 69966 h 68"/>
                <a:gd name="T56" fmla="*/ 26607 w 71"/>
                <a:gd name="T57" fmla="*/ 73748 h 68"/>
                <a:gd name="T58" fmla="*/ 22806 w 71"/>
                <a:gd name="T59" fmla="*/ 60512 h 68"/>
                <a:gd name="T60" fmla="*/ 32309 w 71"/>
                <a:gd name="T61" fmla="*/ 47275 h 68"/>
                <a:gd name="T62" fmla="*/ 28508 w 71"/>
                <a:gd name="T63" fmla="*/ 34038 h 68"/>
                <a:gd name="T64" fmla="*/ 28508 w 71"/>
                <a:gd name="T65" fmla="*/ 20801 h 68"/>
                <a:gd name="T66" fmla="*/ 19005 w 71"/>
                <a:gd name="T67" fmla="*/ 9455 h 68"/>
                <a:gd name="T68" fmla="*/ 28508 w 71"/>
                <a:gd name="T69" fmla="*/ 1891 h 6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1"/>
                <a:gd name="T106" fmla="*/ 0 h 68"/>
                <a:gd name="T107" fmla="*/ 71 w 71"/>
                <a:gd name="T108" fmla="*/ 68 h 6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1" h="68">
                  <a:moveTo>
                    <a:pt x="15" y="1"/>
                  </a:moveTo>
                  <a:cubicBezTo>
                    <a:pt x="23" y="6"/>
                    <a:pt x="28" y="14"/>
                    <a:pt x="35" y="19"/>
                  </a:cubicBezTo>
                  <a:cubicBezTo>
                    <a:pt x="39" y="22"/>
                    <a:pt x="44" y="23"/>
                    <a:pt x="48" y="24"/>
                  </a:cubicBezTo>
                  <a:cubicBezTo>
                    <a:pt x="50" y="25"/>
                    <a:pt x="52" y="27"/>
                    <a:pt x="55" y="26"/>
                  </a:cubicBezTo>
                  <a:cubicBezTo>
                    <a:pt x="57" y="26"/>
                    <a:pt x="58" y="20"/>
                    <a:pt x="60" y="21"/>
                  </a:cubicBezTo>
                  <a:cubicBezTo>
                    <a:pt x="62" y="23"/>
                    <a:pt x="59" y="27"/>
                    <a:pt x="59" y="29"/>
                  </a:cubicBezTo>
                  <a:cubicBezTo>
                    <a:pt x="60" y="32"/>
                    <a:pt x="61" y="36"/>
                    <a:pt x="63" y="38"/>
                  </a:cubicBezTo>
                  <a:cubicBezTo>
                    <a:pt x="65" y="39"/>
                    <a:pt x="71" y="34"/>
                    <a:pt x="70" y="36"/>
                  </a:cubicBezTo>
                  <a:cubicBezTo>
                    <a:pt x="68" y="39"/>
                    <a:pt x="64" y="41"/>
                    <a:pt x="61" y="43"/>
                  </a:cubicBezTo>
                  <a:cubicBezTo>
                    <a:pt x="59" y="43"/>
                    <a:pt x="57" y="43"/>
                    <a:pt x="56" y="44"/>
                  </a:cubicBezTo>
                  <a:cubicBezTo>
                    <a:pt x="54" y="44"/>
                    <a:pt x="52" y="43"/>
                    <a:pt x="51" y="44"/>
                  </a:cubicBezTo>
                  <a:cubicBezTo>
                    <a:pt x="48" y="46"/>
                    <a:pt x="46" y="50"/>
                    <a:pt x="45" y="53"/>
                  </a:cubicBezTo>
                  <a:cubicBezTo>
                    <a:pt x="44" y="56"/>
                    <a:pt x="46" y="61"/>
                    <a:pt x="43" y="61"/>
                  </a:cubicBezTo>
                  <a:cubicBezTo>
                    <a:pt x="35" y="59"/>
                    <a:pt x="30" y="51"/>
                    <a:pt x="22" y="49"/>
                  </a:cubicBezTo>
                  <a:cubicBezTo>
                    <a:pt x="19" y="49"/>
                    <a:pt x="18" y="54"/>
                    <a:pt x="16" y="54"/>
                  </a:cubicBezTo>
                  <a:cubicBezTo>
                    <a:pt x="13" y="54"/>
                    <a:pt x="11" y="51"/>
                    <a:pt x="8" y="50"/>
                  </a:cubicBezTo>
                  <a:cubicBezTo>
                    <a:pt x="7" y="50"/>
                    <a:pt x="7" y="52"/>
                    <a:pt x="8" y="53"/>
                  </a:cubicBezTo>
                  <a:cubicBezTo>
                    <a:pt x="10" y="56"/>
                    <a:pt x="13" y="58"/>
                    <a:pt x="15" y="60"/>
                  </a:cubicBezTo>
                  <a:cubicBezTo>
                    <a:pt x="17" y="61"/>
                    <a:pt x="20" y="62"/>
                    <a:pt x="19" y="63"/>
                  </a:cubicBezTo>
                  <a:cubicBezTo>
                    <a:pt x="17" y="65"/>
                    <a:pt x="14" y="62"/>
                    <a:pt x="12" y="63"/>
                  </a:cubicBezTo>
                  <a:cubicBezTo>
                    <a:pt x="10" y="64"/>
                    <a:pt x="11" y="67"/>
                    <a:pt x="9" y="68"/>
                  </a:cubicBezTo>
                  <a:cubicBezTo>
                    <a:pt x="8" y="68"/>
                    <a:pt x="7" y="66"/>
                    <a:pt x="7" y="65"/>
                  </a:cubicBezTo>
                  <a:cubicBezTo>
                    <a:pt x="6" y="63"/>
                    <a:pt x="7" y="61"/>
                    <a:pt x="7" y="60"/>
                  </a:cubicBezTo>
                  <a:cubicBezTo>
                    <a:pt x="6" y="58"/>
                    <a:pt x="3" y="58"/>
                    <a:pt x="2" y="57"/>
                  </a:cubicBezTo>
                  <a:cubicBezTo>
                    <a:pt x="0" y="54"/>
                    <a:pt x="0" y="51"/>
                    <a:pt x="1" y="49"/>
                  </a:cubicBezTo>
                  <a:cubicBezTo>
                    <a:pt x="1" y="46"/>
                    <a:pt x="5" y="46"/>
                    <a:pt x="6" y="44"/>
                  </a:cubicBezTo>
                  <a:cubicBezTo>
                    <a:pt x="6" y="42"/>
                    <a:pt x="3" y="41"/>
                    <a:pt x="2" y="39"/>
                  </a:cubicBezTo>
                  <a:cubicBezTo>
                    <a:pt x="2" y="38"/>
                    <a:pt x="3" y="37"/>
                    <a:pt x="4" y="37"/>
                  </a:cubicBezTo>
                  <a:cubicBezTo>
                    <a:pt x="7" y="37"/>
                    <a:pt x="11" y="41"/>
                    <a:pt x="14" y="39"/>
                  </a:cubicBezTo>
                  <a:cubicBezTo>
                    <a:pt x="16" y="38"/>
                    <a:pt x="11" y="34"/>
                    <a:pt x="12" y="32"/>
                  </a:cubicBezTo>
                  <a:cubicBezTo>
                    <a:pt x="12" y="29"/>
                    <a:pt x="16" y="28"/>
                    <a:pt x="17" y="25"/>
                  </a:cubicBezTo>
                  <a:cubicBezTo>
                    <a:pt x="17" y="23"/>
                    <a:pt x="15" y="20"/>
                    <a:pt x="15" y="18"/>
                  </a:cubicBezTo>
                  <a:cubicBezTo>
                    <a:pt x="14" y="16"/>
                    <a:pt x="15" y="13"/>
                    <a:pt x="15" y="11"/>
                  </a:cubicBezTo>
                  <a:cubicBezTo>
                    <a:pt x="14" y="9"/>
                    <a:pt x="10" y="8"/>
                    <a:pt x="10" y="5"/>
                  </a:cubicBezTo>
                  <a:cubicBezTo>
                    <a:pt x="10" y="3"/>
                    <a:pt x="13" y="0"/>
                    <a:pt x="1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2" name="Freeform 372"/>
            <p:cNvSpPr>
              <a:spLocks noChangeAspect="1"/>
            </p:cNvSpPr>
            <p:nvPr/>
          </p:nvSpPr>
          <p:spPr bwMode="auto">
            <a:xfrm>
              <a:off x="7610475" y="3005138"/>
              <a:ext cx="234950" cy="252412"/>
            </a:xfrm>
            <a:custGeom>
              <a:avLst/>
              <a:gdLst>
                <a:gd name="T0" fmla="*/ 194837 w 123"/>
                <a:gd name="T1" fmla="*/ 9561 h 132"/>
                <a:gd name="T2" fmla="*/ 206298 w 123"/>
                <a:gd name="T3" fmla="*/ 22947 h 132"/>
                <a:gd name="T4" fmla="*/ 189106 w 123"/>
                <a:gd name="T5" fmla="*/ 11473 h 132"/>
                <a:gd name="T6" fmla="*/ 183376 w 123"/>
                <a:gd name="T7" fmla="*/ 22947 h 132"/>
                <a:gd name="T8" fmla="*/ 179555 w 123"/>
                <a:gd name="T9" fmla="*/ 43981 h 132"/>
                <a:gd name="T10" fmla="*/ 185286 w 123"/>
                <a:gd name="T11" fmla="*/ 49718 h 132"/>
                <a:gd name="T12" fmla="*/ 183376 w 123"/>
                <a:gd name="T13" fmla="*/ 95611 h 132"/>
                <a:gd name="T14" fmla="*/ 168094 w 123"/>
                <a:gd name="T15" fmla="*/ 120469 h 132"/>
                <a:gd name="T16" fmla="*/ 137532 w 123"/>
                <a:gd name="T17" fmla="*/ 149153 h 132"/>
                <a:gd name="T18" fmla="*/ 135622 w 123"/>
                <a:gd name="T19" fmla="*/ 131943 h 132"/>
                <a:gd name="T20" fmla="*/ 124161 w 123"/>
                <a:gd name="T21" fmla="*/ 137679 h 132"/>
                <a:gd name="T22" fmla="*/ 116520 w 123"/>
                <a:gd name="T23" fmla="*/ 170187 h 132"/>
                <a:gd name="T24" fmla="*/ 105059 w 123"/>
                <a:gd name="T25" fmla="*/ 185485 h 132"/>
                <a:gd name="T26" fmla="*/ 47754 w 123"/>
                <a:gd name="T27" fmla="*/ 189309 h 132"/>
                <a:gd name="T28" fmla="*/ 36293 w 123"/>
                <a:gd name="T29" fmla="*/ 191221 h 132"/>
                <a:gd name="T30" fmla="*/ 19102 w 123"/>
                <a:gd name="T31" fmla="*/ 214168 h 132"/>
                <a:gd name="T32" fmla="*/ 1910 w 123"/>
                <a:gd name="T33" fmla="*/ 229465 h 132"/>
                <a:gd name="T34" fmla="*/ 15281 w 123"/>
                <a:gd name="T35" fmla="*/ 235202 h 132"/>
                <a:gd name="T36" fmla="*/ 34383 w 123"/>
                <a:gd name="T37" fmla="*/ 239026 h 132"/>
                <a:gd name="T38" fmla="*/ 42024 w 123"/>
                <a:gd name="T39" fmla="*/ 229465 h 132"/>
                <a:gd name="T40" fmla="*/ 64946 w 123"/>
                <a:gd name="T41" fmla="*/ 219904 h 132"/>
                <a:gd name="T42" fmla="*/ 74496 w 123"/>
                <a:gd name="T43" fmla="*/ 214168 h 132"/>
                <a:gd name="T44" fmla="*/ 105059 w 123"/>
                <a:gd name="T45" fmla="*/ 212256 h 132"/>
                <a:gd name="T46" fmla="*/ 99328 w 123"/>
                <a:gd name="T47" fmla="*/ 227553 h 132"/>
                <a:gd name="T48" fmla="*/ 116520 w 123"/>
                <a:gd name="T49" fmla="*/ 250500 h 132"/>
                <a:gd name="T50" fmla="*/ 127981 w 123"/>
                <a:gd name="T51" fmla="*/ 227553 h 132"/>
                <a:gd name="T52" fmla="*/ 133711 w 123"/>
                <a:gd name="T53" fmla="*/ 216080 h 132"/>
                <a:gd name="T54" fmla="*/ 137532 w 123"/>
                <a:gd name="T55" fmla="*/ 204607 h 132"/>
                <a:gd name="T56" fmla="*/ 143262 w 123"/>
                <a:gd name="T57" fmla="*/ 210343 h 132"/>
                <a:gd name="T58" fmla="*/ 147083 w 123"/>
                <a:gd name="T59" fmla="*/ 216080 h 132"/>
                <a:gd name="T60" fmla="*/ 164274 w 123"/>
                <a:gd name="T61" fmla="*/ 216080 h 132"/>
                <a:gd name="T62" fmla="*/ 175735 w 123"/>
                <a:gd name="T63" fmla="*/ 202694 h 132"/>
                <a:gd name="T64" fmla="*/ 183376 w 123"/>
                <a:gd name="T65" fmla="*/ 214168 h 132"/>
                <a:gd name="T66" fmla="*/ 194837 w 123"/>
                <a:gd name="T67" fmla="*/ 198870 h 132"/>
                <a:gd name="T68" fmla="*/ 196747 w 123"/>
                <a:gd name="T69" fmla="*/ 187397 h 132"/>
                <a:gd name="T70" fmla="*/ 210118 w 123"/>
                <a:gd name="T71" fmla="*/ 187397 h 132"/>
                <a:gd name="T72" fmla="*/ 208208 w 123"/>
                <a:gd name="T73" fmla="*/ 202694 h 132"/>
                <a:gd name="T74" fmla="*/ 221579 w 123"/>
                <a:gd name="T75" fmla="*/ 200782 h 132"/>
                <a:gd name="T76" fmla="*/ 229220 w 123"/>
                <a:gd name="T77" fmla="*/ 181660 h 132"/>
                <a:gd name="T78" fmla="*/ 219669 w 123"/>
                <a:gd name="T79" fmla="*/ 151065 h 132"/>
                <a:gd name="T80" fmla="*/ 223489 w 123"/>
                <a:gd name="T81" fmla="*/ 130030 h 132"/>
                <a:gd name="T82" fmla="*/ 221579 w 123"/>
                <a:gd name="T83" fmla="*/ 97523 h 132"/>
                <a:gd name="T84" fmla="*/ 229220 w 123"/>
                <a:gd name="T85" fmla="*/ 89874 h 132"/>
                <a:gd name="T86" fmla="*/ 233040 w 123"/>
                <a:gd name="T87" fmla="*/ 66927 h 132"/>
                <a:gd name="T88" fmla="*/ 221579 w 123"/>
                <a:gd name="T89" fmla="*/ 43981 h 132"/>
                <a:gd name="T90" fmla="*/ 212028 w 123"/>
                <a:gd name="T91" fmla="*/ 22947 h 132"/>
                <a:gd name="T92" fmla="*/ 194837 w 123"/>
                <a:gd name="T93" fmla="*/ 1912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3"/>
                <a:gd name="T142" fmla="*/ 0 h 132"/>
                <a:gd name="T143" fmla="*/ 123 w 123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3" h="132">
                  <a:moveTo>
                    <a:pt x="102" y="1"/>
                  </a:moveTo>
                  <a:cubicBezTo>
                    <a:pt x="101" y="2"/>
                    <a:pt x="100" y="4"/>
                    <a:pt x="102" y="5"/>
                  </a:cubicBezTo>
                  <a:cubicBezTo>
                    <a:pt x="103" y="6"/>
                    <a:pt x="106" y="3"/>
                    <a:pt x="107" y="4"/>
                  </a:cubicBezTo>
                  <a:cubicBezTo>
                    <a:pt x="109" y="6"/>
                    <a:pt x="108" y="9"/>
                    <a:pt x="108" y="12"/>
                  </a:cubicBezTo>
                  <a:cubicBezTo>
                    <a:pt x="106" y="13"/>
                    <a:pt x="103" y="12"/>
                    <a:pt x="101" y="12"/>
                  </a:cubicBezTo>
                  <a:cubicBezTo>
                    <a:pt x="99" y="11"/>
                    <a:pt x="100" y="7"/>
                    <a:pt x="99" y="6"/>
                  </a:cubicBezTo>
                  <a:cubicBezTo>
                    <a:pt x="98" y="5"/>
                    <a:pt x="96" y="5"/>
                    <a:pt x="95" y="6"/>
                  </a:cubicBezTo>
                  <a:cubicBezTo>
                    <a:pt x="94" y="8"/>
                    <a:pt x="96" y="10"/>
                    <a:pt x="96" y="12"/>
                  </a:cubicBezTo>
                  <a:cubicBezTo>
                    <a:pt x="95" y="13"/>
                    <a:pt x="93" y="13"/>
                    <a:pt x="93" y="14"/>
                  </a:cubicBezTo>
                  <a:cubicBezTo>
                    <a:pt x="92" y="17"/>
                    <a:pt x="94" y="20"/>
                    <a:pt x="94" y="23"/>
                  </a:cubicBezTo>
                  <a:cubicBezTo>
                    <a:pt x="94" y="25"/>
                    <a:pt x="91" y="27"/>
                    <a:pt x="92" y="29"/>
                  </a:cubicBezTo>
                  <a:cubicBezTo>
                    <a:pt x="93" y="30"/>
                    <a:pt x="96" y="24"/>
                    <a:pt x="97" y="26"/>
                  </a:cubicBezTo>
                  <a:cubicBezTo>
                    <a:pt x="99" y="30"/>
                    <a:pt x="99" y="35"/>
                    <a:pt x="99" y="40"/>
                  </a:cubicBezTo>
                  <a:cubicBezTo>
                    <a:pt x="99" y="44"/>
                    <a:pt x="97" y="47"/>
                    <a:pt x="96" y="50"/>
                  </a:cubicBezTo>
                  <a:cubicBezTo>
                    <a:pt x="95" y="54"/>
                    <a:pt x="94" y="57"/>
                    <a:pt x="92" y="60"/>
                  </a:cubicBezTo>
                  <a:cubicBezTo>
                    <a:pt x="92" y="62"/>
                    <a:pt x="89" y="62"/>
                    <a:pt x="88" y="63"/>
                  </a:cubicBezTo>
                  <a:cubicBezTo>
                    <a:pt x="86" y="66"/>
                    <a:pt x="86" y="69"/>
                    <a:pt x="83" y="72"/>
                  </a:cubicBezTo>
                  <a:cubicBezTo>
                    <a:pt x="80" y="75"/>
                    <a:pt x="76" y="78"/>
                    <a:pt x="72" y="78"/>
                  </a:cubicBezTo>
                  <a:cubicBezTo>
                    <a:pt x="69" y="79"/>
                    <a:pt x="67" y="76"/>
                    <a:pt x="67" y="74"/>
                  </a:cubicBezTo>
                  <a:cubicBezTo>
                    <a:pt x="66" y="72"/>
                    <a:pt x="70" y="71"/>
                    <a:pt x="71" y="69"/>
                  </a:cubicBezTo>
                  <a:cubicBezTo>
                    <a:pt x="71" y="68"/>
                    <a:pt x="70" y="67"/>
                    <a:pt x="69" y="67"/>
                  </a:cubicBezTo>
                  <a:cubicBezTo>
                    <a:pt x="67" y="68"/>
                    <a:pt x="65" y="70"/>
                    <a:pt x="65" y="72"/>
                  </a:cubicBezTo>
                  <a:cubicBezTo>
                    <a:pt x="64" y="75"/>
                    <a:pt x="66" y="78"/>
                    <a:pt x="65" y="81"/>
                  </a:cubicBezTo>
                  <a:cubicBezTo>
                    <a:pt x="64" y="84"/>
                    <a:pt x="62" y="86"/>
                    <a:pt x="61" y="89"/>
                  </a:cubicBezTo>
                  <a:cubicBezTo>
                    <a:pt x="60" y="91"/>
                    <a:pt x="61" y="94"/>
                    <a:pt x="60" y="95"/>
                  </a:cubicBezTo>
                  <a:cubicBezTo>
                    <a:pt x="59" y="97"/>
                    <a:pt x="57" y="97"/>
                    <a:pt x="55" y="97"/>
                  </a:cubicBezTo>
                  <a:cubicBezTo>
                    <a:pt x="49" y="98"/>
                    <a:pt x="42" y="97"/>
                    <a:pt x="35" y="98"/>
                  </a:cubicBezTo>
                  <a:cubicBezTo>
                    <a:pt x="32" y="98"/>
                    <a:pt x="29" y="99"/>
                    <a:pt x="25" y="99"/>
                  </a:cubicBezTo>
                  <a:cubicBezTo>
                    <a:pt x="25" y="99"/>
                    <a:pt x="26" y="97"/>
                    <a:pt x="26" y="97"/>
                  </a:cubicBezTo>
                  <a:cubicBezTo>
                    <a:pt x="23" y="97"/>
                    <a:pt x="21" y="98"/>
                    <a:pt x="19" y="100"/>
                  </a:cubicBezTo>
                  <a:cubicBezTo>
                    <a:pt x="18" y="100"/>
                    <a:pt x="20" y="102"/>
                    <a:pt x="19" y="103"/>
                  </a:cubicBezTo>
                  <a:cubicBezTo>
                    <a:pt x="16" y="106"/>
                    <a:pt x="13" y="108"/>
                    <a:pt x="10" y="112"/>
                  </a:cubicBezTo>
                  <a:cubicBezTo>
                    <a:pt x="8" y="113"/>
                    <a:pt x="7" y="116"/>
                    <a:pt x="5" y="117"/>
                  </a:cubicBezTo>
                  <a:cubicBezTo>
                    <a:pt x="4" y="118"/>
                    <a:pt x="1" y="118"/>
                    <a:pt x="1" y="120"/>
                  </a:cubicBezTo>
                  <a:cubicBezTo>
                    <a:pt x="0" y="122"/>
                    <a:pt x="1" y="124"/>
                    <a:pt x="3" y="125"/>
                  </a:cubicBezTo>
                  <a:cubicBezTo>
                    <a:pt x="4" y="123"/>
                    <a:pt x="6" y="123"/>
                    <a:pt x="8" y="123"/>
                  </a:cubicBezTo>
                  <a:cubicBezTo>
                    <a:pt x="9" y="123"/>
                    <a:pt x="11" y="123"/>
                    <a:pt x="12" y="123"/>
                  </a:cubicBezTo>
                  <a:cubicBezTo>
                    <a:pt x="14" y="123"/>
                    <a:pt x="16" y="126"/>
                    <a:pt x="18" y="125"/>
                  </a:cubicBezTo>
                  <a:cubicBezTo>
                    <a:pt x="19" y="124"/>
                    <a:pt x="17" y="121"/>
                    <a:pt x="18" y="120"/>
                  </a:cubicBezTo>
                  <a:cubicBezTo>
                    <a:pt x="18" y="118"/>
                    <a:pt x="20" y="120"/>
                    <a:pt x="22" y="120"/>
                  </a:cubicBezTo>
                  <a:cubicBezTo>
                    <a:pt x="24" y="119"/>
                    <a:pt x="26" y="119"/>
                    <a:pt x="28" y="118"/>
                  </a:cubicBezTo>
                  <a:cubicBezTo>
                    <a:pt x="30" y="117"/>
                    <a:pt x="32" y="115"/>
                    <a:pt x="34" y="115"/>
                  </a:cubicBezTo>
                  <a:cubicBezTo>
                    <a:pt x="35" y="115"/>
                    <a:pt x="36" y="116"/>
                    <a:pt x="37" y="116"/>
                  </a:cubicBezTo>
                  <a:cubicBezTo>
                    <a:pt x="38" y="115"/>
                    <a:pt x="38" y="113"/>
                    <a:pt x="39" y="112"/>
                  </a:cubicBezTo>
                  <a:cubicBezTo>
                    <a:pt x="41" y="111"/>
                    <a:pt x="44" y="111"/>
                    <a:pt x="47" y="111"/>
                  </a:cubicBezTo>
                  <a:cubicBezTo>
                    <a:pt x="50" y="110"/>
                    <a:pt x="53" y="109"/>
                    <a:pt x="55" y="111"/>
                  </a:cubicBezTo>
                  <a:cubicBezTo>
                    <a:pt x="57" y="112"/>
                    <a:pt x="55" y="114"/>
                    <a:pt x="54" y="116"/>
                  </a:cubicBezTo>
                  <a:cubicBezTo>
                    <a:pt x="54" y="117"/>
                    <a:pt x="52" y="118"/>
                    <a:pt x="52" y="119"/>
                  </a:cubicBezTo>
                  <a:cubicBezTo>
                    <a:pt x="54" y="120"/>
                    <a:pt x="53" y="125"/>
                    <a:pt x="55" y="127"/>
                  </a:cubicBezTo>
                  <a:cubicBezTo>
                    <a:pt x="56" y="129"/>
                    <a:pt x="58" y="132"/>
                    <a:pt x="61" y="131"/>
                  </a:cubicBezTo>
                  <a:cubicBezTo>
                    <a:pt x="63" y="131"/>
                    <a:pt x="64" y="128"/>
                    <a:pt x="65" y="126"/>
                  </a:cubicBezTo>
                  <a:cubicBezTo>
                    <a:pt x="66" y="123"/>
                    <a:pt x="65" y="120"/>
                    <a:pt x="67" y="119"/>
                  </a:cubicBezTo>
                  <a:cubicBezTo>
                    <a:pt x="69" y="117"/>
                    <a:pt x="73" y="119"/>
                    <a:pt x="74" y="117"/>
                  </a:cubicBezTo>
                  <a:cubicBezTo>
                    <a:pt x="75" y="116"/>
                    <a:pt x="71" y="115"/>
                    <a:pt x="70" y="113"/>
                  </a:cubicBezTo>
                  <a:cubicBezTo>
                    <a:pt x="69" y="111"/>
                    <a:pt x="69" y="108"/>
                    <a:pt x="69" y="105"/>
                  </a:cubicBezTo>
                  <a:cubicBezTo>
                    <a:pt x="70" y="104"/>
                    <a:pt x="71" y="106"/>
                    <a:pt x="72" y="107"/>
                  </a:cubicBezTo>
                  <a:cubicBezTo>
                    <a:pt x="72" y="108"/>
                    <a:pt x="72" y="110"/>
                    <a:pt x="73" y="111"/>
                  </a:cubicBezTo>
                  <a:cubicBezTo>
                    <a:pt x="74" y="112"/>
                    <a:pt x="75" y="110"/>
                    <a:pt x="75" y="110"/>
                  </a:cubicBezTo>
                  <a:cubicBezTo>
                    <a:pt x="77" y="110"/>
                    <a:pt x="79" y="110"/>
                    <a:pt x="79" y="111"/>
                  </a:cubicBezTo>
                  <a:cubicBezTo>
                    <a:pt x="80" y="112"/>
                    <a:pt x="77" y="112"/>
                    <a:pt x="77" y="113"/>
                  </a:cubicBezTo>
                  <a:cubicBezTo>
                    <a:pt x="78" y="114"/>
                    <a:pt x="80" y="113"/>
                    <a:pt x="82" y="113"/>
                  </a:cubicBezTo>
                  <a:cubicBezTo>
                    <a:pt x="83" y="113"/>
                    <a:pt x="85" y="113"/>
                    <a:pt x="86" y="113"/>
                  </a:cubicBezTo>
                  <a:cubicBezTo>
                    <a:pt x="88" y="113"/>
                    <a:pt x="89" y="114"/>
                    <a:pt x="90" y="113"/>
                  </a:cubicBezTo>
                  <a:cubicBezTo>
                    <a:pt x="92" y="111"/>
                    <a:pt x="91" y="108"/>
                    <a:pt x="92" y="106"/>
                  </a:cubicBezTo>
                  <a:cubicBezTo>
                    <a:pt x="94" y="105"/>
                    <a:pt x="97" y="105"/>
                    <a:pt x="97" y="106"/>
                  </a:cubicBezTo>
                  <a:cubicBezTo>
                    <a:pt x="99" y="108"/>
                    <a:pt x="95" y="110"/>
                    <a:pt x="96" y="112"/>
                  </a:cubicBezTo>
                  <a:cubicBezTo>
                    <a:pt x="96" y="114"/>
                    <a:pt x="99" y="114"/>
                    <a:pt x="100" y="113"/>
                  </a:cubicBezTo>
                  <a:cubicBezTo>
                    <a:pt x="101" y="111"/>
                    <a:pt x="100" y="107"/>
                    <a:pt x="102" y="104"/>
                  </a:cubicBezTo>
                  <a:cubicBezTo>
                    <a:pt x="102" y="103"/>
                    <a:pt x="104" y="105"/>
                    <a:pt x="105" y="104"/>
                  </a:cubicBezTo>
                  <a:cubicBezTo>
                    <a:pt x="105" y="102"/>
                    <a:pt x="103" y="100"/>
                    <a:pt x="103" y="98"/>
                  </a:cubicBezTo>
                  <a:cubicBezTo>
                    <a:pt x="104" y="96"/>
                    <a:pt x="105" y="95"/>
                    <a:pt x="106" y="95"/>
                  </a:cubicBezTo>
                  <a:cubicBezTo>
                    <a:pt x="108" y="95"/>
                    <a:pt x="110" y="96"/>
                    <a:pt x="110" y="98"/>
                  </a:cubicBezTo>
                  <a:cubicBezTo>
                    <a:pt x="111" y="99"/>
                    <a:pt x="108" y="100"/>
                    <a:pt x="108" y="102"/>
                  </a:cubicBezTo>
                  <a:cubicBezTo>
                    <a:pt x="107" y="103"/>
                    <a:pt x="108" y="105"/>
                    <a:pt x="109" y="106"/>
                  </a:cubicBezTo>
                  <a:cubicBezTo>
                    <a:pt x="109" y="107"/>
                    <a:pt x="108" y="109"/>
                    <a:pt x="109" y="109"/>
                  </a:cubicBezTo>
                  <a:cubicBezTo>
                    <a:pt x="111" y="108"/>
                    <a:pt x="114" y="106"/>
                    <a:pt x="116" y="105"/>
                  </a:cubicBezTo>
                  <a:cubicBezTo>
                    <a:pt x="118" y="103"/>
                    <a:pt x="115" y="100"/>
                    <a:pt x="116" y="97"/>
                  </a:cubicBezTo>
                  <a:cubicBezTo>
                    <a:pt x="117" y="96"/>
                    <a:pt x="120" y="96"/>
                    <a:pt x="120" y="95"/>
                  </a:cubicBezTo>
                  <a:cubicBezTo>
                    <a:pt x="120" y="92"/>
                    <a:pt x="117" y="91"/>
                    <a:pt x="116" y="89"/>
                  </a:cubicBezTo>
                  <a:cubicBezTo>
                    <a:pt x="115" y="86"/>
                    <a:pt x="115" y="82"/>
                    <a:pt x="115" y="79"/>
                  </a:cubicBezTo>
                  <a:cubicBezTo>
                    <a:pt x="115" y="78"/>
                    <a:pt x="116" y="77"/>
                    <a:pt x="117" y="76"/>
                  </a:cubicBezTo>
                  <a:cubicBezTo>
                    <a:pt x="117" y="73"/>
                    <a:pt x="117" y="70"/>
                    <a:pt x="117" y="68"/>
                  </a:cubicBezTo>
                  <a:cubicBezTo>
                    <a:pt x="116" y="65"/>
                    <a:pt x="113" y="63"/>
                    <a:pt x="113" y="60"/>
                  </a:cubicBezTo>
                  <a:cubicBezTo>
                    <a:pt x="113" y="57"/>
                    <a:pt x="114" y="53"/>
                    <a:pt x="116" y="51"/>
                  </a:cubicBezTo>
                  <a:cubicBezTo>
                    <a:pt x="117" y="50"/>
                    <a:pt x="120" y="52"/>
                    <a:pt x="121" y="51"/>
                  </a:cubicBezTo>
                  <a:cubicBezTo>
                    <a:pt x="122" y="50"/>
                    <a:pt x="119" y="48"/>
                    <a:pt x="120" y="47"/>
                  </a:cubicBezTo>
                  <a:cubicBezTo>
                    <a:pt x="120" y="45"/>
                    <a:pt x="122" y="44"/>
                    <a:pt x="123" y="42"/>
                  </a:cubicBezTo>
                  <a:cubicBezTo>
                    <a:pt x="123" y="40"/>
                    <a:pt x="122" y="38"/>
                    <a:pt x="122" y="35"/>
                  </a:cubicBezTo>
                  <a:cubicBezTo>
                    <a:pt x="121" y="32"/>
                    <a:pt x="120" y="29"/>
                    <a:pt x="119" y="27"/>
                  </a:cubicBezTo>
                  <a:cubicBezTo>
                    <a:pt x="118" y="25"/>
                    <a:pt x="116" y="24"/>
                    <a:pt x="116" y="23"/>
                  </a:cubicBezTo>
                  <a:cubicBezTo>
                    <a:pt x="115" y="21"/>
                    <a:pt x="114" y="18"/>
                    <a:pt x="113" y="16"/>
                  </a:cubicBezTo>
                  <a:cubicBezTo>
                    <a:pt x="113" y="15"/>
                    <a:pt x="111" y="13"/>
                    <a:pt x="111" y="12"/>
                  </a:cubicBezTo>
                  <a:cubicBezTo>
                    <a:pt x="110" y="8"/>
                    <a:pt x="111" y="3"/>
                    <a:pt x="109" y="1"/>
                  </a:cubicBezTo>
                  <a:cubicBezTo>
                    <a:pt x="107" y="1"/>
                    <a:pt x="104" y="0"/>
                    <a:pt x="10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3" name="Freeform 373"/>
            <p:cNvSpPr>
              <a:spLocks noChangeAspect="1"/>
            </p:cNvSpPr>
            <p:nvPr/>
          </p:nvSpPr>
          <p:spPr bwMode="auto">
            <a:xfrm>
              <a:off x="7650163" y="3230563"/>
              <a:ext cx="53975" cy="47625"/>
            </a:xfrm>
            <a:custGeom>
              <a:avLst/>
              <a:gdLst>
                <a:gd name="T0" fmla="*/ 0 w 28"/>
                <a:gd name="T1" fmla="*/ 24765 h 25"/>
                <a:gd name="T2" fmla="*/ 3855 w 28"/>
                <a:gd name="T3" fmla="*/ 41910 h 25"/>
                <a:gd name="T4" fmla="*/ 15421 w 28"/>
                <a:gd name="T5" fmla="*/ 45720 h 25"/>
                <a:gd name="T6" fmla="*/ 21204 w 28"/>
                <a:gd name="T7" fmla="*/ 45720 h 25"/>
                <a:gd name="T8" fmla="*/ 21204 w 28"/>
                <a:gd name="T9" fmla="*/ 38100 h 25"/>
                <a:gd name="T10" fmla="*/ 26988 w 28"/>
                <a:gd name="T11" fmla="*/ 26670 h 25"/>
                <a:gd name="T12" fmla="*/ 36626 w 28"/>
                <a:gd name="T13" fmla="*/ 28575 h 25"/>
                <a:gd name="T14" fmla="*/ 42409 w 28"/>
                <a:gd name="T15" fmla="*/ 32385 h 25"/>
                <a:gd name="T16" fmla="*/ 46264 w 28"/>
                <a:gd name="T17" fmla="*/ 20955 h 25"/>
                <a:gd name="T18" fmla="*/ 52047 w 28"/>
                <a:gd name="T19" fmla="*/ 13335 h 25"/>
                <a:gd name="T20" fmla="*/ 50120 w 28"/>
                <a:gd name="T21" fmla="*/ 9525 h 25"/>
                <a:gd name="T22" fmla="*/ 48192 w 28"/>
                <a:gd name="T23" fmla="*/ 1905 h 25"/>
                <a:gd name="T24" fmla="*/ 36626 w 28"/>
                <a:gd name="T25" fmla="*/ 1905 h 25"/>
                <a:gd name="T26" fmla="*/ 30843 w 28"/>
                <a:gd name="T27" fmla="*/ 1905 h 25"/>
                <a:gd name="T28" fmla="*/ 25060 w 28"/>
                <a:gd name="T29" fmla="*/ 13335 h 25"/>
                <a:gd name="T30" fmla="*/ 17349 w 28"/>
                <a:gd name="T31" fmla="*/ 13335 h 25"/>
                <a:gd name="T32" fmla="*/ 11566 w 28"/>
                <a:gd name="T33" fmla="*/ 9525 h 25"/>
                <a:gd name="T34" fmla="*/ 5783 w 28"/>
                <a:gd name="T35" fmla="*/ 15240 h 25"/>
                <a:gd name="T36" fmla="*/ 0 w 28"/>
                <a:gd name="T37" fmla="*/ 24765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"/>
                <a:gd name="T58" fmla="*/ 0 h 25"/>
                <a:gd name="T59" fmla="*/ 28 w 28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" h="25">
                  <a:moveTo>
                    <a:pt x="0" y="13"/>
                  </a:moveTo>
                  <a:cubicBezTo>
                    <a:pt x="0" y="16"/>
                    <a:pt x="0" y="19"/>
                    <a:pt x="2" y="22"/>
                  </a:cubicBezTo>
                  <a:cubicBezTo>
                    <a:pt x="3" y="23"/>
                    <a:pt x="6" y="24"/>
                    <a:pt x="8" y="24"/>
                  </a:cubicBezTo>
                  <a:cubicBezTo>
                    <a:pt x="9" y="25"/>
                    <a:pt x="10" y="25"/>
                    <a:pt x="11" y="24"/>
                  </a:cubicBezTo>
                  <a:cubicBezTo>
                    <a:pt x="12" y="23"/>
                    <a:pt x="11" y="22"/>
                    <a:pt x="11" y="20"/>
                  </a:cubicBezTo>
                  <a:cubicBezTo>
                    <a:pt x="12" y="18"/>
                    <a:pt x="12" y="16"/>
                    <a:pt x="14" y="14"/>
                  </a:cubicBezTo>
                  <a:cubicBezTo>
                    <a:pt x="15" y="13"/>
                    <a:pt x="17" y="15"/>
                    <a:pt x="19" y="15"/>
                  </a:cubicBezTo>
                  <a:cubicBezTo>
                    <a:pt x="20" y="15"/>
                    <a:pt x="21" y="18"/>
                    <a:pt x="22" y="17"/>
                  </a:cubicBezTo>
                  <a:cubicBezTo>
                    <a:pt x="24" y="16"/>
                    <a:pt x="23" y="13"/>
                    <a:pt x="24" y="11"/>
                  </a:cubicBezTo>
                  <a:cubicBezTo>
                    <a:pt x="25" y="9"/>
                    <a:pt x="27" y="9"/>
                    <a:pt x="27" y="7"/>
                  </a:cubicBezTo>
                  <a:cubicBezTo>
                    <a:pt x="28" y="6"/>
                    <a:pt x="27" y="6"/>
                    <a:pt x="26" y="5"/>
                  </a:cubicBezTo>
                  <a:cubicBezTo>
                    <a:pt x="26" y="4"/>
                    <a:pt x="26" y="2"/>
                    <a:pt x="25" y="1"/>
                  </a:cubicBezTo>
                  <a:cubicBezTo>
                    <a:pt x="23" y="0"/>
                    <a:pt x="21" y="1"/>
                    <a:pt x="19" y="1"/>
                  </a:cubicBezTo>
                  <a:cubicBezTo>
                    <a:pt x="18" y="1"/>
                    <a:pt x="16" y="1"/>
                    <a:pt x="16" y="1"/>
                  </a:cubicBezTo>
                  <a:cubicBezTo>
                    <a:pt x="14" y="3"/>
                    <a:pt x="14" y="5"/>
                    <a:pt x="13" y="7"/>
                  </a:cubicBezTo>
                  <a:cubicBezTo>
                    <a:pt x="12" y="7"/>
                    <a:pt x="10" y="7"/>
                    <a:pt x="9" y="7"/>
                  </a:cubicBezTo>
                  <a:cubicBezTo>
                    <a:pt x="8" y="6"/>
                    <a:pt x="8" y="4"/>
                    <a:pt x="6" y="5"/>
                  </a:cubicBezTo>
                  <a:cubicBezTo>
                    <a:pt x="5" y="5"/>
                    <a:pt x="4" y="7"/>
                    <a:pt x="3" y="8"/>
                  </a:cubicBezTo>
                  <a:cubicBezTo>
                    <a:pt x="2" y="10"/>
                    <a:pt x="0" y="11"/>
                    <a:pt x="0" y="1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4" name="Freeform 374"/>
            <p:cNvSpPr>
              <a:spLocks noChangeAspect="1"/>
            </p:cNvSpPr>
            <p:nvPr/>
          </p:nvSpPr>
          <p:spPr bwMode="auto">
            <a:xfrm>
              <a:off x="7700963" y="3221038"/>
              <a:ext cx="4762" cy="9525"/>
            </a:xfrm>
            <a:custGeom>
              <a:avLst/>
              <a:gdLst>
                <a:gd name="T0" fmla="*/ 0 w 3"/>
                <a:gd name="T1" fmla="*/ 5715 h 5"/>
                <a:gd name="T2" fmla="*/ 3175 w 3"/>
                <a:gd name="T3" fmla="*/ 1905 h 5"/>
                <a:gd name="T4" fmla="*/ 3175 w 3"/>
                <a:gd name="T5" fmla="*/ 9525 h 5"/>
                <a:gd name="T6" fmla="*/ 0 w 3"/>
                <a:gd name="T7" fmla="*/ 7620 h 5"/>
                <a:gd name="T8" fmla="*/ 0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cubicBezTo>
                    <a:pt x="1" y="2"/>
                    <a:pt x="2" y="0"/>
                    <a:pt x="2" y="1"/>
                  </a:cubicBezTo>
                  <a:cubicBezTo>
                    <a:pt x="3" y="2"/>
                    <a:pt x="2" y="4"/>
                    <a:pt x="2" y="5"/>
                  </a:cubicBezTo>
                  <a:cubicBezTo>
                    <a:pt x="1" y="5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5" name="Freeform 375"/>
            <p:cNvSpPr>
              <a:spLocks noChangeAspect="1"/>
            </p:cNvSpPr>
            <p:nvPr/>
          </p:nvSpPr>
          <p:spPr bwMode="auto">
            <a:xfrm>
              <a:off x="7656513" y="3171825"/>
              <a:ext cx="6350" cy="4763"/>
            </a:xfrm>
            <a:custGeom>
              <a:avLst/>
              <a:gdLst>
                <a:gd name="T0" fmla="*/ 0 w 3"/>
                <a:gd name="T1" fmla="*/ 3175 h 3"/>
                <a:gd name="T2" fmla="*/ 4233 w 3"/>
                <a:gd name="T3" fmla="*/ 1588 h 3"/>
                <a:gd name="T4" fmla="*/ 4233 w 3"/>
                <a:gd name="T5" fmla="*/ 4763 h 3"/>
                <a:gd name="T6" fmla="*/ 0 w 3"/>
                <a:gd name="T7" fmla="*/ 3175 h 3"/>
                <a:gd name="T8" fmla="*/ 0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2"/>
                  </a:move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2" y="2"/>
                    <a:pt x="2" y="3"/>
                  </a:cubicBezTo>
                  <a:cubicBezTo>
                    <a:pt x="1" y="3"/>
                    <a:pt x="1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6" name="Freeform 376"/>
            <p:cNvSpPr>
              <a:spLocks noChangeAspect="1"/>
            </p:cNvSpPr>
            <p:nvPr/>
          </p:nvSpPr>
          <p:spPr bwMode="auto">
            <a:xfrm>
              <a:off x="7581900" y="3243263"/>
              <a:ext cx="6350" cy="6350"/>
            </a:xfrm>
            <a:custGeom>
              <a:avLst/>
              <a:gdLst>
                <a:gd name="T0" fmla="*/ 2117 w 3"/>
                <a:gd name="T1" fmla="*/ 4233 h 3"/>
                <a:gd name="T2" fmla="*/ 4233 w 3"/>
                <a:gd name="T3" fmla="*/ 2117 h 3"/>
                <a:gd name="T4" fmla="*/ 4233 w 3"/>
                <a:gd name="T5" fmla="*/ 6350 h 3"/>
                <a:gd name="T6" fmla="*/ 0 w 3"/>
                <a:gd name="T7" fmla="*/ 4233 h 3"/>
                <a:gd name="T8" fmla="*/ 2117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3" y="2"/>
                    <a:pt x="2" y="3"/>
                  </a:cubicBezTo>
                  <a:cubicBezTo>
                    <a:pt x="2" y="3"/>
                    <a:pt x="1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7" name="Freeform 377"/>
            <p:cNvSpPr>
              <a:spLocks noChangeAspect="1"/>
            </p:cNvSpPr>
            <p:nvPr/>
          </p:nvSpPr>
          <p:spPr bwMode="auto">
            <a:xfrm>
              <a:off x="7618413" y="3346450"/>
              <a:ext cx="6350" cy="9525"/>
            </a:xfrm>
            <a:custGeom>
              <a:avLst/>
              <a:gdLst>
                <a:gd name="T0" fmla="*/ 0 w 3"/>
                <a:gd name="T1" fmla="*/ 5715 h 5"/>
                <a:gd name="T2" fmla="*/ 4233 w 3"/>
                <a:gd name="T3" fmla="*/ 1905 h 5"/>
                <a:gd name="T4" fmla="*/ 4233 w 3"/>
                <a:gd name="T5" fmla="*/ 7620 h 5"/>
                <a:gd name="T6" fmla="*/ 0 w 3"/>
                <a:gd name="T7" fmla="*/ 7620 h 5"/>
                <a:gd name="T8" fmla="*/ 0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cubicBezTo>
                    <a:pt x="1" y="2"/>
                    <a:pt x="2" y="0"/>
                    <a:pt x="2" y="1"/>
                  </a:cubicBezTo>
                  <a:cubicBezTo>
                    <a:pt x="3" y="2"/>
                    <a:pt x="2" y="3"/>
                    <a:pt x="2" y="4"/>
                  </a:cubicBezTo>
                  <a:cubicBezTo>
                    <a:pt x="1" y="5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8" name="Freeform 378"/>
            <p:cNvSpPr>
              <a:spLocks noChangeAspect="1"/>
            </p:cNvSpPr>
            <p:nvPr/>
          </p:nvSpPr>
          <p:spPr bwMode="auto">
            <a:xfrm>
              <a:off x="7564438" y="3275013"/>
              <a:ext cx="7937" cy="9525"/>
            </a:xfrm>
            <a:custGeom>
              <a:avLst/>
              <a:gdLst>
                <a:gd name="T0" fmla="*/ 0 w 4"/>
                <a:gd name="T1" fmla="*/ 3810 h 5"/>
                <a:gd name="T2" fmla="*/ 5953 w 4"/>
                <a:gd name="T3" fmla="*/ 1905 h 5"/>
                <a:gd name="T4" fmla="*/ 3969 w 4"/>
                <a:gd name="T5" fmla="*/ 7620 h 5"/>
                <a:gd name="T6" fmla="*/ 0 w 4"/>
                <a:gd name="T7" fmla="*/ 7620 h 5"/>
                <a:gd name="T8" fmla="*/ 0 w 4"/>
                <a:gd name="T9" fmla="*/ 381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0" y="2"/>
                  </a:moveTo>
                  <a:cubicBezTo>
                    <a:pt x="1" y="2"/>
                    <a:pt x="2" y="0"/>
                    <a:pt x="3" y="1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2" y="5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79" name="Freeform 379"/>
            <p:cNvSpPr>
              <a:spLocks noChangeAspect="1"/>
            </p:cNvSpPr>
            <p:nvPr/>
          </p:nvSpPr>
          <p:spPr bwMode="auto">
            <a:xfrm>
              <a:off x="7572375" y="3267075"/>
              <a:ext cx="6350" cy="9525"/>
            </a:xfrm>
            <a:custGeom>
              <a:avLst/>
              <a:gdLst>
                <a:gd name="T0" fmla="*/ 0 w 3"/>
                <a:gd name="T1" fmla="*/ 5715 h 5"/>
                <a:gd name="T2" fmla="*/ 4233 w 3"/>
                <a:gd name="T3" fmla="*/ 1905 h 5"/>
                <a:gd name="T4" fmla="*/ 4233 w 3"/>
                <a:gd name="T5" fmla="*/ 9525 h 5"/>
                <a:gd name="T6" fmla="*/ 2117 w 3"/>
                <a:gd name="T7" fmla="*/ 7620 h 5"/>
                <a:gd name="T8" fmla="*/ 0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cubicBezTo>
                    <a:pt x="1" y="2"/>
                    <a:pt x="1" y="0"/>
                    <a:pt x="2" y="1"/>
                  </a:cubicBezTo>
                  <a:cubicBezTo>
                    <a:pt x="3" y="2"/>
                    <a:pt x="2" y="4"/>
                    <a:pt x="2" y="5"/>
                  </a:cubicBezTo>
                  <a:cubicBezTo>
                    <a:pt x="2" y="5"/>
                    <a:pt x="1" y="5"/>
                    <a:pt x="1" y="4"/>
                  </a:cubicBezTo>
                  <a:cubicBezTo>
                    <a:pt x="0" y="4"/>
                    <a:pt x="0" y="3"/>
                    <a:pt x="0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0" name="Freeform 380"/>
            <p:cNvSpPr>
              <a:spLocks noChangeAspect="1"/>
            </p:cNvSpPr>
            <p:nvPr/>
          </p:nvSpPr>
          <p:spPr bwMode="auto">
            <a:xfrm>
              <a:off x="7586663" y="3246438"/>
              <a:ext cx="58737" cy="82550"/>
            </a:xfrm>
            <a:custGeom>
              <a:avLst/>
              <a:gdLst>
                <a:gd name="T0" fmla="*/ 51158 w 31"/>
                <a:gd name="T1" fmla="*/ 71293 h 44"/>
                <a:gd name="T2" fmla="*/ 53053 w 31"/>
                <a:gd name="T3" fmla="*/ 60036 h 44"/>
                <a:gd name="T4" fmla="*/ 49263 w 31"/>
                <a:gd name="T5" fmla="*/ 52532 h 44"/>
                <a:gd name="T6" fmla="*/ 53053 w 31"/>
                <a:gd name="T7" fmla="*/ 41275 h 44"/>
                <a:gd name="T8" fmla="*/ 58737 w 31"/>
                <a:gd name="T9" fmla="*/ 31894 h 44"/>
                <a:gd name="T10" fmla="*/ 58737 w 31"/>
                <a:gd name="T11" fmla="*/ 22514 h 44"/>
                <a:gd name="T12" fmla="*/ 53053 w 31"/>
                <a:gd name="T13" fmla="*/ 18761 h 44"/>
                <a:gd name="T14" fmla="*/ 47369 w 31"/>
                <a:gd name="T15" fmla="*/ 18761 h 44"/>
                <a:gd name="T16" fmla="*/ 49263 w 31"/>
                <a:gd name="T17" fmla="*/ 15009 h 44"/>
                <a:gd name="T18" fmla="*/ 51158 w 31"/>
                <a:gd name="T19" fmla="*/ 9381 h 44"/>
                <a:gd name="T20" fmla="*/ 45474 w 31"/>
                <a:gd name="T21" fmla="*/ 7505 h 44"/>
                <a:gd name="T22" fmla="*/ 41684 w 31"/>
                <a:gd name="T23" fmla="*/ 11257 h 44"/>
                <a:gd name="T24" fmla="*/ 34105 w 31"/>
                <a:gd name="T25" fmla="*/ 7505 h 44"/>
                <a:gd name="T26" fmla="*/ 32211 w 31"/>
                <a:gd name="T27" fmla="*/ 1876 h 44"/>
                <a:gd name="T28" fmla="*/ 24632 w 31"/>
                <a:gd name="T29" fmla="*/ 1876 h 44"/>
                <a:gd name="T30" fmla="*/ 20842 w 31"/>
                <a:gd name="T31" fmla="*/ 1876 h 44"/>
                <a:gd name="T32" fmla="*/ 17053 w 31"/>
                <a:gd name="T33" fmla="*/ 9381 h 44"/>
                <a:gd name="T34" fmla="*/ 11368 w 31"/>
                <a:gd name="T35" fmla="*/ 11257 h 44"/>
                <a:gd name="T36" fmla="*/ 7579 w 31"/>
                <a:gd name="T37" fmla="*/ 7505 h 44"/>
                <a:gd name="T38" fmla="*/ 0 w 31"/>
                <a:gd name="T39" fmla="*/ 13133 h 44"/>
                <a:gd name="T40" fmla="*/ 1895 w 31"/>
                <a:gd name="T41" fmla="*/ 18761 h 44"/>
                <a:gd name="T42" fmla="*/ 11368 w 31"/>
                <a:gd name="T43" fmla="*/ 24390 h 44"/>
                <a:gd name="T44" fmla="*/ 11368 w 31"/>
                <a:gd name="T45" fmla="*/ 28142 h 44"/>
                <a:gd name="T46" fmla="*/ 3789 w 31"/>
                <a:gd name="T47" fmla="*/ 24390 h 44"/>
                <a:gd name="T48" fmla="*/ 5684 w 31"/>
                <a:gd name="T49" fmla="*/ 31894 h 44"/>
                <a:gd name="T50" fmla="*/ 9474 w 31"/>
                <a:gd name="T51" fmla="*/ 35647 h 44"/>
                <a:gd name="T52" fmla="*/ 13263 w 31"/>
                <a:gd name="T53" fmla="*/ 33770 h 44"/>
                <a:gd name="T54" fmla="*/ 18947 w 31"/>
                <a:gd name="T55" fmla="*/ 35647 h 44"/>
                <a:gd name="T56" fmla="*/ 15158 w 31"/>
                <a:gd name="T57" fmla="*/ 45027 h 44"/>
                <a:gd name="T58" fmla="*/ 20842 w 31"/>
                <a:gd name="T59" fmla="*/ 41275 h 44"/>
                <a:gd name="T60" fmla="*/ 20842 w 31"/>
                <a:gd name="T61" fmla="*/ 33770 h 44"/>
                <a:gd name="T62" fmla="*/ 17053 w 31"/>
                <a:gd name="T63" fmla="*/ 31894 h 44"/>
                <a:gd name="T64" fmla="*/ 17053 w 31"/>
                <a:gd name="T65" fmla="*/ 28142 h 44"/>
                <a:gd name="T66" fmla="*/ 15158 w 31"/>
                <a:gd name="T67" fmla="*/ 20638 h 44"/>
                <a:gd name="T68" fmla="*/ 22737 w 31"/>
                <a:gd name="T69" fmla="*/ 24390 h 44"/>
                <a:gd name="T70" fmla="*/ 26526 w 31"/>
                <a:gd name="T71" fmla="*/ 35647 h 44"/>
                <a:gd name="T72" fmla="*/ 28421 w 31"/>
                <a:gd name="T73" fmla="*/ 39399 h 44"/>
                <a:gd name="T74" fmla="*/ 22737 w 31"/>
                <a:gd name="T75" fmla="*/ 50656 h 44"/>
                <a:gd name="T76" fmla="*/ 20842 w 31"/>
                <a:gd name="T77" fmla="*/ 61913 h 44"/>
                <a:gd name="T78" fmla="*/ 26526 w 31"/>
                <a:gd name="T79" fmla="*/ 69417 h 44"/>
                <a:gd name="T80" fmla="*/ 24632 w 31"/>
                <a:gd name="T81" fmla="*/ 75045 h 44"/>
                <a:gd name="T82" fmla="*/ 34105 w 31"/>
                <a:gd name="T83" fmla="*/ 76922 h 44"/>
                <a:gd name="T84" fmla="*/ 30316 w 31"/>
                <a:gd name="T85" fmla="*/ 65665 h 44"/>
                <a:gd name="T86" fmla="*/ 37895 w 31"/>
                <a:gd name="T87" fmla="*/ 67541 h 44"/>
                <a:gd name="T88" fmla="*/ 36000 w 31"/>
                <a:gd name="T89" fmla="*/ 76922 h 44"/>
                <a:gd name="T90" fmla="*/ 36000 w 31"/>
                <a:gd name="T91" fmla="*/ 82550 h 44"/>
                <a:gd name="T92" fmla="*/ 45474 w 31"/>
                <a:gd name="T93" fmla="*/ 78798 h 44"/>
                <a:gd name="T94" fmla="*/ 45474 w 31"/>
                <a:gd name="T95" fmla="*/ 71293 h 44"/>
                <a:gd name="T96" fmla="*/ 51158 w 31"/>
                <a:gd name="T97" fmla="*/ 71293 h 4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1"/>
                <a:gd name="T148" fmla="*/ 0 h 44"/>
                <a:gd name="T149" fmla="*/ 31 w 31"/>
                <a:gd name="T150" fmla="*/ 44 h 4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1" h="44">
                  <a:moveTo>
                    <a:pt x="27" y="38"/>
                  </a:moveTo>
                  <a:cubicBezTo>
                    <a:pt x="28" y="36"/>
                    <a:pt x="28" y="34"/>
                    <a:pt x="28" y="32"/>
                  </a:cubicBezTo>
                  <a:cubicBezTo>
                    <a:pt x="27" y="31"/>
                    <a:pt x="26" y="29"/>
                    <a:pt x="26" y="28"/>
                  </a:cubicBezTo>
                  <a:cubicBezTo>
                    <a:pt x="27" y="26"/>
                    <a:pt x="27" y="24"/>
                    <a:pt x="28" y="22"/>
                  </a:cubicBezTo>
                  <a:cubicBezTo>
                    <a:pt x="29" y="20"/>
                    <a:pt x="30" y="18"/>
                    <a:pt x="31" y="17"/>
                  </a:cubicBezTo>
                  <a:cubicBezTo>
                    <a:pt x="31" y="15"/>
                    <a:pt x="31" y="13"/>
                    <a:pt x="31" y="12"/>
                  </a:cubicBezTo>
                  <a:cubicBezTo>
                    <a:pt x="30" y="11"/>
                    <a:pt x="29" y="10"/>
                    <a:pt x="28" y="10"/>
                  </a:cubicBezTo>
                  <a:cubicBezTo>
                    <a:pt x="27" y="10"/>
                    <a:pt x="25" y="11"/>
                    <a:pt x="25" y="10"/>
                  </a:cubicBezTo>
                  <a:cubicBezTo>
                    <a:pt x="24" y="9"/>
                    <a:pt x="26" y="9"/>
                    <a:pt x="26" y="8"/>
                  </a:cubicBezTo>
                  <a:cubicBezTo>
                    <a:pt x="27" y="7"/>
                    <a:pt x="27" y="5"/>
                    <a:pt x="27" y="5"/>
                  </a:cubicBezTo>
                  <a:cubicBezTo>
                    <a:pt x="26" y="4"/>
                    <a:pt x="25" y="3"/>
                    <a:pt x="24" y="4"/>
                  </a:cubicBezTo>
                  <a:cubicBezTo>
                    <a:pt x="23" y="4"/>
                    <a:pt x="23" y="6"/>
                    <a:pt x="22" y="6"/>
                  </a:cubicBezTo>
                  <a:cubicBezTo>
                    <a:pt x="21" y="6"/>
                    <a:pt x="19" y="5"/>
                    <a:pt x="18" y="4"/>
                  </a:cubicBezTo>
                  <a:cubicBezTo>
                    <a:pt x="17" y="3"/>
                    <a:pt x="17" y="1"/>
                    <a:pt x="17" y="1"/>
                  </a:cubicBezTo>
                  <a:cubicBezTo>
                    <a:pt x="15" y="0"/>
                    <a:pt x="14" y="1"/>
                    <a:pt x="13" y="1"/>
                  </a:cubicBezTo>
                  <a:cubicBezTo>
                    <a:pt x="12" y="1"/>
                    <a:pt x="11" y="0"/>
                    <a:pt x="11" y="1"/>
                  </a:cubicBezTo>
                  <a:cubicBezTo>
                    <a:pt x="10" y="2"/>
                    <a:pt x="10" y="4"/>
                    <a:pt x="9" y="5"/>
                  </a:cubicBezTo>
                  <a:cubicBezTo>
                    <a:pt x="9" y="6"/>
                    <a:pt x="7" y="6"/>
                    <a:pt x="6" y="6"/>
                  </a:cubicBezTo>
                  <a:cubicBezTo>
                    <a:pt x="5" y="5"/>
                    <a:pt x="4" y="4"/>
                    <a:pt x="4" y="4"/>
                  </a:cubicBezTo>
                  <a:cubicBezTo>
                    <a:pt x="2" y="5"/>
                    <a:pt x="1" y="6"/>
                    <a:pt x="0" y="7"/>
                  </a:cubicBezTo>
                  <a:cubicBezTo>
                    <a:pt x="0" y="8"/>
                    <a:pt x="0" y="9"/>
                    <a:pt x="1" y="10"/>
                  </a:cubicBezTo>
                  <a:cubicBezTo>
                    <a:pt x="2" y="11"/>
                    <a:pt x="5" y="11"/>
                    <a:pt x="6" y="13"/>
                  </a:cubicBezTo>
                  <a:cubicBezTo>
                    <a:pt x="7" y="13"/>
                    <a:pt x="7" y="15"/>
                    <a:pt x="6" y="15"/>
                  </a:cubicBezTo>
                  <a:cubicBezTo>
                    <a:pt x="4" y="15"/>
                    <a:pt x="3" y="12"/>
                    <a:pt x="2" y="13"/>
                  </a:cubicBezTo>
                  <a:cubicBezTo>
                    <a:pt x="1" y="13"/>
                    <a:pt x="2" y="16"/>
                    <a:pt x="3" y="17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6" y="19"/>
                    <a:pt x="7" y="18"/>
                    <a:pt x="7" y="18"/>
                  </a:cubicBezTo>
                  <a:cubicBezTo>
                    <a:pt x="8" y="18"/>
                    <a:pt x="9" y="18"/>
                    <a:pt x="10" y="19"/>
                  </a:cubicBezTo>
                  <a:cubicBezTo>
                    <a:pt x="10" y="20"/>
                    <a:pt x="7" y="22"/>
                    <a:pt x="8" y="24"/>
                  </a:cubicBezTo>
                  <a:cubicBezTo>
                    <a:pt x="8" y="25"/>
                    <a:pt x="10" y="23"/>
                    <a:pt x="11" y="22"/>
                  </a:cubicBezTo>
                  <a:cubicBezTo>
                    <a:pt x="12" y="21"/>
                    <a:pt x="12" y="20"/>
                    <a:pt x="11" y="18"/>
                  </a:cubicBezTo>
                  <a:cubicBezTo>
                    <a:pt x="11" y="18"/>
                    <a:pt x="9" y="18"/>
                    <a:pt x="9" y="17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3"/>
                    <a:pt x="7" y="12"/>
                    <a:pt x="8" y="11"/>
                  </a:cubicBezTo>
                  <a:cubicBezTo>
                    <a:pt x="9" y="10"/>
                    <a:pt x="11" y="12"/>
                    <a:pt x="12" y="13"/>
                  </a:cubicBezTo>
                  <a:cubicBezTo>
                    <a:pt x="14" y="15"/>
                    <a:pt x="14" y="17"/>
                    <a:pt x="14" y="19"/>
                  </a:cubicBezTo>
                  <a:cubicBezTo>
                    <a:pt x="15" y="19"/>
                    <a:pt x="15" y="20"/>
                    <a:pt x="15" y="21"/>
                  </a:cubicBezTo>
                  <a:cubicBezTo>
                    <a:pt x="14" y="23"/>
                    <a:pt x="13" y="25"/>
                    <a:pt x="12" y="27"/>
                  </a:cubicBezTo>
                  <a:cubicBezTo>
                    <a:pt x="12" y="29"/>
                    <a:pt x="11" y="31"/>
                    <a:pt x="11" y="33"/>
                  </a:cubicBezTo>
                  <a:cubicBezTo>
                    <a:pt x="12" y="34"/>
                    <a:pt x="14" y="35"/>
                    <a:pt x="14" y="37"/>
                  </a:cubicBezTo>
                  <a:cubicBezTo>
                    <a:pt x="14" y="38"/>
                    <a:pt x="12" y="39"/>
                    <a:pt x="13" y="40"/>
                  </a:cubicBezTo>
                  <a:cubicBezTo>
                    <a:pt x="14" y="42"/>
                    <a:pt x="17" y="43"/>
                    <a:pt x="18" y="41"/>
                  </a:cubicBezTo>
                  <a:cubicBezTo>
                    <a:pt x="19" y="40"/>
                    <a:pt x="16" y="37"/>
                    <a:pt x="16" y="35"/>
                  </a:cubicBezTo>
                  <a:cubicBezTo>
                    <a:pt x="17" y="34"/>
                    <a:pt x="19" y="35"/>
                    <a:pt x="20" y="36"/>
                  </a:cubicBezTo>
                  <a:cubicBezTo>
                    <a:pt x="20" y="37"/>
                    <a:pt x="19" y="39"/>
                    <a:pt x="19" y="41"/>
                  </a:cubicBezTo>
                  <a:cubicBezTo>
                    <a:pt x="19" y="42"/>
                    <a:pt x="18" y="44"/>
                    <a:pt x="19" y="44"/>
                  </a:cubicBezTo>
                  <a:cubicBezTo>
                    <a:pt x="21" y="44"/>
                    <a:pt x="23" y="43"/>
                    <a:pt x="24" y="42"/>
                  </a:cubicBezTo>
                  <a:cubicBezTo>
                    <a:pt x="25" y="41"/>
                    <a:pt x="23" y="39"/>
                    <a:pt x="24" y="38"/>
                  </a:cubicBezTo>
                  <a:cubicBezTo>
                    <a:pt x="24" y="37"/>
                    <a:pt x="26" y="39"/>
                    <a:pt x="27" y="3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1" name="Freeform 381"/>
            <p:cNvSpPr>
              <a:spLocks noChangeAspect="1"/>
            </p:cNvSpPr>
            <p:nvPr/>
          </p:nvSpPr>
          <p:spPr bwMode="auto">
            <a:xfrm>
              <a:off x="7627938" y="3335338"/>
              <a:ext cx="7937" cy="15875"/>
            </a:xfrm>
            <a:custGeom>
              <a:avLst/>
              <a:gdLst>
                <a:gd name="T0" fmla="*/ 5953 w 4"/>
                <a:gd name="T1" fmla="*/ 0 h 8"/>
                <a:gd name="T2" fmla="*/ 3969 w 4"/>
                <a:gd name="T3" fmla="*/ 15875 h 8"/>
                <a:gd name="T4" fmla="*/ 0 w 4"/>
                <a:gd name="T5" fmla="*/ 13891 h 8"/>
                <a:gd name="T6" fmla="*/ 1984 w 4"/>
                <a:gd name="T7" fmla="*/ 1984 h 8"/>
                <a:gd name="T8" fmla="*/ 5953 w 4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8"/>
                <a:gd name="T17" fmla="*/ 4 w 4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8">
                  <a:moveTo>
                    <a:pt x="3" y="0"/>
                  </a:moveTo>
                  <a:cubicBezTo>
                    <a:pt x="4" y="3"/>
                    <a:pt x="3" y="5"/>
                    <a:pt x="2" y="8"/>
                  </a:cubicBezTo>
                  <a:cubicBezTo>
                    <a:pt x="2" y="8"/>
                    <a:pt x="1" y="8"/>
                    <a:pt x="0" y="7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1" y="0"/>
                    <a:pt x="3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2" name="Freeform 382"/>
            <p:cNvSpPr>
              <a:spLocks noChangeAspect="1"/>
            </p:cNvSpPr>
            <p:nvPr/>
          </p:nvSpPr>
          <p:spPr bwMode="auto">
            <a:xfrm>
              <a:off x="7570788" y="3217863"/>
              <a:ext cx="6350" cy="11112"/>
            </a:xfrm>
            <a:custGeom>
              <a:avLst/>
              <a:gdLst>
                <a:gd name="T0" fmla="*/ 6350 w 3"/>
                <a:gd name="T1" fmla="*/ 0 h 6"/>
                <a:gd name="T2" fmla="*/ 4233 w 3"/>
                <a:gd name="T3" fmla="*/ 11112 h 6"/>
                <a:gd name="T4" fmla="*/ 0 w 3"/>
                <a:gd name="T5" fmla="*/ 11112 h 6"/>
                <a:gd name="T6" fmla="*/ 2117 w 3"/>
                <a:gd name="T7" fmla="*/ 1852 h 6"/>
                <a:gd name="T8" fmla="*/ 635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cubicBezTo>
                    <a:pt x="3" y="2"/>
                    <a:pt x="3" y="4"/>
                    <a:pt x="2" y="6"/>
                  </a:cubicBezTo>
                  <a:cubicBezTo>
                    <a:pt x="2" y="6"/>
                    <a:pt x="0" y="6"/>
                    <a:pt x="0" y="6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3" name="Freeform 383"/>
            <p:cNvSpPr>
              <a:spLocks noChangeAspect="1"/>
            </p:cNvSpPr>
            <p:nvPr/>
          </p:nvSpPr>
          <p:spPr bwMode="auto">
            <a:xfrm>
              <a:off x="7764463" y="3109913"/>
              <a:ext cx="9525" cy="15875"/>
            </a:xfrm>
            <a:custGeom>
              <a:avLst/>
              <a:gdLst>
                <a:gd name="T0" fmla="*/ 3810 w 5"/>
                <a:gd name="T1" fmla="*/ 1984 h 8"/>
                <a:gd name="T2" fmla="*/ 0 w 5"/>
                <a:gd name="T3" fmla="*/ 9922 h 8"/>
                <a:gd name="T4" fmla="*/ 3810 w 5"/>
                <a:gd name="T5" fmla="*/ 9922 h 8"/>
                <a:gd name="T6" fmla="*/ 3810 w 5"/>
                <a:gd name="T7" fmla="*/ 15875 h 8"/>
                <a:gd name="T8" fmla="*/ 9525 w 5"/>
                <a:gd name="T9" fmla="*/ 7938 h 8"/>
                <a:gd name="T10" fmla="*/ 5715 w 5"/>
                <a:gd name="T11" fmla="*/ 7938 h 8"/>
                <a:gd name="T12" fmla="*/ 3810 w 5"/>
                <a:gd name="T13" fmla="*/ 1984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8"/>
                <a:gd name="T23" fmla="*/ 5 w 5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8">
                  <a:moveTo>
                    <a:pt x="2" y="1"/>
                  </a:moveTo>
                  <a:cubicBezTo>
                    <a:pt x="0" y="1"/>
                    <a:pt x="0" y="4"/>
                    <a:pt x="0" y="5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2" y="6"/>
                    <a:pt x="1" y="8"/>
                    <a:pt x="2" y="8"/>
                  </a:cubicBezTo>
                  <a:cubicBezTo>
                    <a:pt x="3" y="8"/>
                    <a:pt x="4" y="6"/>
                    <a:pt x="5" y="4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3" y="3"/>
                    <a:pt x="3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4" name="Freeform 384"/>
            <p:cNvSpPr>
              <a:spLocks noChangeAspect="1"/>
            </p:cNvSpPr>
            <p:nvPr/>
          </p:nvSpPr>
          <p:spPr bwMode="auto">
            <a:xfrm>
              <a:off x="6454775" y="3929063"/>
              <a:ext cx="58738" cy="104775"/>
            </a:xfrm>
            <a:custGeom>
              <a:avLst/>
              <a:gdLst>
                <a:gd name="T0" fmla="*/ 18948 w 31"/>
                <a:gd name="T1" fmla="*/ 1905 h 55"/>
                <a:gd name="T2" fmla="*/ 41685 w 31"/>
                <a:gd name="T3" fmla="*/ 38100 h 55"/>
                <a:gd name="T4" fmla="*/ 56843 w 31"/>
                <a:gd name="T5" fmla="*/ 70485 h 55"/>
                <a:gd name="T6" fmla="*/ 51159 w 31"/>
                <a:gd name="T7" fmla="*/ 93345 h 55"/>
                <a:gd name="T8" fmla="*/ 36001 w 31"/>
                <a:gd name="T9" fmla="*/ 100965 h 55"/>
                <a:gd name="T10" fmla="*/ 26527 w 31"/>
                <a:gd name="T11" fmla="*/ 104775 h 55"/>
                <a:gd name="T12" fmla="*/ 11369 w 31"/>
                <a:gd name="T13" fmla="*/ 89535 h 55"/>
                <a:gd name="T14" fmla="*/ 9474 w 31"/>
                <a:gd name="T15" fmla="*/ 74295 h 55"/>
                <a:gd name="T16" fmla="*/ 5684 w 31"/>
                <a:gd name="T17" fmla="*/ 59055 h 55"/>
                <a:gd name="T18" fmla="*/ 3790 w 31"/>
                <a:gd name="T19" fmla="*/ 49530 h 55"/>
                <a:gd name="T20" fmla="*/ 1895 w 31"/>
                <a:gd name="T21" fmla="*/ 38100 h 55"/>
                <a:gd name="T22" fmla="*/ 7579 w 31"/>
                <a:gd name="T23" fmla="*/ 49530 h 55"/>
                <a:gd name="T24" fmla="*/ 9474 w 31"/>
                <a:gd name="T25" fmla="*/ 30480 h 55"/>
                <a:gd name="T26" fmla="*/ 11369 w 31"/>
                <a:gd name="T27" fmla="*/ 15240 h 55"/>
                <a:gd name="T28" fmla="*/ 13263 w 31"/>
                <a:gd name="T29" fmla="*/ 9525 h 55"/>
                <a:gd name="T30" fmla="*/ 20843 w 31"/>
                <a:gd name="T31" fmla="*/ 13335 h 55"/>
                <a:gd name="T32" fmla="*/ 17053 w 31"/>
                <a:gd name="T33" fmla="*/ 5715 h 55"/>
                <a:gd name="T34" fmla="*/ 7579 w 31"/>
                <a:gd name="T35" fmla="*/ 1905 h 55"/>
                <a:gd name="T36" fmla="*/ 18948 w 31"/>
                <a:gd name="T37" fmla="*/ 1905 h 5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1"/>
                <a:gd name="T58" fmla="*/ 0 h 55"/>
                <a:gd name="T59" fmla="*/ 31 w 31"/>
                <a:gd name="T60" fmla="*/ 55 h 5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1" h="55">
                  <a:moveTo>
                    <a:pt x="10" y="1"/>
                  </a:moveTo>
                  <a:cubicBezTo>
                    <a:pt x="15" y="7"/>
                    <a:pt x="18" y="13"/>
                    <a:pt x="22" y="20"/>
                  </a:cubicBezTo>
                  <a:cubicBezTo>
                    <a:pt x="25" y="25"/>
                    <a:pt x="29" y="31"/>
                    <a:pt x="30" y="37"/>
                  </a:cubicBezTo>
                  <a:cubicBezTo>
                    <a:pt x="31" y="41"/>
                    <a:pt x="29" y="46"/>
                    <a:pt x="27" y="49"/>
                  </a:cubicBezTo>
                  <a:cubicBezTo>
                    <a:pt x="25" y="51"/>
                    <a:pt x="22" y="52"/>
                    <a:pt x="19" y="53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0" y="54"/>
                    <a:pt x="8" y="50"/>
                    <a:pt x="6" y="47"/>
                  </a:cubicBezTo>
                  <a:cubicBezTo>
                    <a:pt x="5" y="45"/>
                    <a:pt x="6" y="41"/>
                    <a:pt x="5" y="39"/>
                  </a:cubicBezTo>
                  <a:cubicBezTo>
                    <a:pt x="5" y="36"/>
                    <a:pt x="4" y="34"/>
                    <a:pt x="3" y="31"/>
                  </a:cubicBezTo>
                  <a:cubicBezTo>
                    <a:pt x="3" y="30"/>
                    <a:pt x="2" y="28"/>
                    <a:pt x="2" y="26"/>
                  </a:cubicBezTo>
                  <a:cubicBezTo>
                    <a:pt x="2" y="24"/>
                    <a:pt x="0" y="22"/>
                    <a:pt x="1" y="20"/>
                  </a:cubicBezTo>
                  <a:cubicBezTo>
                    <a:pt x="3" y="22"/>
                    <a:pt x="2" y="27"/>
                    <a:pt x="4" y="26"/>
                  </a:cubicBezTo>
                  <a:cubicBezTo>
                    <a:pt x="4" y="22"/>
                    <a:pt x="4" y="19"/>
                    <a:pt x="5" y="16"/>
                  </a:cubicBezTo>
                  <a:cubicBezTo>
                    <a:pt x="5" y="14"/>
                    <a:pt x="6" y="11"/>
                    <a:pt x="6" y="8"/>
                  </a:cubicBezTo>
                  <a:cubicBezTo>
                    <a:pt x="7" y="7"/>
                    <a:pt x="7" y="6"/>
                    <a:pt x="7" y="5"/>
                  </a:cubicBezTo>
                  <a:cubicBezTo>
                    <a:pt x="9" y="5"/>
                    <a:pt x="11" y="8"/>
                    <a:pt x="11" y="7"/>
                  </a:cubicBezTo>
                  <a:cubicBezTo>
                    <a:pt x="12" y="5"/>
                    <a:pt x="10" y="4"/>
                    <a:pt x="9" y="3"/>
                  </a:cubicBezTo>
                  <a:cubicBezTo>
                    <a:pt x="7" y="2"/>
                    <a:pt x="6" y="2"/>
                    <a:pt x="4" y="1"/>
                  </a:cubicBezTo>
                  <a:cubicBezTo>
                    <a:pt x="7" y="0"/>
                    <a:pt x="9" y="0"/>
                    <a:pt x="1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5" name="Freeform 385"/>
            <p:cNvSpPr>
              <a:spLocks noChangeAspect="1"/>
            </p:cNvSpPr>
            <p:nvPr/>
          </p:nvSpPr>
          <p:spPr bwMode="auto">
            <a:xfrm>
              <a:off x="6792913" y="4002088"/>
              <a:ext cx="9525" cy="15875"/>
            </a:xfrm>
            <a:custGeom>
              <a:avLst/>
              <a:gdLst>
                <a:gd name="T0" fmla="*/ 0 w 5"/>
                <a:gd name="T1" fmla="*/ 1984 h 8"/>
                <a:gd name="T2" fmla="*/ 5715 w 5"/>
                <a:gd name="T3" fmla="*/ 1984 h 8"/>
                <a:gd name="T4" fmla="*/ 7620 w 5"/>
                <a:gd name="T5" fmla="*/ 13891 h 8"/>
                <a:gd name="T6" fmla="*/ 0 w 5"/>
                <a:gd name="T7" fmla="*/ 9922 h 8"/>
                <a:gd name="T8" fmla="*/ 0 w 5"/>
                <a:gd name="T9" fmla="*/ 1984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0" y="1"/>
                  </a:moveTo>
                  <a:cubicBezTo>
                    <a:pt x="1" y="0"/>
                    <a:pt x="3" y="0"/>
                    <a:pt x="3" y="1"/>
                  </a:cubicBezTo>
                  <a:cubicBezTo>
                    <a:pt x="4" y="2"/>
                    <a:pt x="5" y="5"/>
                    <a:pt x="4" y="7"/>
                  </a:cubicBezTo>
                  <a:cubicBezTo>
                    <a:pt x="3" y="8"/>
                    <a:pt x="1" y="6"/>
                    <a:pt x="0" y="5"/>
                  </a:cubicBezTo>
                  <a:cubicBezTo>
                    <a:pt x="0" y="4"/>
                    <a:pt x="0" y="2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6" name="Freeform 386"/>
            <p:cNvSpPr>
              <a:spLocks noChangeAspect="1"/>
            </p:cNvSpPr>
            <p:nvPr/>
          </p:nvSpPr>
          <p:spPr bwMode="auto">
            <a:xfrm>
              <a:off x="6831013" y="4040188"/>
              <a:ext cx="273050" cy="320675"/>
            </a:xfrm>
            <a:custGeom>
              <a:avLst/>
              <a:gdLst>
                <a:gd name="T0" fmla="*/ 17185 w 143"/>
                <a:gd name="T1" fmla="*/ 1909 h 168"/>
                <a:gd name="T2" fmla="*/ 59193 w 143"/>
                <a:gd name="T3" fmla="*/ 17179 h 168"/>
                <a:gd name="T4" fmla="*/ 70649 w 143"/>
                <a:gd name="T5" fmla="*/ 34358 h 168"/>
                <a:gd name="T6" fmla="*/ 76378 w 143"/>
                <a:gd name="T7" fmla="*/ 45811 h 168"/>
                <a:gd name="T8" fmla="*/ 93563 w 143"/>
                <a:gd name="T9" fmla="*/ 57263 h 168"/>
                <a:gd name="T10" fmla="*/ 126023 w 143"/>
                <a:gd name="T11" fmla="*/ 87804 h 168"/>
                <a:gd name="T12" fmla="*/ 139389 w 143"/>
                <a:gd name="T13" fmla="*/ 97348 h 168"/>
                <a:gd name="T14" fmla="*/ 143208 w 143"/>
                <a:gd name="T15" fmla="*/ 93530 h 168"/>
                <a:gd name="T16" fmla="*/ 158484 w 143"/>
                <a:gd name="T17" fmla="*/ 103074 h 168"/>
                <a:gd name="T18" fmla="*/ 169940 w 143"/>
                <a:gd name="T19" fmla="*/ 114527 h 168"/>
                <a:gd name="T20" fmla="*/ 179487 w 143"/>
                <a:gd name="T21" fmla="*/ 129797 h 168"/>
                <a:gd name="T22" fmla="*/ 196672 w 143"/>
                <a:gd name="T23" fmla="*/ 143158 h 168"/>
                <a:gd name="T24" fmla="*/ 217676 w 143"/>
                <a:gd name="T25" fmla="*/ 154611 h 168"/>
                <a:gd name="T26" fmla="*/ 215767 w 143"/>
                <a:gd name="T27" fmla="*/ 164155 h 168"/>
                <a:gd name="T28" fmla="*/ 215767 w 143"/>
                <a:gd name="T29" fmla="*/ 183243 h 168"/>
                <a:gd name="T30" fmla="*/ 234861 w 143"/>
                <a:gd name="T31" fmla="*/ 206148 h 168"/>
                <a:gd name="T32" fmla="*/ 238680 w 143"/>
                <a:gd name="T33" fmla="*/ 221418 h 168"/>
                <a:gd name="T34" fmla="*/ 271141 w 143"/>
                <a:gd name="T35" fmla="*/ 240506 h 168"/>
                <a:gd name="T36" fmla="*/ 263503 w 143"/>
                <a:gd name="T37" fmla="*/ 293952 h 168"/>
                <a:gd name="T38" fmla="*/ 250137 w 143"/>
                <a:gd name="T39" fmla="*/ 305405 h 168"/>
                <a:gd name="T40" fmla="*/ 234861 w 143"/>
                <a:gd name="T41" fmla="*/ 307314 h 168"/>
                <a:gd name="T42" fmla="*/ 223405 w 143"/>
                <a:gd name="T43" fmla="*/ 307314 h 168"/>
                <a:gd name="T44" fmla="*/ 173759 w 143"/>
                <a:gd name="T45" fmla="*/ 253868 h 168"/>
                <a:gd name="T46" fmla="*/ 152755 w 143"/>
                <a:gd name="T47" fmla="*/ 229054 h 168"/>
                <a:gd name="T48" fmla="*/ 143208 w 143"/>
                <a:gd name="T49" fmla="*/ 208057 h 168"/>
                <a:gd name="T50" fmla="*/ 124114 w 143"/>
                <a:gd name="T51" fmla="*/ 167973 h 168"/>
                <a:gd name="T52" fmla="*/ 118385 w 143"/>
                <a:gd name="T53" fmla="*/ 156520 h 168"/>
                <a:gd name="T54" fmla="*/ 103110 w 143"/>
                <a:gd name="T55" fmla="*/ 150794 h 168"/>
                <a:gd name="T56" fmla="*/ 91653 w 143"/>
                <a:gd name="T57" fmla="*/ 114527 h 168"/>
                <a:gd name="T58" fmla="*/ 87834 w 143"/>
                <a:gd name="T59" fmla="*/ 106892 h 168"/>
                <a:gd name="T60" fmla="*/ 68740 w 143"/>
                <a:gd name="T61" fmla="*/ 93530 h 168"/>
                <a:gd name="T62" fmla="*/ 47736 w 143"/>
                <a:gd name="T63" fmla="*/ 57263 h 168"/>
                <a:gd name="T64" fmla="*/ 11457 w 143"/>
                <a:gd name="T65" fmla="*/ 28632 h 168"/>
                <a:gd name="T66" fmla="*/ 1909 w 143"/>
                <a:gd name="T67" fmla="*/ 1909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3"/>
                <a:gd name="T103" fmla="*/ 0 h 168"/>
                <a:gd name="T104" fmla="*/ 143 w 143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3" h="168">
                  <a:moveTo>
                    <a:pt x="1" y="1"/>
                  </a:moveTo>
                  <a:cubicBezTo>
                    <a:pt x="3" y="0"/>
                    <a:pt x="6" y="0"/>
                    <a:pt x="9" y="1"/>
                  </a:cubicBezTo>
                  <a:cubicBezTo>
                    <a:pt x="11" y="2"/>
                    <a:pt x="11" y="6"/>
                    <a:pt x="13" y="7"/>
                  </a:cubicBezTo>
                  <a:cubicBezTo>
                    <a:pt x="19" y="9"/>
                    <a:pt x="26" y="7"/>
                    <a:pt x="31" y="9"/>
                  </a:cubicBezTo>
                  <a:cubicBezTo>
                    <a:pt x="34" y="10"/>
                    <a:pt x="36" y="12"/>
                    <a:pt x="37" y="15"/>
                  </a:cubicBezTo>
                  <a:cubicBezTo>
                    <a:pt x="38" y="16"/>
                    <a:pt x="36" y="17"/>
                    <a:pt x="37" y="18"/>
                  </a:cubicBezTo>
                  <a:cubicBezTo>
                    <a:pt x="38" y="20"/>
                    <a:pt x="41" y="20"/>
                    <a:pt x="42" y="21"/>
                  </a:cubicBezTo>
                  <a:cubicBezTo>
                    <a:pt x="42" y="22"/>
                    <a:pt x="39" y="23"/>
                    <a:pt x="40" y="24"/>
                  </a:cubicBezTo>
                  <a:cubicBezTo>
                    <a:pt x="42" y="25"/>
                    <a:pt x="46" y="24"/>
                    <a:pt x="48" y="26"/>
                  </a:cubicBezTo>
                  <a:cubicBezTo>
                    <a:pt x="49" y="27"/>
                    <a:pt x="48" y="29"/>
                    <a:pt x="49" y="30"/>
                  </a:cubicBezTo>
                  <a:cubicBezTo>
                    <a:pt x="52" y="33"/>
                    <a:pt x="56" y="34"/>
                    <a:pt x="59" y="36"/>
                  </a:cubicBezTo>
                  <a:cubicBezTo>
                    <a:pt x="62" y="39"/>
                    <a:pt x="63" y="44"/>
                    <a:pt x="66" y="46"/>
                  </a:cubicBezTo>
                  <a:cubicBezTo>
                    <a:pt x="67" y="47"/>
                    <a:pt x="67" y="43"/>
                    <a:pt x="68" y="44"/>
                  </a:cubicBezTo>
                  <a:cubicBezTo>
                    <a:pt x="70" y="45"/>
                    <a:pt x="71" y="49"/>
                    <a:pt x="73" y="51"/>
                  </a:cubicBezTo>
                  <a:cubicBezTo>
                    <a:pt x="73" y="52"/>
                    <a:pt x="75" y="54"/>
                    <a:pt x="76" y="54"/>
                  </a:cubicBezTo>
                  <a:cubicBezTo>
                    <a:pt x="77" y="53"/>
                    <a:pt x="74" y="50"/>
                    <a:pt x="75" y="49"/>
                  </a:cubicBezTo>
                  <a:cubicBezTo>
                    <a:pt x="75" y="48"/>
                    <a:pt x="77" y="47"/>
                    <a:pt x="79" y="48"/>
                  </a:cubicBezTo>
                  <a:cubicBezTo>
                    <a:pt x="81" y="49"/>
                    <a:pt x="82" y="52"/>
                    <a:pt x="83" y="54"/>
                  </a:cubicBezTo>
                  <a:cubicBezTo>
                    <a:pt x="84" y="55"/>
                    <a:pt x="82" y="58"/>
                    <a:pt x="83" y="59"/>
                  </a:cubicBezTo>
                  <a:cubicBezTo>
                    <a:pt x="85" y="60"/>
                    <a:pt x="87" y="59"/>
                    <a:pt x="89" y="60"/>
                  </a:cubicBezTo>
                  <a:cubicBezTo>
                    <a:pt x="90" y="60"/>
                    <a:pt x="91" y="61"/>
                    <a:pt x="91" y="61"/>
                  </a:cubicBezTo>
                  <a:cubicBezTo>
                    <a:pt x="93" y="64"/>
                    <a:pt x="92" y="67"/>
                    <a:pt x="94" y="68"/>
                  </a:cubicBezTo>
                  <a:cubicBezTo>
                    <a:pt x="96" y="70"/>
                    <a:pt x="100" y="70"/>
                    <a:pt x="102" y="71"/>
                  </a:cubicBezTo>
                  <a:cubicBezTo>
                    <a:pt x="103" y="72"/>
                    <a:pt x="102" y="74"/>
                    <a:pt x="103" y="75"/>
                  </a:cubicBezTo>
                  <a:cubicBezTo>
                    <a:pt x="104" y="76"/>
                    <a:pt x="106" y="74"/>
                    <a:pt x="108" y="75"/>
                  </a:cubicBezTo>
                  <a:cubicBezTo>
                    <a:pt x="110" y="77"/>
                    <a:pt x="114" y="78"/>
                    <a:pt x="114" y="81"/>
                  </a:cubicBezTo>
                  <a:cubicBezTo>
                    <a:pt x="115" y="83"/>
                    <a:pt x="111" y="82"/>
                    <a:pt x="110" y="84"/>
                  </a:cubicBezTo>
                  <a:cubicBezTo>
                    <a:pt x="109" y="85"/>
                    <a:pt x="113" y="85"/>
                    <a:pt x="113" y="86"/>
                  </a:cubicBezTo>
                  <a:cubicBezTo>
                    <a:pt x="112" y="89"/>
                    <a:pt x="108" y="90"/>
                    <a:pt x="108" y="93"/>
                  </a:cubicBezTo>
                  <a:cubicBezTo>
                    <a:pt x="108" y="95"/>
                    <a:pt x="111" y="95"/>
                    <a:pt x="113" y="96"/>
                  </a:cubicBezTo>
                  <a:cubicBezTo>
                    <a:pt x="115" y="97"/>
                    <a:pt x="118" y="96"/>
                    <a:pt x="120" y="98"/>
                  </a:cubicBezTo>
                  <a:cubicBezTo>
                    <a:pt x="122" y="101"/>
                    <a:pt x="121" y="105"/>
                    <a:pt x="123" y="108"/>
                  </a:cubicBezTo>
                  <a:cubicBezTo>
                    <a:pt x="124" y="110"/>
                    <a:pt x="127" y="110"/>
                    <a:pt x="128" y="112"/>
                  </a:cubicBezTo>
                  <a:cubicBezTo>
                    <a:pt x="128" y="114"/>
                    <a:pt x="124" y="115"/>
                    <a:pt x="125" y="116"/>
                  </a:cubicBezTo>
                  <a:cubicBezTo>
                    <a:pt x="128" y="118"/>
                    <a:pt x="133" y="116"/>
                    <a:pt x="136" y="118"/>
                  </a:cubicBezTo>
                  <a:cubicBezTo>
                    <a:pt x="139" y="119"/>
                    <a:pt x="141" y="123"/>
                    <a:pt x="142" y="126"/>
                  </a:cubicBezTo>
                  <a:cubicBezTo>
                    <a:pt x="143" y="129"/>
                    <a:pt x="140" y="131"/>
                    <a:pt x="139" y="134"/>
                  </a:cubicBezTo>
                  <a:cubicBezTo>
                    <a:pt x="138" y="141"/>
                    <a:pt x="139" y="148"/>
                    <a:pt x="138" y="154"/>
                  </a:cubicBezTo>
                  <a:cubicBezTo>
                    <a:pt x="137" y="158"/>
                    <a:pt x="138" y="162"/>
                    <a:pt x="136" y="165"/>
                  </a:cubicBezTo>
                  <a:cubicBezTo>
                    <a:pt x="134" y="166"/>
                    <a:pt x="133" y="160"/>
                    <a:pt x="131" y="160"/>
                  </a:cubicBezTo>
                  <a:cubicBezTo>
                    <a:pt x="129" y="159"/>
                    <a:pt x="131" y="164"/>
                    <a:pt x="130" y="164"/>
                  </a:cubicBezTo>
                  <a:cubicBezTo>
                    <a:pt x="128" y="165"/>
                    <a:pt x="125" y="160"/>
                    <a:pt x="123" y="161"/>
                  </a:cubicBezTo>
                  <a:cubicBezTo>
                    <a:pt x="121" y="162"/>
                    <a:pt x="125" y="168"/>
                    <a:pt x="123" y="168"/>
                  </a:cubicBezTo>
                  <a:cubicBezTo>
                    <a:pt x="120" y="167"/>
                    <a:pt x="119" y="163"/>
                    <a:pt x="117" y="161"/>
                  </a:cubicBezTo>
                  <a:cubicBezTo>
                    <a:pt x="112" y="156"/>
                    <a:pt x="107" y="153"/>
                    <a:pt x="102" y="148"/>
                  </a:cubicBezTo>
                  <a:cubicBezTo>
                    <a:pt x="98" y="143"/>
                    <a:pt x="95" y="138"/>
                    <a:pt x="91" y="133"/>
                  </a:cubicBezTo>
                  <a:cubicBezTo>
                    <a:pt x="90" y="132"/>
                    <a:pt x="87" y="132"/>
                    <a:pt x="86" y="131"/>
                  </a:cubicBezTo>
                  <a:cubicBezTo>
                    <a:pt x="84" y="127"/>
                    <a:pt x="83" y="123"/>
                    <a:pt x="80" y="120"/>
                  </a:cubicBezTo>
                  <a:cubicBezTo>
                    <a:pt x="79" y="117"/>
                    <a:pt x="76" y="115"/>
                    <a:pt x="75" y="113"/>
                  </a:cubicBezTo>
                  <a:cubicBezTo>
                    <a:pt x="74" y="112"/>
                    <a:pt x="75" y="110"/>
                    <a:pt x="75" y="109"/>
                  </a:cubicBezTo>
                  <a:cubicBezTo>
                    <a:pt x="74" y="106"/>
                    <a:pt x="73" y="103"/>
                    <a:pt x="71" y="99"/>
                  </a:cubicBezTo>
                  <a:cubicBezTo>
                    <a:pt x="69" y="95"/>
                    <a:pt x="68" y="91"/>
                    <a:pt x="65" y="88"/>
                  </a:cubicBezTo>
                  <a:cubicBezTo>
                    <a:pt x="64" y="87"/>
                    <a:pt x="62" y="88"/>
                    <a:pt x="62" y="87"/>
                  </a:cubicBezTo>
                  <a:cubicBezTo>
                    <a:pt x="61" y="86"/>
                    <a:pt x="62" y="83"/>
                    <a:pt x="62" y="82"/>
                  </a:cubicBezTo>
                  <a:cubicBezTo>
                    <a:pt x="61" y="80"/>
                    <a:pt x="59" y="79"/>
                    <a:pt x="57" y="78"/>
                  </a:cubicBezTo>
                  <a:cubicBezTo>
                    <a:pt x="56" y="78"/>
                    <a:pt x="55" y="80"/>
                    <a:pt x="54" y="79"/>
                  </a:cubicBezTo>
                  <a:cubicBezTo>
                    <a:pt x="53" y="78"/>
                    <a:pt x="54" y="75"/>
                    <a:pt x="54" y="74"/>
                  </a:cubicBezTo>
                  <a:cubicBezTo>
                    <a:pt x="52" y="69"/>
                    <a:pt x="50" y="65"/>
                    <a:pt x="48" y="60"/>
                  </a:cubicBezTo>
                  <a:cubicBezTo>
                    <a:pt x="48" y="59"/>
                    <a:pt x="50" y="58"/>
                    <a:pt x="49" y="57"/>
                  </a:cubicBezTo>
                  <a:cubicBezTo>
                    <a:pt x="49" y="56"/>
                    <a:pt x="47" y="57"/>
                    <a:pt x="46" y="56"/>
                  </a:cubicBezTo>
                  <a:cubicBezTo>
                    <a:pt x="44" y="54"/>
                    <a:pt x="42" y="52"/>
                    <a:pt x="40" y="50"/>
                  </a:cubicBezTo>
                  <a:cubicBezTo>
                    <a:pt x="39" y="50"/>
                    <a:pt x="37" y="51"/>
                    <a:pt x="36" y="49"/>
                  </a:cubicBezTo>
                  <a:cubicBezTo>
                    <a:pt x="35" y="48"/>
                    <a:pt x="36" y="45"/>
                    <a:pt x="35" y="43"/>
                  </a:cubicBezTo>
                  <a:cubicBezTo>
                    <a:pt x="33" y="38"/>
                    <a:pt x="29" y="34"/>
                    <a:pt x="25" y="30"/>
                  </a:cubicBezTo>
                  <a:cubicBezTo>
                    <a:pt x="23" y="28"/>
                    <a:pt x="20" y="28"/>
                    <a:pt x="18" y="27"/>
                  </a:cubicBezTo>
                  <a:cubicBezTo>
                    <a:pt x="13" y="23"/>
                    <a:pt x="9" y="20"/>
                    <a:pt x="6" y="15"/>
                  </a:cubicBezTo>
                  <a:cubicBezTo>
                    <a:pt x="4" y="12"/>
                    <a:pt x="3" y="9"/>
                    <a:pt x="2" y="5"/>
                  </a:cubicBezTo>
                  <a:cubicBezTo>
                    <a:pt x="1" y="4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7" name="Freeform 387"/>
            <p:cNvSpPr>
              <a:spLocks noChangeAspect="1"/>
            </p:cNvSpPr>
            <p:nvPr/>
          </p:nvSpPr>
          <p:spPr bwMode="auto">
            <a:xfrm>
              <a:off x="6999288" y="4146550"/>
              <a:ext cx="31750" cy="25400"/>
            </a:xfrm>
            <a:custGeom>
              <a:avLst/>
              <a:gdLst>
                <a:gd name="T0" fmla="*/ 3735 w 17"/>
                <a:gd name="T1" fmla="*/ 1954 h 13"/>
                <a:gd name="T2" fmla="*/ 20544 w 17"/>
                <a:gd name="T3" fmla="*/ 7815 h 13"/>
                <a:gd name="T4" fmla="*/ 20544 w 17"/>
                <a:gd name="T5" fmla="*/ 17585 h 13"/>
                <a:gd name="T6" fmla="*/ 31750 w 17"/>
                <a:gd name="T7" fmla="*/ 21492 h 13"/>
                <a:gd name="T8" fmla="*/ 28015 w 17"/>
                <a:gd name="T9" fmla="*/ 25400 h 13"/>
                <a:gd name="T10" fmla="*/ 13074 w 17"/>
                <a:gd name="T11" fmla="*/ 21492 h 13"/>
                <a:gd name="T12" fmla="*/ 11206 w 17"/>
                <a:gd name="T13" fmla="*/ 9769 h 13"/>
                <a:gd name="T14" fmla="*/ 3735 w 17"/>
                <a:gd name="T15" fmla="*/ 1954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3"/>
                <a:gd name="T26" fmla="*/ 17 w 17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3">
                  <a:moveTo>
                    <a:pt x="2" y="1"/>
                  </a:moveTo>
                  <a:cubicBezTo>
                    <a:pt x="5" y="0"/>
                    <a:pt x="8" y="2"/>
                    <a:pt x="11" y="4"/>
                  </a:cubicBezTo>
                  <a:cubicBezTo>
                    <a:pt x="12" y="5"/>
                    <a:pt x="10" y="8"/>
                    <a:pt x="11" y="9"/>
                  </a:cubicBezTo>
                  <a:cubicBezTo>
                    <a:pt x="12" y="10"/>
                    <a:pt x="15" y="9"/>
                    <a:pt x="17" y="11"/>
                  </a:cubicBezTo>
                  <a:cubicBezTo>
                    <a:pt x="17" y="11"/>
                    <a:pt x="16" y="13"/>
                    <a:pt x="15" y="13"/>
                  </a:cubicBezTo>
                  <a:cubicBezTo>
                    <a:pt x="12" y="13"/>
                    <a:pt x="9" y="12"/>
                    <a:pt x="7" y="11"/>
                  </a:cubicBezTo>
                  <a:cubicBezTo>
                    <a:pt x="6" y="9"/>
                    <a:pt x="7" y="6"/>
                    <a:pt x="6" y="5"/>
                  </a:cubicBezTo>
                  <a:cubicBezTo>
                    <a:pt x="5" y="3"/>
                    <a:pt x="0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8" name="Freeform 388"/>
            <p:cNvSpPr>
              <a:spLocks noChangeAspect="1"/>
            </p:cNvSpPr>
            <p:nvPr/>
          </p:nvSpPr>
          <p:spPr bwMode="auto">
            <a:xfrm>
              <a:off x="6991350" y="4138613"/>
              <a:ext cx="7938" cy="12700"/>
            </a:xfrm>
            <a:custGeom>
              <a:avLst/>
              <a:gdLst>
                <a:gd name="T0" fmla="*/ 3969 w 4"/>
                <a:gd name="T1" fmla="*/ 0 h 6"/>
                <a:gd name="T2" fmla="*/ 7938 w 4"/>
                <a:gd name="T3" fmla="*/ 4233 h 6"/>
                <a:gd name="T4" fmla="*/ 3969 w 4"/>
                <a:gd name="T5" fmla="*/ 10583 h 6"/>
                <a:gd name="T6" fmla="*/ 0 w 4"/>
                <a:gd name="T7" fmla="*/ 6350 h 6"/>
                <a:gd name="T8" fmla="*/ 3969 w 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2" y="0"/>
                  </a:moveTo>
                  <a:cubicBezTo>
                    <a:pt x="3" y="0"/>
                    <a:pt x="4" y="1"/>
                    <a:pt x="4" y="2"/>
                  </a:cubicBezTo>
                  <a:cubicBezTo>
                    <a:pt x="4" y="3"/>
                    <a:pt x="3" y="5"/>
                    <a:pt x="2" y="5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2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89" name="Freeform 389"/>
            <p:cNvSpPr>
              <a:spLocks noChangeAspect="1"/>
            </p:cNvSpPr>
            <p:nvPr/>
          </p:nvSpPr>
          <p:spPr bwMode="auto">
            <a:xfrm>
              <a:off x="7078663" y="4233863"/>
              <a:ext cx="44450" cy="46037"/>
            </a:xfrm>
            <a:custGeom>
              <a:avLst/>
              <a:gdLst>
                <a:gd name="T0" fmla="*/ 21259 w 23"/>
                <a:gd name="T1" fmla="*/ 1918 h 24"/>
                <a:gd name="T2" fmla="*/ 28989 w 23"/>
                <a:gd name="T3" fmla="*/ 26855 h 24"/>
                <a:gd name="T4" fmla="*/ 38652 w 23"/>
                <a:gd name="T5" fmla="*/ 32610 h 24"/>
                <a:gd name="T6" fmla="*/ 40585 w 23"/>
                <a:gd name="T7" fmla="*/ 46037 h 24"/>
                <a:gd name="T8" fmla="*/ 19326 w 23"/>
                <a:gd name="T9" fmla="*/ 32610 h 24"/>
                <a:gd name="T10" fmla="*/ 15461 w 23"/>
                <a:gd name="T11" fmla="*/ 19182 h 24"/>
                <a:gd name="T12" fmla="*/ 0 w 23"/>
                <a:gd name="T13" fmla="*/ 17264 h 24"/>
                <a:gd name="T14" fmla="*/ 9663 w 23"/>
                <a:gd name="T15" fmla="*/ 5755 h 24"/>
                <a:gd name="T16" fmla="*/ 17393 w 23"/>
                <a:gd name="T17" fmla="*/ 5755 h 24"/>
                <a:gd name="T18" fmla="*/ 21259 w 23"/>
                <a:gd name="T19" fmla="*/ 191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4"/>
                <a:gd name="T32" fmla="*/ 23 w 2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4">
                  <a:moveTo>
                    <a:pt x="11" y="1"/>
                  </a:moveTo>
                  <a:cubicBezTo>
                    <a:pt x="13" y="5"/>
                    <a:pt x="13" y="10"/>
                    <a:pt x="15" y="14"/>
                  </a:cubicBezTo>
                  <a:cubicBezTo>
                    <a:pt x="16" y="16"/>
                    <a:pt x="20" y="15"/>
                    <a:pt x="20" y="17"/>
                  </a:cubicBezTo>
                  <a:cubicBezTo>
                    <a:pt x="22" y="19"/>
                    <a:pt x="23" y="24"/>
                    <a:pt x="21" y="24"/>
                  </a:cubicBezTo>
                  <a:cubicBezTo>
                    <a:pt x="17" y="24"/>
                    <a:pt x="13" y="20"/>
                    <a:pt x="10" y="17"/>
                  </a:cubicBezTo>
                  <a:cubicBezTo>
                    <a:pt x="9" y="16"/>
                    <a:pt x="10" y="12"/>
                    <a:pt x="8" y="10"/>
                  </a:cubicBezTo>
                  <a:cubicBezTo>
                    <a:pt x="6" y="8"/>
                    <a:pt x="1" y="11"/>
                    <a:pt x="0" y="9"/>
                  </a:cubicBezTo>
                  <a:cubicBezTo>
                    <a:pt x="0" y="6"/>
                    <a:pt x="3" y="4"/>
                    <a:pt x="5" y="3"/>
                  </a:cubicBezTo>
                  <a:cubicBezTo>
                    <a:pt x="6" y="2"/>
                    <a:pt x="8" y="4"/>
                    <a:pt x="9" y="3"/>
                  </a:cubicBezTo>
                  <a:cubicBezTo>
                    <a:pt x="10" y="3"/>
                    <a:pt x="11" y="0"/>
                    <a:pt x="1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0" name="Freeform 390"/>
            <p:cNvSpPr>
              <a:spLocks noChangeAspect="1"/>
            </p:cNvSpPr>
            <p:nvPr/>
          </p:nvSpPr>
          <p:spPr bwMode="auto">
            <a:xfrm>
              <a:off x="7138988" y="4260850"/>
              <a:ext cx="20637" cy="25400"/>
            </a:xfrm>
            <a:custGeom>
              <a:avLst/>
              <a:gdLst>
                <a:gd name="T0" fmla="*/ 5628 w 11"/>
                <a:gd name="T1" fmla="*/ 3908 h 13"/>
                <a:gd name="T2" fmla="*/ 18761 w 11"/>
                <a:gd name="T3" fmla="*/ 11723 h 13"/>
                <a:gd name="T4" fmla="*/ 9380 w 11"/>
                <a:gd name="T5" fmla="*/ 23446 h 13"/>
                <a:gd name="T6" fmla="*/ 7504 w 11"/>
                <a:gd name="T7" fmla="*/ 17585 h 13"/>
                <a:gd name="T8" fmla="*/ 1876 w 11"/>
                <a:gd name="T9" fmla="*/ 23446 h 13"/>
                <a:gd name="T10" fmla="*/ 5628 w 11"/>
                <a:gd name="T11" fmla="*/ 3908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3"/>
                <a:gd name="T20" fmla="*/ 11 w 11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3">
                  <a:moveTo>
                    <a:pt x="3" y="2"/>
                  </a:moveTo>
                  <a:cubicBezTo>
                    <a:pt x="5" y="0"/>
                    <a:pt x="9" y="3"/>
                    <a:pt x="10" y="6"/>
                  </a:cubicBezTo>
                  <a:cubicBezTo>
                    <a:pt x="11" y="9"/>
                    <a:pt x="8" y="11"/>
                    <a:pt x="5" y="12"/>
                  </a:cubicBezTo>
                  <a:cubicBezTo>
                    <a:pt x="4" y="13"/>
                    <a:pt x="5" y="10"/>
                    <a:pt x="4" y="9"/>
                  </a:cubicBezTo>
                  <a:cubicBezTo>
                    <a:pt x="3" y="9"/>
                    <a:pt x="1" y="13"/>
                    <a:pt x="1" y="12"/>
                  </a:cubicBezTo>
                  <a:cubicBezTo>
                    <a:pt x="0" y="8"/>
                    <a:pt x="0" y="3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1" name="Freeform 391"/>
            <p:cNvSpPr>
              <a:spLocks noChangeAspect="1"/>
            </p:cNvSpPr>
            <p:nvPr/>
          </p:nvSpPr>
          <p:spPr bwMode="auto">
            <a:xfrm>
              <a:off x="6845300" y="4116388"/>
              <a:ext cx="23813" cy="17462"/>
            </a:xfrm>
            <a:custGeom>
              <a:avLst/>
              <a:gdLst>
                <a:gd name="T0" fmla="*/ 7327 w 13"/>
                <a:gd name="T1" fmla="*/ 0 h 9"/>
                <a:gd name="T2" fmla="*/ 16486 w 13"/>
                <a:gd name="T3" fmla="*/ 9701 h 9"/>
                <a:gd name="T4" fmla="*/ 23813 w 13"/>
                <a:gd name="T5" fmla="*/ 11641 h 9"/>
                <a:gd name="T6" fmla="*/ 18318 w 13"/>
                <a:gd name="T7" fmla="*/ 17462 h 9"/>
                <a:gd name="T8" fmla="*/ 10991 w 13"/>
                <a:gd name="T9" fmla="*/ 11641 h 9"/>
                <a:gd name="T10" fmla="*/ 0 w 13"/>
                <a:gd name="T11" fmla="*/ 7761 h 9"/>
                <a:gd name="T12" fmla="*/ 7327 w 13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9"/>
                <a:gd name="T23" fmla="*/ 13 w 13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9">
                  <a:moveTo>
                    <a:pt x="4" y="0"/>
                  </a:moveTo>
                  <a:cubicBezTo>
                    <a:pt x="6" y="0"/>
                    <a:pt x="7" y="4"/>
                    <a:pt x="9" y="5"/>
                  </a:cubicBezTo>
                  <a:cubicBezTo>
                    <a:pt x="10" y="6"/>
                    <a:pt x="12" y="5"/>
                    <a:pt x="13" y="6"/>
                  </a:cubicBezTo>
                  <a:cubicBezTo>
                    <a:pt x="13" y="7"/>
                    <a:pt x="12" y="9"/>
                    <a:pt x="10" y="9"/>
                  </a:cubicBezTo>
                  <a:cubicBezTo>
                    <a:pt x="9" y="9"/>
                    <a:pt x="8" y="6"/>
                    <a:pt x="6" y="6"/>
                  </a:cubicBezTo>
                  <a:cubicBezTo>
                    <a:pt x="4" y="5"/>
                    <a:pt x="1" y="6"/>
                    <a:pt x="0" y="4"/>
                  </a:cubicBezTo>
                  <a:cubicBezTo>
                    <a:pt x="0" y="3"/>
                    <a:pt x="2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2" name="Freeform 392"/>
            <p:cNvSpPr>
              <a:spLocks noChangeAspect="1"/>
            </p:cNvSpPr>
            <p:nvPr/>
          </p:nvSpPr>
          <p:spPr bwMode="auto">
            <a:xfrm>
              <a:off x="6880225" y="4152900"/>
              <a:ext cx="25400" cy="31750"/>
            </a:xfrm>
            <a:custGeom>
              <a:avLst/>
              <a:gdLst>
                <a:gd name="T0" fmla="*/ 11723 w 13"/>
                <a:gd name="T1" fmla="*/ 1868 h 17"/>
                <a:gd name="T2" fmla="*/ 21492 w 13"/>
                <a:gd name="T3" fmla="*/ 14941 h 17"/>
                <a:gd name="T4" fmla="*/ 19538 w 13"/>
                <a:gd name="T5" fmla="*/ 29882 h 17"/>
                <a:gd name="T6" fmla="*/ 11723 w 13"/>
                <a:gd name="T7" fmla="*/ 18676 h 17"/>
                <a:gd name="T8" fmla="*/ 0 w 13"/>
                <a:gd name="T9" fmla="*/ 3735 h 17"/>
                <a:gd name="T10" fmla="*/ 9769 w 13"/>
                <a:gd name="T11" fmla="*/ 3735 h 17"/>
                <a:gd name="T12" fmla="*/ 11723 w 13"/>
                <a:gd name="T13" fmla="*/ 1868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7"/>
                <a:gd name="T23" fmla="*/ 13 w 13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7">
                  <a:moveTo>
                    <a:pt x="6" y="1"/>
                  </a:moveTo>
                  <a:cubicBezTo>
                    <a:pt x="9" y="2"/>
                    <a:pt x="11" y="5"/>
                    <a:pt x="11" y="8"/>
                  </a:cubicBezTo>
                  <a:cubicBezTo>
                    <a:pt x="12" y="10"/>
                    <a:pt x="13" y="15"/>
                    <a:pt x="10" y="16"/>
                  </a:cubicBezTo>
                  <a:cubicBezTo>
                    <a:pt x="8" y="17"/>
                    <a:pt x="7" y="12"/>
                    <a:pt x="6" y="10"/>
                  </a:cubicBezTo>
                  <a:cubicBezTo>
                    <a:pt x="4" y="7"/>
                    <a:pt x="1" y="5"/>
                    <a:pt x="0" y="2"/>
                  </a:cubicBezTo>
                  <a:cubicBezTo>
                    <a:pt x="0" y="1"/>
                    <a:pt x="3" y="2"/>
                    <a:pt x="5" y="2"/>
                  </a:cubicBezTo>
                  <a:cubicBezTo>
                    <a:pt x="5" y="2"/>
                    <a:pt x="6" y="0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3" name="Freeform 393"/>
            <p:cNvSpPr>
              <a:spLocks noChangeAspect="1"/>
            </p:cNvSpPr>
            <p:nvPr/>
          </p:nvSpPr>
          <p:spPr bwMode="auto">
            <a:xfrm>
              <a:off x="6921500" y="4221163"/>
              <a:ext cx="15875" cy="25400"/>
            </a:xfrm>
            <a:custGeom>
              <a:avLst/>
              <a:gdLst>
                <a:gd name="T0" fmla="*/ 1764 w 9"/>
                <a:gd name="T1" fmla="*/ 1954 h 13"/>
                <a:gd name="T2" fmla="*/ 14111 w 9"/>
                <a:gd name="T3" fmla="*/ 19538 h 13"/>
                <a:gd name="T4" fmla="*/ 12347 w 9"/>
                <a:gd name="T5" fmla="*/ 23446 h 13"/>
                <a:gd name="T6" fmla="*/ 3528 w 9"/>
                <a:gd name="T7" fmla="*/ 15631 h 13"/>
                <a:gd name="T8" fmla="*/ 1764 w 9"/>
                <a:gd name="T9" fmla="*/ 5862 h 13"/>
                <a:gd name="T10" fmla="*/ 1764 w 9"/>
                <a:gd name="T11" fmla="*/ 1954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3"/>
                <a:gd name="T20" fmla="*/ 9 w 9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3">
                  <a:moveTo>
                    <a:pt x="1" y="1"/>
                  </a:moveTo>
                  <a:cubicBezTo>
                    <a:pt x="4" y="3"/>
                    <a:pt x="6" y="7"/>
                    <a:pt x="8" y="10"/>
                  </a:cubicBezTo>
                  <a:cubicBezTo>
                    <a:pt x="9" y="11"/>
                    <a:pt x="8" y="13"/>
                    <a:pt x="7" y="12"/>
                  </a:cubicBezTo>
                  <a:cubicBezTo>
                    <a:pt x="5" y="12"/>
                    <a:pt x="4" y="10"/>
                    <a:pt x="2" y="8"/>
                  </a:cubicBezTo>
                  <a:cubicBezTo>
                    <a:pt x="1" y="7"/>
                    <a:pt x="1" y="5"/>
                    <a:pt x="1" y="3"/>
                  </a:cubicBezTo>
                  <a:cubicBezTo>
                    <a:pt x="0" y="2"/>
                    <a:pt x="0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4" name="Oval 394"/>
            <p:cNvSpPr>
              <a:spLocks noChangeAspect="1" noChangeArrowheads="1"/>
            </p:cNvSpPr>
            <p:nvPr/>
          </p:nvSpPr>
          <p:spPr bwMode="auto">
            <a:xfrm>
              <a:off x="7059613" y="4205288"/>
              <a:ext cx="7937" cy="793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5" name="Freeform 395"/>
            <p:cNvSpPr>
              <a:spLocks noChangeAspect="1"/>
            </p:cNvSpPr>
            <p:nvPr/>
          </p:nvSpPr>
          <p:spPr bwMode="auto">
            <a:xfrm>
              <a:off x="6959600" y="4275138"/>
              <a:ext cx="9525" cy="12700"/>
            </a:xfrm>
            <a:custGeom>
              <a:avLst/>
              <a:gdLst>
                <a:gd name="T0" fmla="*/ 7620 w 5"/>
                <a:gd name="T1" fmla="*/ 5443 h 7"/>
                <a:gd name="T2" fmla="*/ 7620 w 5"/>
                <a:gd name="T3" fmla="*/ 10886 h 7"/>
                <a:gd name="T4" fmla="*/ 1905 w 5"/>
                <a:gd name="T5" fmla="*/ 7257 h 7"/>
                <a:gd name="T6" fmla="*/ 1905 w 5"/>
                <a:gd name="T7" fmla="*/ 0 h 7"/>
                <a:gd name="T8" fmla="*/ 7620 w 5"/>
                <a:gd name="T9" fmla="*/ 544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4" y="3"/>
                  </a:moveTo>
                  <a:cubicBezTo>
                    <a:pt x="4" y="4"/>
                    <a:pt x="5" y="6"/>
                    <a:pt x="4" y="6"/>
                  </a:cubicBezTo>
                  <a:cubicBezTo>
                    <a:pt x="3" y="7"/>
                    <a:pt x="2" y="5"/>
                    <a:pt x="1" y="4"/>
                  </a:cubicBezTo>
                  <a:cubicBezTo>
                    <a:pt x="1" y="3"/>
                    <a:pt x="0" y="1"/>
                    <a:pt x="1" y="0"/>
                  </a:cubicBezTo>
                  <a:cubicBezTo>
                    <a:pt x="2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6" name="Freeform 396"/>
            <p:cNvSpPr>
              <a:spLocks noChangeAspect="1"/>
            </p:cNvSpPr>
            <p:nvPr/>
          </p:nvSpPr>
          <p:spPr bwMode="auto">
            <a:xfrm>
              <a:off x="6950075" y="4260850"/>
              <a:ext cx="9525" cy="11113"/>
            </a:xfrm>
            <a:custGeom>
              <a:avLst/>
              <a:gdLst>
                <a:gd name="T0" fmla="*/ 7620 w 5"/>
                <a:gd name="T1" fmla="*/ 5557 h 6"/>
                <a:gd name="T2" fmla="*/ 7620 w 5"/>
                <a:gd name="T3" fmla="*/ 11113 h 6"/>
                <a:gd name="T4" fmla="*/ 3810 w 5"/>
                <a:gd name="T5" fmla="*/ 7409 h 6"/>
                <a:gd name="T6" fmla="*/ 1905 w 5"/>
                <a:gd name="T7" fmla="*/ 1852 h 6"/>
                <a:gd name="T8" fmla="*/ 7620 w 5"/>
                <a:gd name="T9" fmla="*/ 555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4" y="3"/>
                  </a:moveTo>
                  <a:cubicBezTo>
                    <a:pt x="4" y="4"/>
                    <a:pt x="5" y="5"/>
                    <a:pt x="4" y="6"/>
                  </a:cubicBezTo>
                  <a:cubicBezTo>
                    <a:pt x="3" y="6"/>
                    <a:pt x="2" y="5"/>
                    <a:pt x="2" y="4"/>
                  </a:cubicBezTo>
                  <a:cubicBezTo>
                    <a:pt x="1" y="3"/>
                    <a:pt x="0" y="1"/>
                    <a:pt x="1" y="1"/>
                  </a:cubicBezTo>
                  <a:cubicBezTo>
                    <a:pt x="2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7" name="Freeform 397"/>
            <p:cNvSpPr>
              <a:spLocks noChangeAspect="1"/>
            </p:cNvSpPr>
            <p:nvPr/>
          </p:nvSpPr>
          <p:spPr bwMode="auto">
            <a:xfrm>
              <a:off x="6942138" y="4252913"/>
              <a:ext cx="7937" cy="7937"/>
            </a:xfrm>
            <a:custGeom>
              <a:avLst/>
              <a:gdLst>
                <a:gd name="T0" fmla="*/ 5953 w 4"/>
                <a:gd name="T1" fmla="*/ 3969 h 4"/>
                <a:gd name="T2" fmla="*/ 5953 w 4"/>
                <a:gd name="T3" fmla="*/ 7937 h 4"/>
                <a:gd name="T4" fmla="*/ 1984 w 4"/>
                <a:gd name="T5" fmla="*/ 5953 h 4"/>
                <a:gd name="T6" fmla="*/ 1984 w 4"/>
                <a:gd name="T7" fmla="*/ 0 h 4"/>
                <a:gd name="T8" fmla="*/ 5953 w 4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3"/>
                    <a:pt x="4" y="4"/>
                    <a:pt x="3" y="4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2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8" name="Freeform 398"/>
            <p:cNvSpPr>
              <a:spLocks noChangeAspect="1"/>
            </p:cNvSpPr>
            <p:nvPr/>
          </p:nvSpPr>
          <p:spPr bwMode="auto">
            <a:xfrm>
              <a:off x="6886575" y="4133850"/>
              <a:ext cx="6350" cy="4763"/>
            </a:xfrm>
            <a:custGeom>
              <a:avLst/>
              <a:gdLst>
                <a:gd name="T0" fmla="*/ 4233 w 3"/>
                <a:gd name="T1" fmla="*/ 1588 h 3"/>
                <a:gd name="T2" fmla="*/ 6350 w 3"/>
                <a:gd name="T3" fmla="*/ 4763 h 3"/>
                <a:gd name="T4" fmla="*/ 2117 w 3"/>
                <a:gd name="T5" fmla="*/ 3175 h 3"/>
                <a:gd name="T6" fmla="*/ 0 w 3"/>
                <a:gd name="T7" fmla="*/ 0 h 3"/>
                <a:gd name="T8" fmla="*/ 4233 w 3"/>
                <a:gd name="T9" fmla="*/ 1588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399" name="Freeform 399"/>
            <p:cNvSpPr>
              <a:spLocks noChangeAspect="1"/>
            </p:cNvSpPr>
            <p:nvPr/>
          </p:nvSpPr>
          <p:spPr bwMode="auto">
            <a:xfrm>
              <a:off x="7067550" y="4194175"/>
              <a:ext cx="1588" cy="6350"/>
            </a:xfrm>
            <a:custGeom>
              <a:avLst/>
              <a:gdLst>
                <a:gd name="T0" fmla="*/ 1588 w 1"/>
                <a:gd name="T1" fmla="*/ 4233 h 3"/>
                <a:gd name="T2" fmla="*/ 0 w 1"/>
                <a:gd name="T3" fmla="*/ 6350 h 3"/>
                <a:gd name="T4" fmla="*/ 0 w 1"/>
                <a:gd name="T5" fmla="*/ 4233 h 3"/>
                <a:gd name="T6" fmla="*/ 1588 w 1"/>
                <a:gd name="T7" fmla="*/ 2117 h 3"/>
                <a:gd name="T8" fmla="*/ 1588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0" name="Freeform 400"/>
            <p:cNvSpPr>
              <a:spLocks noChangeAspect="1"/>
            </p:cNvSpPr>
            <p:nvPr/>
          </p:nvSpPr>
          <p:spPr bwMode="auto">
            <a:xfrm>
              <a:off x="7065963" y="4165600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2117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1" name="Freeform 401"/>
            <p:cNvSpPr>
              <a:spLocks noChangeAspect="1"/>
            </p:cNvSpPr>
            <p:nvPr/>
          </p:nvSpPr>
          <p:spPr bwMode="auto">
            <a:xfrm>
              <a:off x="7056438" y="4162425"/>
              <a:ext cx="4762" cy="3175"/>
            </a:xfrm>
            <a:custGeom>
              <a:avLst/>
              <a:gdLst>
                <a:gd name="T0" fmla="*/ 1587 w 3"/>
                <a:gd name="T1" fmla="*/ 3175 h 2"/>
                <a:gd name="T2" fmla="*/ 0 w 3"/>
                <a:gd name="T3" fmla="*/ 3175 h 2"/>
                <a:gd name="T4" fmla="*/ 1587 w 3"/>
                <a:gd name="T5" fmla="*/ 1588 h 2"/>
                <a:gd name="T6" fmla="*/ 3175 w 3"/>
                <a:gd name="T7" fmla="*/ 1588 h 2"/>
                <a:gd name="T8" fmla="*/ 158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2" name="Freeform 402"/>
            <p:cNvSpPr>
              <a:spLocks noChangeAspect="1"/>
            </p:cNvSpPr>
            <p:nvPr/>
          </p:nvSpPr>
          <p:spPr bwMode="auto">
            <a:xfrm>
              <a:off x="7054850" y="4170363"/>
              <a:ext cx="4763" cy="3175"/>
            </a:xfrm>
            <a:custGeom>
              <a:avLst/>
              <a:gdLst>
                <a:gd name="T0" fmla="*/ 3175 w 3"/>
                <a:gd name="T1" fmla="*/ 3175 h 2"/>
                <a:gd name="T2" fmla="*/ 1588 w 3"/>
                <a:gd name="T3" fmla="*/ 3175 h 2"/>
                <a:gd name="T4" fmla="*/ 1588 w 3"/>
                <a:gd name="T5" fmla="*/ 1588 h 2"/>
                <a:gd name="T6" fmla="*/ 4763 w 3"/>
                <a:gd name="T7" fmla="*/ 1588 h 2"/>
                <a:gd name="T8" fmla="*/ 3175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3" name="Freeform 403"/>
            <p:cNvSpPr>
              <a:spLocks noChangeAspect="1"/>
            </p:cNvSpPr>
            <p:nvPr/>
          </p:nvSpPr>
          <p:spPr bwMode="auto">
            <a:xfrm>
              <a:off x="6915150" y="4148138"/>
              <a:ext cx="3175" cy="6350"/>
            </a:xfrm>
            <a:custGeom>
              <a:avLst/>
              <a:gdLst>
                <a:gd name="T0" fmla="*/ 3175 w 2"/>
                <a:gd name="T1" fmla="*/ 2117 h 3"/>
                <a:gd name="T2" fmla="*/ 3175 w 2"/>
                <a:gd name="T3" fmla="*/ 6350 h 3"/>
                <a:gd name="T4" fmla="*/ 1588 w 2"/>
                <a:gd name="T5" fmla="*/ 4233 h 3"/>
                <a:gd name="T6" fmla="*/ 0 w 2"/>
                <a:gd name="T7" fmla="*/ 2117 h 3"/>
                <a:gd name="T8" fmla="*/ 3175 w 2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4" name="Freeform 404"/>
            <p:cNvSpPr>
              <a:spLocks noChangeAspect="1"/>
            </p:cNvSpPr>
            <p:nvPr/>
          </p:nvSpPr>
          <p:spPr bwMode="auto">
            <a:xfrm>
              <a:off x="6883400" y="4135438"/>
              <a:ext cx="1588" cy="3175"/>
            </a:xfrm>
            <a:custGeom>
              <a:avLst/>
              <a:gdLst>
                <a:gd name="T0" fmla="*/ 1588 w 1"/>
                <a:gd name="T1" fmla="*/ 1588 h 2"/>
                <a:gd name="T2" fmla="*/ 1588 w 1"/>
                <a:gd name="T3" fmla="*/ 3175 h 2"/>
                <a:gd name="T4" fmla="*/ 0 w 1"/>
                <a:gd name="T5" fmla="*/ 3175 h 2"/>
                <a:gd name="T6" fmla="*/ 0 w 1"/>
                <a:gd name="T7" fmla="*/ 1588 h 2"/>
                <a:gd name="T8" fmla="*/ 1588 w 1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5" name="Freeform 405"/>
            <p:cNvSpPr>
              <a:spLocks noChangeAspect="1"/>
            </p:cNvSpPr>
            <p:nvPr/>
          </p:nvSpPr>
          <p:spPr bwMode="auto">
            <a:xfrm>
              <a:off x="6869113" y="4137025"/>
              <a:ext cx="4762" cy="4763"/>
            </a:xfrm>
            <a:custGeom>
              <a:avLst/>
              <a:gdLst>
                <a:gd name="T0" fmla="*/ 2381 w 2"/>
                <a:gd name="T1" fmla="*/ 2382 h 2"/>
                <a:gd name="T2" fmla="*/ 2381 w 2"/>
                <a:gd name="T3" fmla="*/ 4763 h 2"/>
                <a:gd name="T4" fmla="*/ 0 w 2"/>
                <a:gd name="T5" fmla="*/ 4763 h 2"/>
                <a:gd name="T6" fmla="*/ 0 w 2"/>
                <a:gd name="T7" fmla="*/ 2382 h 2"/>
                <a:gd name="T8" fmla="*/ 2381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1"/>
                  </a:moveTo>
                  <a:cubicBezTo>
                    <a:pt x="1" y="1"/>
                    <a:pt x="2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6" name="Freeform 406"/>
            <p:cNvSpPr>
              <a:spLocks noChangeAspect="1"/>
            </p:cNvSpPr>
            <p:nvPr/>
          </p:nvSpPr>
          <p:spPr bwMode="auto">
            <a:xfrm>
              <a:off x="6915150" y="420528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2117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1" y="1"/>
                    <a:pt x="1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7" name="Freeform 407"/>
            <p:cNvSpPr>
              <a:spLocks noChangeAspect="1"/>
            </p:cNvSpPr>
            <p:nvPr/>
          </p:nvSpPr>
          <p:spPr bwMode="auto">
            <a:xfrm>
              <a:off x="6916738" y="4198938"/>
              <a:ext cx="6350" cy="4762"/>
            </a:xfrm>
            <a:custGeom>
              <a:avLst/>
              <a:gdLst>
                <a:gd name="T0" fmla="*/ 4233 w 3"/>
                <a:gd name="T1" fmla="*/ 1587 h 3"/>
                <a:gd name="T2" fmla="*/ 4233 w 3"/>
                <a:gd name="T3" fmla="*/ 3175 h 3"/>
                <a:gd name="T4" fmla="*/ 2117 w 3"/>
                <a:gd name="T5" fmla="*/ 3175 h 3"/>
                <a:gd name="T6" fmla="*/ 0 w 3"/>
                <a:gd name="T7" fmla="*/ 1587 h 3"/>
                <a:gd name="T8" fmla="*/ 4233 w 3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1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8" name="Freeform 408"/>
            <p:cNvSpPr>
              <a:spLocks noChangeAspect="1"/>
            </p:cNvSpPr>
            <p:nvPr/>
          </p:nvSpPr>
          <p:spPr bwMode="auto">
            <a:xfrm>
              <a:off x="6916738" y="4191000"/>
              <a:ext cx="7937" cy="3175"/>
            </a:xfrm>
            <a:custGeom>
              <a:avLst/>
              <a:gdLst>
                <a:gd name="T0" fmla="*/ 5953 w 4"/>
                <a:gd name="T1" fmla="*/ 1588 h 2"/>
                <a:gd name="T2" fmla="*/ 7937 w 4"/>
                <a:gd name="T3" fmla="*/ 1588 h 2"/>
                <a:gd name="T4" fmla="*/ 3969 w 4"/>
                <a:gd name="T5" fmla="*/ 3175 h 2"/>
                <a:gd name="T6" fmla="*/ 1984 w 4"/>
                <a:gd name="T7" fmla="*/ 1588 h 2"/>
                <a:gd name="T8" fmla="*/ 5953 w 4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3" y="1"/>
                  </a:moveTo>
                  <a:cubicBezTo>
                    <a:pt x="3" y="1"/>
                    <a:pt x="4" y="1"/>
                    <a:pt x="4" y="1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2" y="2"/>
                    <a:pt x="0" y="2"/>
                    <a:pt x="1" y="1"/>
                  </a:cubicBezTo>
                  <a:cubicBezTo>
                    <a:pt x="1" y="0"/>
                    <a:pt x="2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09" name="Freeform 409"/>
            <p:cNvSpPr>
              <a:spLocks noChangeAspect="1"/>
            </p:cNvSpPr>
            <p:nvPr/>
          </p:nvSpPr>
          <p:spPr bwMode="auto">
            <a:xfrm>
              <a:off x="7040563" y="4152900"/>
              <a:ext cx="15875" cy="7938"/>
            </a:xfrm>
            <a:custGeom>
              <a:avLst/>
              <a:gdLst>
                <a:gd name="T0" fmla="*/ 7938 w 8"/>
                <a:gd name="T1" fmla="*/ 7938 h 4"/>
                <a:gd name="T2" fmla="*/ 0 w 8"/>
                <a:gd name="T3" fmla="*/ 3969 h 4"/>
                <a:gd name="T4" fmla="*/ 9922 w 8"/>
                <a:gd name="T5" fmla="*/ 0 h 4"/>
                <a:gd name="T6" fmla="*/ 15875 w 8"/>
                <a:gd name="T7" fmla="*/ 3969 h 4"/>
                <a:gd name="T8" fmla="*/ 7938 w 8"/>
                <a:gd name="T9" fmla="*/ 7938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4" y="4"/>
                  </a:moveTo>
                  <a:cubicBezTo>
                    <a:pt x="3" y="3"/>
                    <a:pt x="1" y="3"/>
                    <a:pt x="0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6" y="0"/>
                    <a:pt x="6" y="1"/>
                    <a:pt x="8" y="2"/>
                  </a:cubicBezTo>
                  <a:cubicBezTo>
                    <a:pt x="6" y="4"/>
                    <a:pt x="5" y="4"/>
                    <a:pt x="4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0" name="Freeform 410"/>
            <p:cNvSpPr>
              <a:spLocks noChangeAspect="1"/>
            </p:cNvSpPr>
            <p:nvPr/>
          </p:nvSpPr>
          <p:spPr bwMode="auto">
            <a:xfrm>
              <a:off x="7078663" y="4356100"/>
              <a:ext cx="227012" cy="82550"/>
            </a:xfrm>
            <a:custGeom>
              <a:avLst/>
              <a:gdLst>
                <a:gd name="T0" fmla="*/ 17169 w 119"/>
                <a:gd name="T1" fmla="*/ 3840 h 43"/>
                <a:gd name="T2" fmla="*/ 40061 w 119"/>
                <a:gd name="T3" fmla="*/ 5759 h 43"/>
                <a:gd name="T4" fmla="*/ 40061 w 119"/>
                <a:gd name="T5" fmla="*/ 1920 h 43"/>
                <a:gd name="T6" fmla="*/ 51507 w 119"/>
                <a:gd name="T7" fmla="*/ 3840 h 43"/>
                <a:gd name="T8" fmla="*/ 61045 w 119"/>
                <a:gd name="T9" fmla="*/ 11519 h 43"/>
                <a:gd name="T10" fmla="*/ 76307 w 119"/>
                <a:gd name="T11" fmla="*/ 13438 h 43"/>
                <a:gd name="T12" fmla="*/ 83937 w 119"/>
                <a:gd name="T13" fmla="*/ 26877 h 43"/>
                <a:gd name="T14" fmla="*/ 131629 w 119"/>
                <a:gd name="T15" fmla="*/ 30716 h 43"/>
                <a:gd name="T16" fmla="*/ 135444 w 119"/>
                <a:gd name="T17" fmla="*/ 19198 h 43"/>
                <a:gd name="T18" fmla="*/ 154521 w 119"/>
                <a:gd name="T19" fmla="*/ 24957 h 43"/>
                <a:gd name="T20" fmla="*/ 175505 w 119"/>
                <a:gd name="T21" fmla="*/ 32636 h 43"/>
                <a:gd name="T22" fmla="*/ 179320 w 119"/>
                <a:gd name="T23" fmla="*/ 47994 h 43"/>
                <a:gd name="T24" fmla="*/ 200305 w 119"/>
                <a:gd name="T25" fmla="*/ 53753 h 43"/>
                <a:gd name="T26" fmla="*/ 217474 w 119"/>
                <a:gd name="T27" fmla="*/ 53753 h 43"/>
                <a:gd name="T28" fmla="*/ 217474 w 119"/>
                <a:gd name="T29" fmla="*/ 72951 h 43"/>
                <a:gd name="T30" fmla="*/ 223197 w 119"/>
                <a:gd name="T31" fmla="*/ 82550 h 43"/>
                <a:gd name="T32" fmla="*/ 190766 w 119"/>
                <a:gd name="T33" fmla="*/ 72951 h 43"/>
                <a:gd name="T34" fmla="*/ 179320 w 119"/>
                <a:gd name="T35" fmla="*/ 74871 h 43"/>
                <a:gd name="T36" fmla="*/ 148798 w 119"/>
                <a:gd name="T37" fmla="*/ 69112 h 43"/>
                <a:gd name="T38" fmla="*/ 141167 w 119"/>
                <a:gd name="T39" fmla="*/ 71031 h 43"/>
                <a:gd name="T40" fmla="*/ 112552 w 119"/>
                <a:gd name="T41" fmla="*/ 57593 h 43"/>
                <a:gd name="T42" fmla="*/ 89660 w 119"/>
                <a:gd name="T43" fmla="*/ 53753 h 43"/>
                <a:gd name="T44" fmla="*/ 66768 w 119"/>
                <a:gd name="T45" fmla="*/ 55673 h 43"/>
                <a:gd name="T46" fmla="*/ 43876 w 119"/>
                <a:gd name="T47" fmla="*/ 44155 h 43"/>
                <a:gd name="T48" fmla="*/ 26707 w 119"/>
                <a:gd name="T49" fmla="*/ 42235 h 43"/>
                <a:gd name="T50" fmla="*/ 26707 w 119"/>
                <a:gd name="T51" fmla="*/ 32636 h 43"/>
                <a:gd name="T52" fmla="*/ 1908 w 119"/>
                <a:gd name="T53" fmla="*/ 23037 h 43"/>
                <a:gd name="T54" fmla="*/ 15261 w 119"/>
                <a:gd name="T55" fmla="*/ 9599 h 43"/>
                <a:gd name="T56" fmla="*/ 17169 w 119"/>
                <a:gd name="T57" fmla="*/ 3840 h 4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19"/>
                <a:gd name="T88" fmla="*/ 0 h 43"/>
                <a:gd name="T89" fmla="*/ 119 w 119"/>
                <a:gd name="T90" fmla="*/ 43 h 4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19" h="43">
                  <a:moveTo>
                    <a:pt x="9" y="2"/>
                  </a:moveTo>
                  <a:cubicBezTo>
                    <a:pt x="13" y="1"/>
                    <a:pt x="17" y="4"/>
                    <a:pt x="21" y="3"/>
                  </a:cubicBezTo>
                  <a:cubicBezTo>
                    <a:pt x="22" y="3"/>
                    <a:pt x="21" y="1"/>
                    <a:pt x="21" y="1"/>
                  </a:cubicBezTo>
                  <a:cubicBezTo>
                    <a:pt x="23" y="0"/>
                    <a:pt x="25" y="1"/>
                    <a:pt x="27" y="2"/>
                  </a:cubicBezTo>
                  <a:cubicBezTo>
                    <a:pt x="29" y="3"/>
                    <a:pt x="30" y="6"/>
                    <a:pt x="32" y="6"/>
                  </a:cubicBezTo>
                  <a:cubicBezTo>
                    <a:pt x="35" y="7"/>
                    <a:pt x="38" y="6"/>
                    <a:pt x="40" y="7"/>
                  </a:cubicBezTo>
                  <a:cubicBezTo>
                    <a:pt x="42" y="9"/>
                    <a:pt x="41" y="14"/>
                    <a:pt x="44" y="14"/>
                  </a:cubicBezTo>
                  <a:cubicBezTo>
                    <a:pt x="52" y="17"/>
                    <a:pt x="61" y="17"/>
                    <a:pt x="69" y="16"/>
                  </a:cubicBezTo>
                  <a:cubicBezTo>
                    <a:pt x="71" y="15"/>
                    <a:pt x="68" y="10"/>
                    <a:pt x="71" y="10"/>
                  </a:cubicBezTo>
                  <a:cubicBezTo>
                    <a:pt x="74" y="9"/>
                    <a:pt x="78" y="11"/>
                    <a:pt x="81" y="13"/>
                  </a:cubicBezTo>
                  <a:cubicBezTo>
                    <a:pt x="85" y="14"/>
                    <a:pt x="89" y="15"/>
                    <a:pt x="92" y="17"/>
                  </a:cubicBezTo>
                  <a:cubicBezTo>
                    <a:pt x="94" y="19"/>
                    <a:pt x="92" y="23"/>
                    <a:pt x="94" y="25"/>
                  </a:cubicBezTo>
                  <a:cubicBezTo>
                    <a:pt x="97" y="27"/>
                    <a:pt x="101" y="28"/>
                    <a:pt x="105" y="28"/>
                  </a:cubicBezTo>
                  <a:cubicBezTo>
                    <a:pt x="108" y="29"/>
                    <a:pt x="112" y="26"/>
                    <a:pt x="114" y="28"/>
                  </a:cubicBezTo>
                  <a:cubicBezTo>
                    <a:pt x="116" y="31"/>
                    <a:pt x="114" y="35"/>
                    <a:pt x="114" y="38"/>
                  </a:cubicBezTo>
                  <a:cubicBezTo>
                    <a:pt x="115" y="40"/>
                    <a:pt x="119" y="43"/>
                    <a:pt x="117" y="43"/>
                  </a:cubicBezTo>
                  <a:cubicBezTo>
                    <a:pt x="111" y="43"/>
                    <a:pt x="106" y="39"/>
                    <a:pt x="100" y="38"/>
                  </a:cubicBezTo>
                  <a:cubicBezTo>
                    <a:pt x="98" y="38"/>
                    <a:pt x="96" y="39"/>
                    <a:pt x="94" y="39"/>
                  </a:cubicBezTo>
                  <a:cubicBezTo>
                    <a:pt x="88" y="39"/>
                    <a:pt x="84" y="37"/>
                    <a:pt x="78" y="36"/>
                  </a:cubicBezTo>
                  <a:cubicBezTo>
                    <a:pt x="77" y="36"/>
                    <a:pt x="75" y="38"/>
                    <a:pt x="74" y="37"/>
                  </a:cubicBezTo>
                  <a:cubicBezTo>
                    <a:pt x="69" y="36"/>
                    <a:pt x="64" y="32"/>
                    <a:pt x="59" y="30"/>
                  </a:cubicBezTo>
                  <a:cubicBezTo>
                    <a:pt x="55" y="29"/>
                    <a:pt x="51" y="28"/>
                    <a:pt x="47" y="28"/>
                  </a:cubicBezTo>
                  <a:cubicBezTo>
                    <a:pt x="43" y="28"/>
                    <a:pt x="39" y="30"/>
                    <a:pt x="35" y="29"/>
                  </a:cubicBezTo>
                  <a:cubicBezTo>
                    <a:pt x="31" y="28"/>
                    <a:pt x="27" y="25"/>
                    <a:pt x="23" y="23"/>
                  </a:cubicBezTo>
                  <a:cubicBezTo>
                    <a:pt x="20" y="22"/>
                    <a:pt x="17" y="23"/>
                    <a:pt x="14" y="22"/>
                  </a:cubicBezTo>
                  <a:cubicBezTo>
                    <a:pt x="13" y="21"/>
                    <a:pt x="16" y="18"/>
                    <a:pt x="14" y="17"/>
                  </a:cubicBezTo>
                  <a:cubicBezTo>
                    <a:pt x="11" y="14"/>
                    <a:pt x="4" y="16"/>
                    <a:pt x="1" y="12"/>
                  </a:cubicBezTo>
                  <a:cubicBezTo>
                    <a:pt x="0" y="9"/>
                    <a:pt x="6" y="8"/>
                    <a:pt x="8" y="5"/>
                  </a:cubicBezTo>
                  <a:cubicBezTo>
                    <a:pt x="9" y="4"/>
                    <a:pt x="7" y="2"/>
                    <a:pt x="9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1" name="Freeform 411"/>
            <p:cNvSpPr>
              <a:spLocks noChangeAspect="1"/>
            </p:cNvSpPr>
            <p:nvPr/>
          </p:nvSpPr>
          <p:spPr bwMode="auto">
            <a:xfrm>
              <a:off x="7167563" y="4078288"/>
              <a:ext cx="252412" cy="231775"/>
            </a:xfrm>
            <a:custGeom>
              <a:avLst/>
              <a:gdLst>
                <a:gd name="T0" fmla="*/ 216353 w 133"/>
                <a:gd name="T1" fmla="*/ 17098 h 122"/>
                <a:gd name="T2" fmla="*/ 214455 w 133"/>
                <a:gd name="T3" fmla="*/ 30397 h 122"/>
                <a:gd name="T4" fmla="*/ 212557 w 133"/>
                <a:gd name="T5" fmla="*/ 56994 h 122"/>
                <a:gd name="T6" fmla="*/ 242923 w 133"/>
                <a:gd name="T7" fmla="*/ 85491 h 122"/>
                <a:gd name="T8" fmla="*/ 239127 w 133"/>
                <a:gd name="T9" fmla="*/ 94990 h 122"/>
                <a:gd name="T10" fmla="*/ 222047 w 133"/>
                <a:gd name="T11" fmla="*/ 96890 h 122"/>
                <a:gd name="T12" fmla="*/ 210660 w 133"/>
                <a:gd name="T13" fmla="*/ 110188 h 122"/>
                <a:gd name="T14" fmla="*/ 208762 w 133"/>
                <a:gd name="T15" fmla="*/ 138685 h 122"/>
                <a:gd name="T16" fmla="*/ 182192 w 133"/>
                <a:gd name="T17" fmla="*/ 161483 h 122"/>
                <a:gd name="T18" fmla="*/ 187886 w 133"/>
                <a:gd name="T19" fmla="*/ 188080 h 122"/>
                <a:gd name="T20" fmla="*/ 182192 w 133"/>
                <a:gd name="T21" fmla="*/ 199478 h 122"/>
                <a:gd name="T22" fmla="*/ 168907 w 133"/>
                <a:gd name="T23" fmla="*/ 216577 h 122"/>
                <a:gd name="T24" fmla="*/ 138542 w 133"/>
                <a:gd name="T25" fmla="*/ 212777 h 122"/>
                <a:gd name="T26" fmla="*/ 117666 w 133"/>
                <a:gd name="T27" fmla="*/ 212777 h 122"/>
                <a:gd name="T28" fmla="*/ 110074 w 133"/>
                <a:gd name="T29" fmla="*/ 208977 h 122"/>
                <a:gd name="T30" fmla="*/ 100585 w 133"/>
                <a:gd name="T31" fmla="*/ 208977 h 122"/>
                <a:gd name="T32" fmla="*/ 72118 w 133"/>
                <a:gd name="T33" fmla="*/ 214677 h 122"/>
                <a:gd name="T34" fmla="*/ 72118 w 133"/>
                <a:gd name="T35" fmla="*/ 195679 h 122"/>
                <a:gd name="T36" fmla="*/ 45548 w 133"/>
                <a:gd name="T37" fmla="*/ 197579 h 122"/>
                <a:gd name="T38" fmla="*/ 34161 w 133"/>
                <a:gd name="T39" fmla="*/ 178581 h 122"/>
                <a:gd name="T40" fmla="*/ 28468 w 133"/>
                <a:gd name="T41" fmla="*/ 151984 h 122"/>
                <a:gd name="T42" fmla="*/ 18978 w 133"/>
                <a:gd name="T43" fmla="*/ 138685 h 122"/>
                <a:gd name="T44" fmla="*/ 11387 w 133"/>
                <a:gd name="T45" fmla="*/ 125387 h 122"/>
                <a:gd name="T46" fmla="*/ 1898 w 133"/>
                <a:gd name="T47" fmla="*/ 104489 h 122"/>
                <a:gd name="T48" fmla="*/ 15183 w 133"/>
                <a:gd name="T49" fmla="*/ 60793 h 122"/>
                <a:gd name="T50" fmla="*/ 26570 w 133"/>
                <a:gd name="T51" fmla="*/ 75992 h 122"/>
                <a:gd name="T52" fmla="*/ 47446 w 133"/>
                <a:gd name="T53" fmla="*/ 93090 h 122"/>
                <a:gd name="T54" fmla="*/ 75913 w 133"/>
                <a:gd name="T55" fmla="*/ 91190 h 122"/>
                <a:gd name="T56" fmla="*/ 85403 w 133"/>
                <a:gd name="T57" fmla="*/ 77892 h 122"/>
                <a:gd name="T58" fmla="*/ 100585 w 133"/>
                <a:gd name="T59" fmla="*/ 79791 h 122"/>
                <a:gd name="T60" fmla="*/ 117666 w 133"/>
                <a:gd name="T61" fmla="*/ 85491 h 122"/>
                <a:gd name="T62" fmla="*/ 140440 w 133"/>
                <a:gd name="T63" fmla="*/ 77892 h 122"/>
                <a:gd name="T64" fmla="*/ 153725 w 133"/>
                <a:gd name="T65" fmla="*/ 45595 h 122"/>
                <a:gd name="T66" fmla="*/ 165112 w 133"/>
                <a:gd name="T67" fmla="*/ 7599 h 122"/>
                <a:gd name="T68" fmla="*/ 191681 w 133"/>
                <a:gd name="T69" fmla="*/ 7599 h 122"/>
                <a:gd name="T70" fmla="*/ 218251 w 133"/>
                <a:gd name="T71" fmla="*/ 9499 h 1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3"/>
                <a:gd name="T109" fmla="*/ 0 h 122"/>
                <a:gd name="T110" fmla="*/ 133 w 133"/>
                <a:gd name="T111" fmla="*/ 122 h 1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3" h="122">
                  <a:moveTo>
                    <a:pt x="115" y="5"/>
                  </a:moveTo>
                  <a:cubicBezTo>
                    <a:pt x="115" y="6"/>
                    <a:pt x="115" y="8"/>
                    <a:pt x="114" y="9"/>
                  </a:cubicBezTo>
                  <a:cubicBezTo>
                    <a:pt x="112" y="11"/>
                    <a:pt x="108" y="8"/>
                    <a:pt x="107" y="10"/>
                  </a:cubicBezTo>
                  <a:cubicBezTo>
                    <a:pt x="107" y="13"/>
                    <a:pt x="111" y="14"/>
                    <a:pt x="113" y="16"/>
                  </a:cubicBezTo>
                  <a:cubicBezTo>
                    <a:pt x="115" y="21"/>
                    <a:pt x="119" y="25"/>
                    <a:pt x="118" y="29"/>
                  </a:cubicBezTo>
                  <a:cubicBezTo>
                    <a:pt x="118" y="31"/>
                    <a:pt x="112" y="28"/>
                    <a:pt x="112" y="30"/>
                  </a:cubicBezTo>
                  <a:cubicBezTo>
                    <a:pt x="112" y="33"/>
                    <a:pt x="115" y="35"/>
                    <a:pt x="118" y="37"/>
                  </a:cubicBezTo>
                  <a:cubicBezTo>
                    <a:pt x="121" y="40"/>
                    <a:pt x="125" y="43"/>
                    <a:pt x="128" y="45"/>
                  </a:cubicBezTo>
                  <a:cubicBezTo>
                    <a:pt x="130" y="46"/>
                    <a:pt x="133" y="44"/>
                    <a:pt x="133" y="46"/>
                  </a:cubicBezTo>
                  <a:cubicBezTo>
                    <a:pt x="132" y="48"/>
                    <a:pt x="129" y="50"/>
                    <a:pt x="126" y="50"/>
                  </a:cubicBezTo>
                  <a:cubicBezTo>
                    <a:pt x="123" y="50"/>
                    <a:pt x="120" y="46"/>
                    <a:pt x="116" y="47"/>
                  </a:cubicBezTo>
                  <a:cubicBezTo>
                    <a:pt x="115" y="47"/>
                    <a:pt x="117" y="50"/>
                    <a:pt x="117" y="51"/>
                  </a:cubicBezTo>
                  <a:cubicBezTo>
                    <a:pt x="116" y="52"/>
                    <a:pt x="114" y="50"/>
                    <a:pt x="113" y="51"/>
                  </a:cubicBezTo>
                  <a:cubicBezTo>
                    <a:pt x="112" y="53"/>
                    <a:pt x="111" y="56"/>
                    <a:pt x="111" y="58"/>
                  </a:cubicBezTo>
                  <a:cubicBezTo>
                    <a:pt x="110" y="61"/>
                    <a:pt x="110" y="64"/>
                    <a:pt x="110" y="66"/>
                  </a:cubicBezTo>
                  <a:cubicBezTo>
                    <a:pt x="110" y="69"/>
                    <a:pt x="112" y="71"/>
                    <a:pt x="110" y="73"/>
                  </a:cubicBezTo>
                  <a:cubicBezTo>
                    <a:pt x="108" y="76"/>
                    <a:pt x="105" y="76"/>
                    <a:pt x="102" y="78"/>
                  </a:cubicBezTo>
                  <a:cubicBezTo>
                    <a:pt x="100" y="80"/>
                    <a:pt x="97" y="82"/>
                    <a:pt x="96" y="85"/>
                  </a:cubicBezTo>
                  <a:cubicBezTo>
                    <a:pt x="96" y="88"/>
                    <a:pt x="98" y="91"/>
                    <a:pt x="99" y="93"/>
                  </a:cubicBezTo>
                  <a:cubicBezTo>
                    <a:pt x="99" y="95"/>
                    <a:pt x="100" y="97"/>
                    <a:pt x="99" y="99"/>
                  </a:cubicBezTo>
                  <a:cubicBezTo>
                    <a:pt x="99" y="100"/>
                    <a:pt x="97" y="98"/>
                    <a:pt x="96" y="99"/>
                  </a:cubicBezTo>
                  <a:cubicBezTo>
                    <a:pt x="95" y="101"/>
                    <a:pt x="97" y="103"/>
                    <a:pt x="96" y="105"/>
                  </a:cubicBezTo>
                  <a:cubicBezTo>
                    <a:pt x="96" y="106"/>
                    <a:pt x="93" y="104"/>
                    <a:pt x="92" y="105"/>
                  </a:cubicBezTo>
                  <a:cubicBezTo>
                    <a:pt x="91" y="108"/>
                    <a:pt x="92" y="112"/>
                    <a:pt x="89" y="114"/>
                  </a:cubicBezTo>
                  <a:cubicBezTo>
                    <a:pt x="85" y="118"/>
                    <a:pt x="80" y="122"/>
                    <a:pt x="75" y="121"/>
                  </a:cubicBezTo>
                  <a:cubicBezTo>
                    <a:pt x="72" y="121"/>
                    <a:pt x="75" y="114"/>
                    <a:pt x="73" y="112"/>
                  </a:cubicBezTo>
                  <a:cubicBezTo>
                    <a:pt x="72" y="110"/>
                    <a:pt x="69" y="110"/>
                    <a:pt x="67" y="110"/>
                  </a:cubicBezTo>
                  <a:cubicBezTo>
                    <a:pt x="65" y="110"/>
                    <a:pt x="64" y="113"/>
                    <a:pt x="62" y="112"/>
                  </a:cubicBezTo>
                  <a:cubicBezTo>
                    <a:pt x="61" y="112"/>
                    <a:pt x="62" y="110"/>
                    <a:pt x="61" y="109"/>
                  </a:cubicBezTo>
                  <a:cubicBezTo>
                    <a:pt x="60" y="108"/>
                    <a:pt x="59" y="110"/>
                    <a:pt x="58" y="110"/>
                  </a:cubicBezTo>
                  <a:cubicBezTo>
                    <a:pt x="57" y="109"/>
                    <a:pt x="57" y="106"/>
                    <a:pt x="56" y="106"/>
                  </a:cubicBezTo>
                  <a:cubicBezTo>
                    <a:pt x="54" y="106"/>
                    <a:pt x="55" y="109"/>
                    <a:pt x="53" y="110"/>
                  </a:cubicBezTo>
                  <a:cubicBezTo>
                    <a:pt x="51" y="111"/>
                    <a:pt x="48" y="112"/>
                    <a:pt x="46" y="112"/>
                  </a:cubicBezTo>
                  <a:cubicBezTo>
                    <a:pt x="43" y="113"/>
                    <a:pt x="41" y="113"/>
                    <a:pt x="38" y="113"/>
                  </a:cubicBezTo>
                  <a:cubicBezTo>
                    <a:pt x="38" y="112"/>
                    <a:pt x="38" y="111"/>
                    <a:pt x="38" y="110"/>
                  </a:cubicBezTo>
                  <a:cubicBezTo>
                    <a:pt x="38" y="107"/>
                    <a:pt x="40" y="104"/>
                    <a:pt x="38" y="103"/>
                  </a:cubicBezTo>
                  <a:cubicBezTo>
                    <a:pt x="36" y="101"/>
                    <a:pt x="33" y="105"/>
                    <a:pt x="31" y="105"/>
                  </a:cubicBezTo>
                  <a:cubicBezTo>
                    <a:pt x="29" y="105"/>
                    <a:pt x="26" y="104"/>
                    <a:pt x="24" y="104"/>
                  </a:cubicBezTo>
                  <a:cubicBezTo>
                    <a:pt x="23" y="103"/>
                    <a:pt x="21" y="105"/>
                    <a:pt x="20" y="104"/>
                  </a:cubicBezTo>
                  <a:cubicBezTo>
                    <a:pt x="18" y="101"/>
                    <a:pt x="18" y="97"/>
                    <a:pt x="18" y="94"/>
                  </a:cubicBezTo>
                  <a:cubicBezTo>
                    <a:pt x="17" y="92"/>
                    <a:pt x="18" y="89"/>
                    <a:pt x="17" y="86"/>
                  </a:cubicBezTo>
                  <a:cubicBezTo>
                    <a:pt x="17" y="84"/>
                    <a:pt x="16" y="82"/>
                    <a:pt x="15" y="80"/>
                  </a:cubicBezTo>
                  <a:cubicBezTo>
                    <a:pt x="14" y="79"/>
                    <a:pt x="11" y="80"/>
                    <a:pt x="10" y="78"/>
                  </a:cubicBezTo>
                  <a:cubicBezTo>
                    <a:pt x="9" y="77"/>
                    <a:pt x="11" y="75"/>
                    <a:pt x="10" y="73"/>
                  </a:cubicBezTo>
                  <a:cubicBezTo>
                    <a:pt x="9" y="72"/>
                    <a:pt x="6" y="75"/>
                    <a:pt x="6" y="73"/>
                  </a:cubicBezTo>
                  <a:cubicBezTo>
                    <a:pt x="4" y="71"/>
                    <a:pt x="5" y="68"/>
                    <a:pt x="6" y="66"/>
                  </a:cubicBezTo>
                  <a:cubicBezTo>
                    <a:pt x="6" y="64"/>
                    <a:pt x="8" y="62"/>
                    <a:pt x="8" y="60"/>
                  </a:cubicBezTo>
                  <a:cubicBezTo>
                    <a:pt x="7" y="57"/>
                    <a:pt x="2" y="58"/>
                    <a:pt x="1" y="55"/>
                  </a:cubicBezTo>
                  <a:cubicBezTo>
                    <a:pt x="0" y="51"/>
                    <a:pt x="1" y="46"/>
                    <a:pt x="2" y="41"/>
                  </a:cubicBezTo>
                  <a:cubicBezTo>
                    <a:pt x="3" y="38"/>
                    <a:pt x="6" y="35"/>
                    <a:pt x="8" y="32"/>
                  </a:cubicBezTo>
                  <a:cubicBezTo>
                    <a:pt x="9" y="32"/>
                    <a:pt x="11" y="32"/>
                    <a:pt x="12" y="32"/>
                  </a:cubicBezTo>
                  <a:cubicBezTo>
                    <a:pt x="13" y="35"/>
                    <a:pt x="12" y="38"/>
                    <a:pt x="14" y="40"/>
                  </a:cubicBezTo>
                  <a:cubicBezTo>
                    <a:pt x="16" y="43"/>
                    <a:pt x="20" y="44"/>
                    <a:pt x="23" y="46"/>
                  </a:cubicBezTo>
                  <a:cubicBezTo>
                    <a:pt x="24" y="47"/>
                    <a:pt x="24" y="49"/>
                    <a:pt x="25" y="49"/>
                  </a:cubicBezTo>
                  <a:cubicBezTo>
                    <a:pt x="27" y="49"/>
                    <a:pt x="29" y="47"/>
                    <a:pt x="31" y="46"/>
                  </a:cubicBezTo>
                  <a:cubicBezTo>
                    <a:pt x="34" y="46"/>
                    <a:pt x="37" y="48"/>
                    <a:pt x="40" y="48"/>
                  </a:cubicBezTo>
                  <a:cubicBezTo>
                    <a:pt x="42" y="47"/>
                    <a:pt x="44" y="46"/>
                    <a:pt x="45" y="45"/>
                  </a:cubicBezTo>
                  <a:cubicBezTo>
                    <a:pt x="46" y="44"/>
                    <a:pt x="44" y="41"/>
                    <a:pt x="45" y="41"/>
                  </a:cubicBezTo>
                  <a:cubicBezTo>
                    <a:pt x="48" y="39"/>
                    <a:pt x="51" y="40"/>
                    <a:pt x="54" y="40"/>
                  </a:cubicBezTo>
                  <a:cubicBezTo>
                    <a:pt x="54" y="40"/>
                    <a:pt x="53" y="42"/>
                    <a:pt x="53" y="42"/>
                  </a:cubicBezTo>
                  <a:cubicBezTo>
                    <a:pt x="54" y="43"/>
                    <a:pt x="55" y="41"/>
                    <a:pt x="57" y="41"/>
                  </a:cubicBezTo>
                  <a:cubicBezTo>
                    <a:pt x="59" y="42"/>
                    <a:pt x="60" y="45"/>
                    <a:pt x="62" y="45"/>
                  </a:cubicBezTo>
                  <a:cubicBezTo>
                    <a:pt x="64" y="44"/>
                    <a:pt x="64" y="41"/>
                    <a:pt x="66" y="41"/>
                  </a:cubicBezTo>
                  <a:cubicBezTo>
                    <a:pt x="69" y="40"/>
                    <a:pt x="72" y="42"/>
                    <a:pt x="74" y="41"/>
                  </a:cubicBezTo>
                  <a:cubicBezTo>
                    <a:pt x="75" y="40"/>
                    <a:pt x="73" y="38"/>
                    <a:pt x="74" y="36"/>
                  </a:cubicBezTo>
                  <a:cubicBezTo>
                    <a:pt x="76" y="32"/>
                    <a:pt x="79" y="28"/>
                    <a:pt x="81" y="24"/>
                  </a:cubicBezTo>
                  <a:cubicBezTo>
                    <a:pt x="83" y="21"/>
                    <a:pt x="86" y="18"/>
                    <a:pt x="87" y="15"/>
                  </a:cubicBezTo>
                  <a:cubicBezTo>
                    <a:pt x="88" y="11"/>
                    <a:pt x="85" y="7"/>
                    <a:pt x="87" y="4"/>
                  </a:cubicBezTo>
                  <a:cubicBezTo>
                    <a:pt x="89" y="1"/>
                    <a:pt x="93" y="1"/>
                    <a:pt x="96" y="1"/>
                  </a:cubicBezTo>
                  <a:cubicBezTo>
                    <a:pt x="98" y="0"/>
                    <a:pt x="99" y="3"/>
                    <a:pt x="101" y="4"/>
                  </a:cubicBezTo>
                  <a:cubicBezTo>
                    <a:pt x="103" y="4"/>
                    <a:pt x="106" y="2"/>
                    <a:pt x="108" y="2"/>
                  </a:cubicBezTo>
                  <a:cubicBezTo>
                    <a:pt x="111" y="3"/>
                    <a:pt x="113" y="4"/>
                    <a:pt x="115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2" name="Freeform 412"/>
            <p:cNvSpPr>
              <a:spLocks noChangeAspect="1"/>
            </p:cNvSpPr>
            <p:nvPr/>
          </p:nvSpPr>
          <p:spPr bwMode="auto">
            <a:xfrm>
              <a:off x="7262813" y="4384675"/>
              <a:ext cx="30162" cy="12700"/>
            </a:xfrm>
            <a:custGeom>
              <a:avLst/>
              <a:gdLst>
                <a:gd name="T0" fmla="*/ 1885 w 16"/>
                <a:gd name="T1" fmla="*/ 2117 h 6"/>
                <a:gd name="T2" fmla="*/ 28277 w 16"/>
                <a:gd name="T3" fmla="*/ 2117 h 6"/>
                <a:gd name="T4" fmla="*/ 22621 w 16"/>
                <a:gd name="T5" fmla="*/ 8467 h 6"/>
                <a:gd name="T6" fmla="*/ 5655 w 16"/>
                <a:gd name="T7" fmla="*/ 10583 h 6"/>
                <a:gd name="T8" fmla="*/ 1885 w 16"/>
                <a:gd name="T9" fmla="*/ 211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6"/>
                <a:gd name="T17" fmla="*/ 16 w 1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6">
                  <a:moveTo>
                    <a:pt x="1" y="1"/>
                  </a:moveTo>
                  <a:cubicBezTo>
                    <a:pt x="5" y="0"/>
                    <a:pt x="10" y="0"/>
                    <a:pt x="15" y="1"/>
                  </a:cubicBezTo>
                  <a:cubicBezTo>
                    <a:pt x="16" y="1"/>
                    <a:pt x="13" y="4"/>
                    <a:pt x="12" y="4"/>
                  </a:cubicBezTo>
                  <a:cubicBezTo>
                    <a:pt x="9" y="5"/>
                    <a:pt x="6" y="6"/>
                    <a:pt x="3" y="5"/>
                  </a:cubicBezTo>
                  <a:cubicBezTo>
                    <a:pt x="1" y="5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3" name="Freeform 413"/>
            <p:cNvSpPr>
              <a:spLocks noChangeAspect="1"/>
            </p:cNvSpPr>
            <p:nvPr/>
          </p:nvSpPr>
          <p:spPr bwMode="auto">
            <a:xfrm>
              <a:off x="7405688" y="4151313"/>
              <a:ext cx="161925" cy="201612"/>
            </a:xfrm>
            <a:custGeom>
              <a:avLst/>
              <a:gdLst>
                <a:gd name="T0" fmla="*/ 154305 w 85"/>
                <a:gd name="T1" fmla="*/ 5706 h 106"/>
                <a:gd name="T2" fmla="*/ 140970 w 85"/>
                <a:gd name="T3" fmla="*/ 26628 h 106"/>
                <a:gd name="T4" fmla="*/ 114300 w 85"/>
                <a:gd name="T5" fmla="*/ 38040 h 106"/>
                <a:gd name="T6" fmla="*/ 76200 w 85"/>
                <a:gd name="T7" fmla="*/ 34236 h 106"/>
                <a:gd name="T8" fmla="*/ 55245 w 85"/>
                <a:gd name="T9" fmla="*/ 36138 h 106"/>
                <a:gd name="T10" fmla="*/ 36195 w 85"/>
                <a:gd name="T11" fmla="*/ 36138 h 106"/>
                <a:gd name="T12" fmla="*/ 49530 w 85"/>
                <a:gd name="T13" fmla="*/ 85590 h 106"/>
                <a:gd name="T14" fmla="*/ 70485 w 85"/>
                <a:gd name="T15" fmla="*/ 68472 h 106"/>
                <a:gd name="T16" fmla="*/ 100965 w 85"/>
                <a:gd name="T17" fmla="*/ 62766 h 106"/>
                <a:gd name="T18" fmla="*/ 110490 w 85"/>
                <a:gd name="T19" fmla="*/ 72276 h 106"/>
                <a:gd name="T20" fmla="*/ 87630 w 85"/>
                <a:gd name="T21" fmla="*/ 87492 h 106"/>
                <a:gd name="T22" fmla="*/ 62865 w 85"/>
                <a:gd name="T23" fmla="*/ 95100 h 106"/>
                <a:gd name="T24" fmla="*/ 85725 w 85"/>
                <a:gd name="T25" fmla="*/ 125532 h 106"/>
                <a:gd name="T26" fmla="*/ 89535 w 85"/>
                <a:gd name="T27" fmla="*/ 150258 h 106"/>
                <a:gd name="T28" fmla="*/ 80010 w 85"/>
                <a:gd name="T29" fmla="*/ 165474 h 106"/>
                <a:gd name="T30" fmla="*/ 64770 w 85"/>
                <a:gd name="T31" fmla="*/ 178788 h 106"/>
                <a:gd name="T32" fmla="*/ 55245 w 85"/>
                <a:gd name="T33" fmla="*/ 148356 h 106"/>
                <a:gd name="T34" fmla="*/ 59055 w 85"/>
                <a:gd name="T35" fmla="*/ 125532 h 106"/>
                <a:gd name="T36" fmla="*/ 36195 w 85"/>
                <a:gd name="T37" fmla="*/ 125532 h 106"/>
                <a:gd name="T38" fmla="*/ 38100 w 85"/>
                <a:gd name="T39" fmla="*/ 155964 h 106"/>
                <a:gd name="T40" fmla="*/ 34290 w 85"/>
                <a:gd name="T41" fmla="*/ 178788 h 106"/>
                <a:gd name="T42" fmla="*/ 34290 w 85"/>
                <a:gd name="T43" fmla="*/ 201612 h 106"/>
                <a:gd name="T44" fmla="*/ 11430 w 85"/>
                <a:gd name="T45" fmla="*/ 190200 h 106"/>
                <a:gd name="T46" fmla="*/ 17145 w 85"/>
                <a:gd name="T47" fmla="*/ 138846 h 106"/>
                <a:gd name="T48" fmla="*/ 3810 w 85"/>
                <a:gd name="T49" fmla="*/ 136944 h 106"/>
                <a:gd name="T50" fmla="*/ 15240 w 85"/>
                <a:gd name="T51" fmla="*/ 106512 h 106"/>
                <a:gd name="T52" fmla="*/ 22860 w 85"/>
                <a:gd name="T53" fmla="*/ 64668 h 106"/>
                <a:gd name="T54" fmla="*/ 26670 w 85"/>
                <a:gd name="T55" fmla="*/ 47550 h 106"/>
                <a:gd name="T56" fmla="*/ 38100 w 85"/>
                <a:gd name="T57" fmla="*/ 19020 h 106"/>
                <a:gd name="T58" fmla="*/ 47625 w 85"/>
                <a:gd name="T59" fmla="*/ 9510 h 106"/>
                <a:gd name="T60" fmla="*/ 68580 w 85"/>
                <a:gd name="T61" fmla="*/ 15216 h 106"/>
                <a:gd name="T62" fmla="*/ 99060 w 85"/>
                <a:gd name="T63" fmla="*/ 20922 h 106"/>
                <a:gd name="T64" fmla="*/ 133350 w 85"/>
                <a:gd name="T65" fmla="*/ 17118 h 106"/>
                <a:gd name="T66" fmla="*/ 152400 w 85"/>
                <a:gd name="T67" fmla="*/ 1902 h 10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85"/>
                <a:gd name="T103" fmla="*/ 0 h 106"/>
                <a:gd name="T104" fmla="*/ 85 w 85"/>
                <a:gd name="T105" fmla="*/ 106 h 10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85" h="106">
                  <a:moveTo>
                    <a:pt x="84" y="1"/>
                  </a:moveTo>
                  <a:cubicBezTo>
                    <a:pt x="85" y="2"/>
                    <a:pt x="82" y="2"/>
                    <a:pt x="81" y="3"/>
                  </a:cubicBezTo>
                  <a:cubicBezTo>
                    <a:pt x="80" y="5"/>
                    <a:pt x="81" y="8"/>
                    <a:pt x="80" y="9"/>
                  </a:cubicBezTo>
                  <a:cubicBezTo>
                    <a:pt x="79" y="11"/>
                    <a:pt x="75" y="12"/>
                    <a:pt x="74" y="14"/>
                  </a:cubicBezTo>
                  <a:cubicBezTo>
                    <a:pt x="73" y="15"/>
                    <a:pt x="75" y="18"/>
                    <a:pt x="74" y="19"/>
                  </a:cubicBezTo>
                  <a:cubicBezTo>
                    <a:pt x="69" y="21"/>
                    <a:pt x="64" y="20"/>
                    <a:pt x="60" y="20"/>
                  </a:cubicBezTo>
                  <a:cubicBezTo>
                    <a:pt x="57" y="20"/>
                    <a:pt x="55" y="18"/>
                    <a:pt x="53" y="17"/>
                  </a:cubicBezTo>
                  <a:cubicBezTo>
                    <a:pt x="49" y="17"/>
                    <a:pt x="45" y="18"/>
                    <a:pt x="40" y="18"/>
                  </a:cubicBezTo>
                  <a:cubicBezTo>
                    <a:pt x="39" y="18"/>
                    <a:pt x="38" y="16"/>
                    <a:pt x="36" y="16"/>
                  </a:cubicBezTo>
                  <a:cubicBezTo>
                    <a:pt x="34" y="16"/>
                    <a:pt x="32" y="18"/>
                    <a:pt x="29" y="19"/>
                  </a:cubicBezTo>
                  <a:cubicBezTo>
                    <a:pt x="27" y="19"/>
                    <a:pt x="25" y="17"/>
                    <a:pt x="22" y="17"/>
                  </a:cubicBezTo>
                  <a:cubicBezTo>
                    <a:pt x="21" y="17"/>
                    <a:pt x="19" y="18"/>
                    <a:pt x="19" y="19"/>
                  </a:cubicBezTo>
                  <a:cubicBezTo>
                    <a:pt x="18" y="24"/>
                    <a:pt x="18" y="29"/>
                    <a:pt x="19" y="34"/>
                  </a:cubicBezTo>
                  <a:cubicBezTo>
                    <a:pt x="20" y="38"/>
                    <a:pt x="22" y="43"/>
                    <a:pt x="26" y="45"/>
                  </a:cubicBezTo>
                  <a:cubicBezTo>
                    <a:pt x="28" y="46"/>
                    <a:pt x="30" y="44"/>
                    <a:pt x="32" y="43"/>
                  </a:cubicBezTo>
                  <a:cubicBezTo>
                    <a:pt x="34" y="41"/>
                    <a:pt x="35" y="38"/>
                    <a:pt x="37" y="36"/>
                  </a:cubicBezTo>
                  <a:cubicBezTo>
                    <a:pt x="39" y="35"/>
                    <a:pt x="42" y="36"/>
                    <a:pt x="45" y="36"/>
                  </a:cubicBezTo>
                  <a:cubicBezTo>
                    <a:pt x="47" y="35"/>
                    <a:pt x="50" y="33"/>
                    <a:pt x="53" y="33"/>
                  </a:cubicBezTo>
                  <a:cubicBezTo>
                    <a:pt x="55" y="32"/>
                    <a:pt x="58" y="31"/>
                    <a:pt x="60" y="33"/>
                  </a:cubicBezTo>
                  <a:cubicBezTo>
                    <a:pt x="61" y="34"/>
                    <a:pt x="60" y="37"/>
                    <a:pt x="58" y="38"/>
                  </a:cubicBezTo>
                  <a:cubicBezTo>
                    <a:pt x="56" y="40"/>
                    <a:pt x="53" y="37"/>
                    <a:pt x="51" y="38"/>
                  </a:cubicBezTo>
                  <a:cubicBezTo>
                    <a:pt x="49" y="40"/>
                    <a:pt x="48" y="44"/>
                    <a:pt x="46" y="46"/>
                  </a:cubicBezTo>
                  <a:cubicBezTo>
                    <a:pt x="43" y="49"/>
                    <a:pt x="41" y="51"/>
                    <a:pt x="37" y="52"/>
                  </a:cubicBezTo>
                  <a:cubicBezTo>
                    <a:pt x="36" y="52"/>
                    <a:pt x="34" y="49"/>
                    <a:pt x="33" y="50"/>
                  </a:cubicBezTo>
                  <a:cubicBezTo>
                    <a:pt x="32" y="50"/>
                    <a:pt x="33" y="52"/>
                    <a:pt x="34" y="52"/>
                  </a:cubicBezTo>
                  <a:cubicBezTo>
                    <a:pt x="37" y="57"/>
                    <a:pt x="41" y="61"/>
                    <a:pt x="45" y="66"/>
                  </a:cubicBezTo>
                  <a:cubicBezTo>
                    <a:pt x="46" y="68"/>
                    <a:pt x="48" y="69"/>
                    <a:pt x="49" y="71"/>
                  </a:cubicBezTo>
                  <a:cubicBezTo>
                    <a:pt x="49" y="74"/>
                    <a:pt x="46" y="76"/>
                    <a:pt x="47" y="79"/>
                  </a:cubicBezTo>
                  <a:cubicBezTo>
                    <a:pt x="48" y="82"/>
                    <a:pt x="54" y="84"/>
                    <a:pt x="52" y="86"/>
                  </a:cubicBezTo>
                  <a:cubicBezTo>
                    <a:pt x="51" y="89"/>
                    <a:pt x="45" y="85"/>
                    <a:pt x="42" y="87"/>
                  </a:cubicBezTo>
                  <a:cubicBezTo>
                    <a:pt x="40" y="89"/>
                    <a:pt x="43" y="94"/>
                    <a:pt x="41" y="96"/>
                  </a:cubicBezTo>
                  <a:cubicBezTo>
                    <a:pt x="39" y="97"/>
                    <a:pt x="35" y="96"/>
                    <a:pt x="34" y="94"/>
                  </a:cubicBezTo>
                  <a:cubicBezTo>
                    <a:pt x="33" y="90"/>
                    <a:pt x="38" y="86"/>
                    <a:pt x="37" y="82"/>
                  </a:cubicBezTo>
                  <a:cubicBezTo>
                    <a:pt x="36" y="79"/>
                    <a:pt x="32" y="80"/>
                    <a:pt x="29" y="78"/>
                  </a:cubicBezTo>
                  <a:cubicBezTo>
                    <a:pt x="28" y="77"/>
                    <a:pt x="26" y="76"/>
                    <a:pt x="26" y="74"/>
                  </a:cubicBezTo>
                  <a:cubicBezTo>
                    <a:pt x="27" y="71"/>
                    <a:pt x="31" y="69"/>
                    <a:pt x="31" y="66"/>
                  </a:cubicBezTo>
                  <a:cubicBezTo>
                    <a:pt x="32" y="65"/>
                    <a:pt x="29" y="62"/>
                    <a:pt x="28" y="62"/>
                  </a:cubicBezTo>
                  <a:cubicBezTo>
                    <a:pt x="24" y="62"/>
                    <a:pt x="21" y="64"/>
                    <a:pt x="19" y="66"/>
                  </a:cubicBezTo>
                  <a:cubicBezTo>
                    <a:pt x="18" y="68"/>
                    <a:pt x="21" y="70"/>
                    <a:pt x="21" y="72"/>
                  </a:cubicBezTo>
                  <a:cubicBezTo>
                    <a:pt x="21" y="75"/>
                    <a:pt x="20" y="78"/>
                    <a:pt x="20" y="82"/>
                  </a:cubicBezTo>
                  <a:cubicBezTo>
                    <a:pt x="20" y="84"/>
                    <a:pt x="22" y="87"/>
                    <a:pt x="21" y="89"/>
                  </a:cubicBezTo>
                  <a:cubicBezTo>
                    <a:pt x="21" y="91"/>
                    <a:pt x="19" y="92"/>
                    <a:pt x="18" y="94"/>
                  </a:cubicBezTo>
                  <a:cubicBezTo>
                    <a:pt x="18" y="98"/>
                    <a:pt x="21" y="101"/>
                    <a:pt x="21" y="105"/>
                  </a:cubicBezTo>
                  <a:cubicBezTo>
                    <a:pt x="21" y="106"/>
                    <a:pt x="19" y="106"/>
                    <a:pt x="18" y="106"/>
                  </a:cubicBezTo>
                  <a:cubicBezTo>
                    <a:pt x="15" y="106"/>
                    <a:pt x="11" y="106"/>
                    <a:pt x="8" y="105"/>
                  </a:cubicBezTo>
                  <a:cubicBezTo>
                    <a:pt x="7" y="104"/>
                    <a:pt x="6" y="102"/>
                    <a:pt x="6" y="100"/>
                  </a:cubicBezTo>
                  <a:cubicBezTo>
                    <a:pt x="7" y="95"/>
                    <a:pt x="11" y="90"/>
                    <a:pt x="11" y="84"/>
                  </a:cubicBezTo>
                  <a:cubicBezTo>
                    <a:pt x="12" y="80"/>
                    <a:pt x="11" y="76"/>
                    <a:pt x="9" y="73"/>
                  </a:cubicBezTo>
                  <a:cubicBezTo>
                    <a:pt x="8" y="71"/>
                    <a:pt x="6" y="74"/>
                    <a:pt x="4" y="74"/>
                  </a:cubicBezTo>
                  <a:cubicBezTo>
                    <a:pt x="3" y="74"/>
                    <a:pt x="2" y="73"/>
                    <a:pt x="2" y="72"/>
                  </a:cubicBezTo>
                  <a:cubicBezTo>
                    <a:pt x="1" y="68"/>
                    <a:pt x="0" y="65"/>
                    <a:pt x="1" y="62"/>
                  </a:cubicBezTo>
                  <a:cubicBezTo>
                    <a:pt x="2" y="59"/>
                    <a:pt x="7" y="59"/>
                    <a:pt x="8" y="56"/>
                  </a:cubicBezTo>
                  <a:cubicBezTo>
                    <a:pt x="9" y="52"/>
                    <a:pt x="8" y="46"/>
                    <a:pt x="9" y="42"/>
                  </a:cubicBezTo>
                  <a:cubicBezTo>
                    <a:pt x="9" y="39"/>
                    <a:pt x="10" y="36"/>
                    <a:pt x="12" y="34"/>
                  </a:cubicBezTo>
                  <a:cubicBezTo>
                    <a:pt x="14" y="33"/>
                    <a:pt x="16" y="37"/>
                    <a:pt x="16" y="36"/>
                  </a:cubicBezTo>
                  <a:cubicBezTo>
                    <a:pt x="17" y="32"/>
                    <a:pt x="15" y="28"/>
                    <a:pt x="14" y="25"/>
                  </a:cubicBezTo>
                  <a:cubicBezTo>
                    <a:pt x="14" y="22"/>
                    <a:pt x="12" y="20"/>
                    <a:pt x="13" y="18"/>
                  </a:cubicBezTo>
                  <a:cubicBezTo>
                    <a:pt x="14" y="15"/>
                    <a:pt x="17" y="11"/>
                    <a:pt x="20" y="10"/>
                  </a:cubicBezTo>
                  <a:cubicBezTo>
                    <a:pt x="22" y="9"/>
                    <a:pt x="24" y="14"/>
                    <a:pt x="25" y="13"/>
                  </a:cubicBezTo>
                  <a:cubicBezTo>
                    <a:pt x="27" y="11"/>
                    <a:pt x="23" y="6"/>
                    <a:pt x="25" y="5"/>
                  </a:cubicBezTo>
                  <a:cubicBezTo>
                    <a:pt x="27" y="3"/>
                    <a:pt x="32" y="4"/>
                    <a:pt x="35" y="5"/>
                  </a:cubicBezTo>
                  <a:cubicBezTo>
                    <a:pt x="36" y="5"/>
                    <a:pt x="35" y="8"/>
                    <a:pt x="36" y="8"/>
                  </a:cubicBezTo>
                  <a:cubicBezTo>
                    <a:pt x="40" y="9"/>
                    <a:pt x="44" y="8"/>
                    <a:pt x="48" y="8"/>
                  </a:cubicBezTo>
                  <a:cubicBezTo>
                    <a:pt x="49" y="9"/>
                    <a:pt x="51" y="11"/>
                    <a:pt x="52" y="11"/>
                  </a:cubicBezTo>
                  <a:cubicBezTo>
                    <a:pt x="54" y="12"/>
                    <a:pt x="55" y="9"/>
                    <a:pt x="57" y="9"/>
                  </a:cubicBezTo>
                  <a:cubicBezTo>
                    <a:pt x="61" y="9"/>
                    <a:pt x="66" y="11"/>
                    <a:pt x="70" y="9"/>
                  </a:cubicBezTo>
                  <a:cubicBezTo>
                    <a:pt x="72" y="8"/>
                    <a:pt x="73" y="5"/>
                    <a:pt x="74" y="3"/>
                  </a:cubicBezTo>
                  <a:cubicBezTo>
                    <a:pt x="76" y="2"/>
                    <a:pt x="78" y="1"/>
                    <a:pt x="80" y="1"/>
                  </a:cubicBezTo>
                  <a:cubicBezTo>
                    <a:pt x="81" y="1"/>
                    <a:pt x="84" y="0"/>
                    <a:pt x="8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4" name="Freeform 414"/>
            <p:cNvSpPr>
              <a:spLocks noChangeAspect="1"/>
            </p:cNvSpPr>
            <p:nvPr/>
          </p:nvSpPr>
          <p:spPr bwMode="auto">
            <a:xfrm>
              <a:off x="7340600" y="4287838"/>
              <a:ext cx="9525" cy="20637"/>
            </a:xfrm>
            <a:custGeom>
              <a:avLst/>
              <a:gdLst>
                <a:gd name="T0" fmla="*/ 7620 w 5"/>
                <a:gd name="T1" fmla="*/ 0 h 11"/>
                <a:gd name="T2" fmla="*/ 9525 w 5"/>
                <a:gd name="T3" fmla="*/ 3752 h 11"/>
                <a:gd name="T4" fmla="*/ 7620 w 5"/>
                <a:gd name="T5" fmla="*/ 18761 h 11"/>
                <a:gd name="T6" fmla="*/ 1905 w 5"/>
                <a:gd name="T7" fmla="*/ 18761 h 11"/>
                <a:gd name="T8" fmla="*/ 3810 w 5"/>
                <a:gd name="T9" fmla="*/ 3752 h 11"/>
                <a:gd name="T10" fmla="*/ 7620 w 5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1"/>
                <a:gd name="T20" fmla="*/ 5 w 5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1">
                  <a:moveTo>
                    <a:pt x="4" y="0"/>
                  </a:moveTo>
                  <a:cubicBezTo>
                    <a:pt x="5" y="0"/>
                    <a:pt x="5" y="1"/>
                    <a:pt x="5" y="2"/>
                  </a:cubicBezTo>
                  <a:cubicBezTo>
                    <a:pt x="5" y="5"/>
                    <a:pt x="5" y="7"/>
                    <a:pt x="4" y="10"/>
                  </a:cubicBezTo>
                  <a:cubicBezTo>
                    <a:pt x="3" y="10"/>
                    <a:pt x="1" y="11"/>
                    <a:pt x="1" y="10"/>
                  </a:cubicBezTo>
                  <a:cubicBezTo>
                    <a:pt x="0" y="7"/>
                    <a:pt x="1" y="5"/>
                    <a:pt x="2" y="2"/>
                  </a:cubicBezTo>
                  <a:cubicBezTo>
                    <a:pt x="2" y="1"/>
                    <a:pt x="3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5" name="Freeform 415"/>
            <p:cNvSpPr>
              <a:spLocks noChangeAspect="1"/>
            </p:cNvSpPr>
            <p:nvPr/>
          </p:nvSpPr>
          <p:spPr bwMode="auto">
            <a:xfrm>
              <a:off x="7300913" y="4419600"/>
              <a:ext cx="30162" cy="22225"/>
            </a:xfrm>
            <a:custGeom>
              <a:avLst/>
              <a:gdLst>
                <a:gd name="T0" fmla="*/ 1885 w 16"/>
                <a:gd name="T1" fmla="*/ 1852 h 12"/>
                <a:gd name="T2" fmla="*/ 13196 w 16"/>
                <a:gd name="T3" fmla="*/ 3704 h 12"/>
                <a:gd name="T4" fmla="*/ 22621 w 16"/>
                <a:gd name="T5" fmla="*/ 3704 h 12"/>
                <a:gd name="T6" fmla="*/ 30162 w 16"/>
                <a:gd name="T7" fmla="*/ 9260 h 12"/>
                <a:gd name="T8" fmla="*/ 16966 w 16"/>
                <a:gd name="T9" fmla="*/ 16669 h 12"/>
                <a:gd name="T10" fmla="*/ 15081 w 16"/>
                <a:gd name="T11" fmla="*/ 22225 h 12"/>
                <a:gd name="T12" fmla="*/ 11311 w 16"/>
                <a:gd name="T13" fmla="*/ 11113 h 12"/>
                <a:gd name="T14" fmla="*/ 1885 w 16"/>
                <a:gd name="T15" fmla="*/ 9260 h 12"/>
                <a:gd name="T16" fmla="*/ 1885 w 16"/>
                <a:gd name="T17" fmla="*/ 1852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12"/>
                <a:gd name="T29" fmla="*/ 16 w 16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12">
                  <a:moveTo>
                    <a:pt x="1" y="1"/>
                  </a:moveTo>
                  <a:cubicBezTo>
                    <a:pt x="3" y="0"/>
                    <a:pt x="5" y="1"/>
                    <a:pt x="7" y="2"/>
                  </a:cubicBezTo>
                  <a:cubicBezTo>
                    <a:pt x="9" y="2"/>
                    <a:pt x="10" y="1"/>
                    <a:pt x="12" y="2"/>
                  </a:cubicBezTo>
                  <a:cubicBezTo>
                    <a:pt x="13" y="2"/>
                    <a:pt x="16" y="4"/>
                    <a:pt x="16" y="5"/>
                  </a:cubicBezTo>
                  <a:cubicBezTo>
                    <a:pt x="15" y="8"/>
                    <a:pt x="11" y="7"/>
                    <a:pt x="9" y="9"/>
                  </a:cubicBezTo>
                  <a:cubicBezTo>
                    <a:pt x="9" y="10"/>
                    <a:pt x="9" y="12"/>
                    <a:pt x="8" y="12"/>
                  </a:cubicBezTo>
                  <a:cubicBezTo>
                    <a:pt x="7" y="11"/>
                    <a:pt x="7" y="8"/>
                    <a:pt x="6" y="6"/>
                  </a:cubicBezTo>
                  <a:cubicBezTo>
                    <a:pt x="5" y="5"/>
                    <a:pt x="2" y="6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6" name="Freeform 416"/>
            <p:cNvSpPr>
              <a:spLocks noChangeAspect="1"/>
            </p:cNvSpPr>
            <p:nvPr/>
          </p:nvSpPr>
          <p:spPr bwMode="auto">
            <a:xfrm>
              <a:off x="7326313" y="4422775"/>
              <a:ext cx="26987" cy="22225"/>
            </a:xfrm>
            <a:custGeom>
              <a:avLst/>
              <a:gdLst>
                <a:gd name="T0" fmla="*/ 15421 w 14"/>
                <a:gd name="T1" fmla="*/ 0 h 11"/>
                <a:gd name="T2" fmla="*/ 25059 w 14"/>
                <a:gd name="T3" fmla="*/ 6061 h 11"/>
                <a:gd name="T4" fmla="*/ 21204 w 14"/>
                <a:gd name="T5" fmla="*/ 22225 h 11"/>
                <a:gd name="T6" fmla="*/ 1928 w 14"/>
                <a:gd name="T7" fmla="*/ 16164 h 11"/>
                <a:gd name="T8" fmla="*/ 9638 w 14"/>
                <a:gd name="T9" fmla="*/ 14143 h 11"/>
                <a:gd name="T10" fmla="*/ 9638 w 14"/>
                <a:gd name="T11" fmla="*/ 6061 h 11"/>
                <a:gd name="T12" fmla="*/ 15421 w 14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11"/>
                <a:gd name="T23" fmla="*/ 14 w 14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11">
                  <a:moveTo>
                    <a:pt x="8" y="0"/>
                  </a:moveTo>
                  <a:cubicBezTo>
                    <a:pt x="10" y="0"/>
                    <a:pt x="13" y="1"/>
                    <a:pt x="13" y="3"/>
                  </a:cubicBezTo>
                  <a:cubicBezTo>
                    <a:pt x="14" y="5"/>
                    <a:pt x="12" y="8"/>
                    <a:pt x="11" y="11"/>
                  </a:cubicBezTo>
                  <a:cubicBezTo>
                    <a:pt x="8" y="10"/>
                    <a:pt x="4" y="10"/>
                    <a:pt x="1" y="8"/>
                  </a:cubicBezTo>
                  <a:cubicBezTo>
                    <a:pt x="0" y="8"/>
                    <a:pt x="4" y="8"/>
                    <a:pt x="5" y="7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6" y="1"/>
                    <a:pt x="7" y="0"/>
                    <a:pt x="8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7" name="Freeform 417"/>
            <p:cNvSpPr>
              <a:spLocks noChangeAspect="1"/>
            </p:cNvSpPr>
            <p:nvPr/>
          </p:nvSpPr>
          <p:spPr bwMode="auto">
            <a:xfrm>
              <a:off x="7351713" y="4419600"/>
              <a:ext cx="60325" cy="28575"/>
            </a:xfrm>
            <a:custGeom>
              <a:avLst/>
              <a:gdLst>
                <a:gd name="T0" fmla="*/ 3770 w 32"/>
                <a:gd name="T1" fmla="*/ 13335 h 15"/>
                <a:gd name="T2" fmla="*/ 1885 w 32"/>
                <a:gd name="T3" fmla="*/ 26670 h 15"/>
                <a:gd name="T4" fmla="*/ 11311 w 32"/>
                <a:gd name="T5" fmla="*/ 26670 h 15"/>
                <a:gd name="T6" fmla="*/ 30163 w 32"/>
                <a:gd name="T7" fmla="*/ 22860 h 15"/>
                <a:gd name="T8" fmla="*/ 45244 w 32"/>
                <a:gd name="T9" fmla="*/ 20955 h 15"/>
                <a:gd name="T10" fmla="*/ 56555 w 32"/>
                <a:gd name="T11" fmla="*/ 17145 h 15"/>
                <a:gd name="T12" fmla="*/ 60325 w 32"/>
                <a:gd name="T13" fmla="*/ 17145 h 15"/>
                <a:gd name="T14" fmla="*/ 54670 w 32"/>
                <a:gd name="T15" fmla="*/ 5715 h 15"/>
                <a:gd name="T16" fmla="*/ 41473 w 32"/>
                <a:gd name="T17" fmla="*/ 5715 h 15"/>
                <a:gd name="T18" fmla="*/ 33933 w 32"/>
                <a:gd name="T19" fmla="*/ 0 h 15"/>
                <a:gd name="T20" fmla="*/ 26392 w 32"/>
                <a:gd name="T21" fmla="*/ 1905 h 15"/>
                <a:gd name="T22" fmla="*/ 30163 w 32"/>
                <a:gd name="T23" fmla="*/ 9525 h 15"/>
                <a:gd name="T24" fmla="*/ 35818 w 32"/>
                <a:gd name="T25" fmla="*/ 13335 h 15"/>
                <a:gd name="T26" fmla="*/ 28277 w 32"/>
                <a:gd name="T27" fmla="*/ 15240 h 15"/>
                <a:gd name="T28" fmla="*/ 18852 w 32"/>
                <a:gd name="T29" fmla="*/ 9525 h 15"/>
                <a:gd name="T30" fmla="*/ 11311 w 32"/>
                <a:gd name="T31" fmla="*/ 9525 h 15"/>
                <a:gd name="T32" fmla="*/ 3770 w 32"/>
                <a:gd name="T33" fmla="*/ 13335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15"/>
                <a:gd name="T53" fmla="*/ 32 w 32"/>
                <a:gd name="T54" fmla="*/ 15 h 1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15">
                  <a:moveTo>
                    <a:pt x="2" y="7"/>
                  </a:moveTo>
                  <a:cubicBezTo>
                    <a:pt x="1" y="9"/>
                    <a:pt x="0" y="12"/>
                    <a:pt x="1" y="14"/>
                  </a:cubicBezTo>
                  <a:cubicBezTo>
                    <a:pt x="2" y="15"/>
                    <a:pt x="5" y="15"/>
                    <a:pt x="6" y="14"/>
                  </a:cubicBezTo>
                  <a:cubicBezTo>
                    <a:pt x="10" y="14"/>
                    <a:pt x="13" y="13"/>
                    <a:pt x="16" y="12"/>
                  </a:cubicBezTo>
                  <a:cubicBezTo>
                    <a:pt x="19" y="12"/>
                    <a:pt x="21" y="11"/>
                    <a:pt x="24" y="11"/>
                  </a:cubicBezTo>
                  <a:cubicBezTo>
                    <a:pt x="26" y="10"/>
                    <a:pt x="28" y="9"/>
                    <a:pt x="30" y="9"/>
                  </a:cubicBezTo>
                  <a:cubicBezTo>
                    <a:pt x="30" y="9"/>
                    <a:pt x="32" y="9"/>
                    <a:pt x="32" y="9"/>
                  </a:cubicBezTo>
                  <a:cubicBezTo>
                    <a:pt x="31" y="7"/>
                    <a:pt x="30" y="5"/>
                    <a:pt x="29" y="3"/>
                  </a:cubicBezTo>
                  <a:cubicBezTo>
                    <a:pt x="27" y="2"/>
                    <a:pt x="24" y="3"/>
                    <a:pt x="22" y="3"/>
                  </a:cubicBezTo>
                  <a:cubicBezTo>
                    <a:pt x="20" y="2"/>
                    <a:pt x="19" y="1"/>
                    <a:pt x="18" y="0"/>
                  </a:cubicBezTo>
                  <a:cubicBezTo>
                    <a:pt x="16" y="0"/>
                    <a:pt x="14" y="0"/>
                    <a:pt x="14" y="1"/>
                  </a:cubicBezTo>
                  <a:cubicBezTo>
                    <a:pt x="13" y="2"/>
                    <a:pt x="15" y="4"/>
                    <a:pt x="16" y="5"/>
                  </a:cubicBezTo>
                  <a:cubicBezTo>
                    <a:pt x="17" y="6"/>
                    <a:pt x="20" y="6"/>
                    <a:pt x="19" y="7"/>
                  </a:cubicBezTo>
                  <a:cubicBezTo>
                    <a:pt x="19" y="9"/>
                    <a:pt x="16" y="9"/>
                    <a:pt x="15" y="8"/>
                  </a:cubicBezTo>
                  <a:cubicBezTo>
                    <a:pt x="13" y="8"/>
                    <a:pt x="12" y="5"/>
                    <a:pt x="10" y="5"/>
                  </a:cubicBezTo>
                  <a:cubicBezTo>
                    <a:pt x="9" y="4"/>
                    <a:pt x="7" y="5"/>
                    <a:pt x="6" y="5"/>
                  </a:cubicBezTo>
                  <a:cubicBezTo>
                    <a:pt x="4" y="6"/>
                    <a:pt x="2" y="5"/>
                    <a:pt x="2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8" name="Freeform 418"/>
            <p:cNvSpPr>
              <a:spLocks noChangeAspect="1"/>
            </p:cNvSpPr>
            <p:nvPr/>
          </p:nvSpPr>
          <p:spPr bwMode="auto">
            <a:xfrm>
              <a:off x="7400925" y="4454525"/>
              <a:ext cx="52388" cy="30163"/>
            </a:xfrm>
            <a:custGeom>
              <a:avLst/>
              <a:gdLst>
                <a:gd name="T0" fmla="*/ 5821 w 27"/>
                <a:gd name="T1" fmla="*/ 3770 h 16"/>
                <a:gd name="T2" fmla="*/ 25224 w 27"/>
                <a:gd name="T3" fmla="*/ 1885 h 16"/>
                <a:gd name="T4" fmla="*/ 40746 w 27"/>
                <a:gd name="T5" fmla="*/ 11311 h 16"/>
                <a:gd name="T6" fmla="*/ 52388 w 27"/>
                <a:gd name="T7" fmla="*/ 22622 h 16"/>
                <a:gd name="T8" fmla="*/ 42687 w 27"/>
                <a:gd name="T9" fmla="*/ 30163 h 16"/>
                <a:gd name="T10" fmla="*/ 29104 w 27"/>
                <a:gd name="T11" fmla="*/ 22622 h 16"/>
                <a:gd name="T12" fmla="*/ 13582 w 27"/>
                <a:gd name="T13" fmla="*/ 15082 h 16"/>
                <a:gd name="T14" fmla="*/ 1940 w 27"/>
                <a:gd name="T15" fmla="*/ 11311 h 16"/>
                <a:gd name="T16" fmla="*/ 5821 w 27"/>
                <a:gd name="T17" fmla="*/ 377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"/>
                <a:gd name="T28" fmla="*/ 0 h 16"/>
                <a:gd name="T29" fmla="*/ 27 w 27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" h="16">
                  <a:moveTo>
                    <a:pt x="3" y="2"/>
                  </a:moveTo>
                  <a:cubicBezTo>
                    <a:pt x="6" y="1"/>
                    <a:pt x="10" y="0"/>
                    <a:pt x="13" y="1"/>
                  </a:cubicBezTo>
                  <a:cubicBezTo>
                    <a:pt x="16" y="2"/>
                    <a:pt x="19" y="4"/>
                    <a:pt x="21" y="6"/>
                  </a:cubicBezTo>
                  <a:cubicBezTo>
                    <a:pt x="23" y="7"/>
                    <a:pt x="26" y="9"/>
                    <a:pt x="27" y="12"/>
                  </a:cubicBezTo>
                  <a:cubicBezTo>
                    <a:pt x="27" y="14"/>
                    <a:pt x="24" y="16"/>
                    <a:pt x="22" y="16"/>
                  </a:cubicBezTo>
                  <a:cubicBezTo>
                    <a:pt x="19" y="16"/>
                    <a:pt x="17" y="13"/>
                    <a:pt x="15" y="12"/>
                  </a:cubicBezTo>
                  <a:cubicBezTo>
                    <a:pt x="12" y="11"/>
                    <a:pt x="10" y="9"/>
                    <a:pt x="7" y="8"/>
                  </a:cubicBezTo>
                  <a:cubicBezTo>
                    <a:pt x="5" y="7"/>
                    <a:pt x="2" y="8"/>
                    <a:pt x="1" y="6"/>
                  </a:cubicBezTo>
                  <a:cubicBezTo>
                    <a:pt x="0" y="5"/>
                    <a:pt x="2" y="3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19" name="Freeform 419"/>
            <p:cNvSpPr>
              <a:spLocks noChangeAspect="1"/>
            </p:cNvSpPr>
            <p:nvPr/>
          </p:nvSpPr>
          <p:spPr bwMode="auto">
            <a:xfrm>
              <a:off x="7424738" y="4422775"/>
              <a:ext cx="88900" cy="23813"/>
            </a:xfrm>
            <a:custGeom>
              <a:avLst/>
              <a:gdLst>
                <a:gd name="T0" fmla="*/ 18915 w 47"/>
                <a:gd name="T1" fmla="*/ 0 h 12"/>
                <a:gd name="T2" fmla="*/ 35938 w 47"/>
                <a:gd name="T3" fmla="*/ 5953 h 12"/>
                <a:gd name="T4" fmla="*/ 43504 w 47"/>
                <a:gd name="T5" fmla="*/ 11907 h 12"/>
                <a:gd name="T6" fmla="*/ 52962 w 47"/>
                <a:gd name="T7" fmla="*/ 5953 h 12"/>
                <a:gd name="T8" fmla="*/ 64311 w 47"/>
                <a:gd name="T9" fmla="*/ 11907 h 12"/>
                <a:gd name="T10" fmla="*/ 71877 w 47"/>
                <a:gd name="T11" fmla="*/ 5953 h 12"/>
                <a:gd name="T12" fmla="*/ 79443 w 47"/>
                <a:gd name="T13" fmla="*/ 1984 h 12"/>
                <a:gd name="T14" fmla="*/ 83226 w 47"/>
                <a:gd name="T15" fmla="*/ 3969 h 12"/>
                <a:gd name="T16" fmla="*/ 88900 w 47"/>
                <a:gd name="T17" fmla="*/ 1984 h 12"/>
                <a:gd name="T18" fmla="*/ 81334 w 47"/>
                <a:gd name="T19" fmla="*/ 7938 h 12"/>
                <a:gd name="T20" fmla="*/ 73768 w 47"/>
                <a:gd name="T21" fmla="*/ 9922 h 12"/>
                <a:gd name="T22" fmla="*/ 66202 w 47"/>
                <a:gd name="T23" fmla="*/ 13891 h 12"/>
                <a:gd name="T24" fmla="*/ 51070 w 47"/>
                <a:gd name="T25" fmla="*/ 17860 h 12"/>
                <a:gd name="T26" fmla="*/ 43504 w 47"/>
                <a:gd name="T27" fmla="*/ 17860 h 12"/>
                <a:gd name="T28" fmla="*/ 30264 w 47"/>
                <a:gd name="T29" fmla="*/ 23813 h 12"/>
                <a:gd name="T30" fmla="*/ 1891 w 47"/>
                <a:gd name="T31" fmla="*/ 13891 h 12"/>
                <a:gd name="T32" fmla="*/ 7566 w 47"/>
                <a:gd name="T33" fmla="*/ 5953 h 12"/>
                <a:gd name="T34" fmla="*/ 18915 w 47"/>
                <a:gd name="T35" fmla="*/ 0 h 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7"/>
                <a:gd name="T55" fmla="*/ 0 h 12"/>
                <a:gd name="T56" fmla="*/ 47 w 47"/>
                <a:gd name="T57" fmla="*/ 12 h 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7" h="12">
                  <a:moveTo>
                    <a:pt x="10" y="0"/>
                  </a:moveTo>
                  <a:cubicBezTo>
                    <a:pt x="13" y="1"/>
                    <a:pt x="16" y="2"/>
                    <a:pt x="19" y="3"/>
                  </a:cubicBezTo>
                  <a:cubicBezTo>
                    <a:pt x="20" y="4"/>
                    <a:pt x="21" y="6"/>
                    <a:pt x="23" y="6"/>
                  </a:cubicBezTo>
                  <a:cubicBezTo>
                    <a:pt x="25" y="6"/>
                    <a:pt x="26" y="3"/>
                    <a:pt x="28" y="3"/>
                  </a:cubicBezTo>
                  <a:cubicBezTo>
                    <a:pt x="30" y="3"/>
                    <a:pt x="32" y="6"/>
                    <a:pt x="34" y="6"/>
                  </a:cubicBezTo>
                  <a:cubicBezTo>
                    <a:pt x="36" y="6"/>
                    <a:pt x="37" y="4"/>
                    <a:pt x="38" y="3"/>
                  </a:cubicBezTo>
                  <a:cubicBezTo>
                    <a:pt x="39" y="2"/>
                    <a:pt x="40" y="1"/>
                    <a:pt x="42" y="1"/>
                  </a:cubicBezTo>
                  <a:cubicBezTo>
                    <a:pt x="42" y="1"/>
                    <a:pt x="43" y="2"/>
                    <a:pt x="44" y="2"/>
                  </a:cubicBezTo>
                  <a:cubicBezTo>
                    <a:pt x="45" y="2"/>
                    <a:pt x="47" y="0"/>
                    <a:pt x="47" y="1"/>
                  </a:cubicBezTo>
                  <a:cubicBezTo>
                    <a:pt x="46" y="2"/>
                    <a:pt x="45" y="3"/>
                    <a:pt x="43" y="4"/>
                  </a:cubicBezTo>
                  <a:cubicBezTo>
                    <a:pt x="42" y="4"/>
                    <a:pt x="40" y="5"/>
                    <a:pt x="39" y="5"/>
                  </a:cubicBezTo>
                  <a:cubicBezTo>
                    <a:pt x="38" y="6"/>
                    <a:pt x="37" y="7"/>
                    <a:pt x="35" y="7"/>
                  </a:cubicBezTo>
                  <a:cubicBezTo>
                    <a:pt x="32" y="8"/>
                    <a:pt x="30" y="9"/>
                    <a:pt x="27" y="9"/>
                  </a:cubicBezTo>
                  <a:cubicBezTo>
                    <a:pt x="25" y="10"/>
                    <a:pt x="24" y="9"/>
                    <a:pt x="23" y="9"/>
                  </a:cubicBezTo>
                  <a:cubicBezTo>
                    <a:pt x="20" y="10"/>
                    <a:pt x="18" y="12"/>
                    <a:pt x="16" y="12"/>
                  </a:cubicBezTo>
                  <a:cubicBezTo>
                    <a:pt x="11" y="11"/>
                    <a:pt x="5" y="10"/>
                    <a:pt x="1" y="7"/>
                  </a:cubicBezTo>
                  <a:cubicBezTo>
                    <a:pt x="0" y="6"/>
                    <a:pt x="2" y="4"/>
                    <a:pt x="4" y="3"/>
                  </a:cubicBezTo>
                  <a:cubicBezTo>
                    <a:pt x="5" y="1"/>
                    <a:pt x="8" y="0"/>
                    <a:pt x="1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0" name="Freeform 420"/>
            <p:cNvSpPr>
              <a:spLocks noChangeAspect="1"/>
            </p:cNvSpPr>
            <p:nvPr/>
          </p:nvSpPr>
          <p:spPr bwMode="auto">
            <a:xfrm>
              <a:off x="7881938" y="4654550"/>
              <a:ext cx="9525" cy="9525"/>
            </a:xfrm>
            <a:custGeom>
              <a:avLst/>
              <a:gdLst>
                <a:gd name="T0" fmla="*/ 7620 w 5"/>
                <a:gd name="T1" fmla="*/ 7620 h 5"/>
                <a:gd name="T2" fmla="*/ 1905 w 5"/>
                <a:gd name="T3" fmla="*/ 7620 h 5"/>
                <a:gd name="T4" fmla="*/ 0 w 5"/>
                <a:gd name="T5" fmla="*/ 3810 h 5"/>
                <a:gd name="T6" fmla="*/ 5715 w 5"/>
                <a:gd name="T7" fmla="*/ 0 h 5"/>
                <a:gd name="T8" fmla="*/ 7620 w 5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4"/>
                  </a:moveTo>
                  <a:cubicBezTo>
                    <a:pt x="3" y="4"/>
                    <a:pt x="2" y="5"/>
                    <a:pt x="1" y="4"/>
                  </a:cubicBezTo>
                  <a:cubicBezTo>
                    <a:pt x="0" y="4"/>
                    <a:pt x="0" y="2"/>
                    <a:pt x="0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5" y="1"/>
                    <a:pt x="4" y="3"/>
                    <a:pt x="4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1" name="Freeform 421"/>
            <p:cNvSpPr>
              <a:spLocks noChangeAspect="1"/>
            </p:cNvSpPr>
            <p:nvPr/>
          </p:nvSpPr>
          <p:spPr bwMode="auto">
            <a:xfrm>
              <a:off x="7227888" y="4913313"/>
              <a:ext cx="6350" cy="17462"/>
            </a:xfrm>
            <a:custGeom>
              <a:avLst/>
              <a:gdLst>
                <a:gd name="T0" fmla="*/ 6350 w 3"/>
                <a:gd name="T1" fmla="*/ 9701 h 9"/>
                <a:gd name="T2" fmla="*/ 4233 w 3"/>
                <a:gd name="T3" fmla="*/ 17462 h 9"/>
                <a:gd name="T4" fmla="*/ 2117 w 3"/>
                <a:gd name="T5" fmla="*/ 9701 h 9"/>
                <a:gd name="T6" fmla="*/ 2117 w 3"/>
                <a:gd name="T7" fmla="*/ 0 h 9"/>
                <a:gd name="T8" fmla="*/ 6350 w 3"/>
                <a:gd name="T9" fmla="*/ 970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5"/>
                  </a:moveTo>
                  <a:cubicBezTo>
                    <a:pt x="3" y="7"/>
                    <a:pt x="3" y="9"/>
                    <a:pt x="2" y="9"/>
                  </a:cubicBezTo>
                  <a:cubicBezTo>
                    <a:pt x="2" y="9"/>
                    <a:pt x="1" y="6"/>
                    <a:pt x="1" y="5"/>
                  </a:cubicBezTo>
                  <a:cubicBezTo>
                    <a:pt x="1" y="3"/>
                    <a:pt x="0" y="0"/>
                    <a:pt x="1" y="0"/>
                  </a:cubicBezTo>
                  <a:cubicBezTo>
                    <a:pt x="2" y="0"/>
                    <a:pt x="2" y="3"/>
                    <a:pt x="3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2" name="Freeform 422"/>
            <p:cNvSpPr>
              <a:spLocks noChangeAspect="1"/>
            </p:cNvSpPr>
            <p:nvPr/>
          </p:nvSpPr>
          <p:spPr bwMode="auto">
            <a:xfrm>
              <a:off x="7239000" y="4911725"/>
              <a:ext cx="6350" cy="19050"/>
            </a:xfrm>
            <a:custGeom>
              <a:avLst/>
              <a:gdLst>
                <a:gd name="T0" fmla="*/ 6350 w 3"/>
                <a:gd name="T1" fmla="*/ 11430 h 10"/>
                <a:gd name="T2" fmla="*/ 6350 w 3"/>
                <a:gd name="T3" fmla="*/ 19050 h 10"/>
                <a:gd name="T4" fmla="*/ 2117 w 3"/>
                <a:gd name="T5" fmla="*/ 11430 h 10"/>
                <a:gd name="T6" fmla="*/ 2117 w 3"/>
                <a:gd name="T7" fmla="*/ 1905 h 10"/>
                <a:gd name="T8" fmla="*/ 6350 w 3"/>
                <a:gd name="T9" fmla="*/ 1143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0"/>
                <a:gd name="T17" fmla="*/ 3 w 3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0">
                  <a:moveTo>
                    <a:pt x="3" y="6"/>
                  </a:moveTo>
                  <a:cubicBezTo>
                    <a:pt x="3" y="7"/>
                    <a:pt x="3" y="10"/>
                    <a:pt x="3" y="10"/>
                  </a:cubicBezTo>
                  <a:cubicBezTo>
                    <a:pt x="2" y="9"/>
                    <a:pt x="1" y="7"/>
                    <a:pt x="1" y="6"/>
                  </a:cubicBezTo>
                  <a:cubicBezTo>
                    <a:pt x="1" y="4"/>
                    <a:pt x="0" y="0"/>
                    <a:pt x="1" y="1"/>
                  </a:cubicBezTo>
                  <a:cubicBezTo>
                    <a:pt x="2" y="1"/>
                    <a:pt x="2" y="4"/>
                    <a:pt x="3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3" name="Freeform 423"/>
            <p:cNvSpPr>
              <a:spLocks noChangeAspect="1"/>
            </p:cNvSpPr>
            <p:nvPr/>
          </p:nvSpPr>
          <p:spPr bwMode="auto">
            <a:xfrm>
              <a:off x="7978775" y="5356225"/>
              <a:ext cx="9525" cy="4763"/>
            </a:xfrm>
            <a:custGeom>
              <a:avLst/>
              <a:gdLst>
                <a:gd name="T0" fmla="*/ 3810 w 5"/>
                <a:gd name="T1" fmla="*/ 4763 h 2"/>
                <a:gd name="T2" fmla="*/ 1905 w 5"/>
                <a:gd name="T3" fmla="*/ 2382 h 2"/>
                <a:gd name="T4" fmla="*/ 5715 w 5"/>
                <a:gd name="T5" fmla="*/ 0 h 2"/>
                <a:gd name="T6" fmla="*/ 9525 w 5"/>
                <a:gd name="T7" fmla="*/ 2382 h 2"/>
                <a:gd name="T8" fmla="*/ 3810 w 5"/>
                <a:gd name="T9" fmla="*/ 476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2" y="2"/>
                  </a:moveTo>
                  <a:cubicBezTo>
                    <a:pt x="2" y="2"/>
                    <a:pt x="0" y="2"/>
                    <a:pt x="1" y="1"/>
                  </a:cubicBezTo>
                  <a:cubicBezTo>
                    <a:pt x="1" y="1"/>
                    <a:pt x="2" y="1"/>
                    <a:pt x="3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5" y="2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4" name="Freeform 424"/>
            <p:cNvSpPr>
              <a:spLocks noChangeAspect="1"/>
            </p:cNvSpPr>
            <p:nvPr/>
          </p:nvSpPr>
          <p:spPr bwMode="auto">
            <a:xfrm>
              <a:off x="7883525" y="5332413"/>
              <a:ext cx="11113" cy="17462"/>
            </a:xfrm>
            <a:custGeom>
              <a:avLst/>
              <a:gdLst>
                <a:gd name="T0" fmla="*/ 7409 w 6"/>
                <a:gd name="T1" fmla="*/ 11641 h 9"/>
                <a:gd name="T2" fmla="*/ 1852 w 6"/>
                <a:gd name="T3" fmla="*/ 17462 h 9"/>
                <a:gd name="T4" fmla="*/ 1852 w 6"/>
                <a:gd name="T5" fmla="*/ 7761 h 9"/>
                <a:gd name="T6" fmla="*/ 7409 w 6"/>
                <a:gd name="T7" fmla="*/ 1940 h 9"/>
                <a:gd name="T8" fmla="*/ 7409 w 6"/>
                <a:gd name="T9" fmla="*/ 1164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4" y="6"/>
                  </a:moveTo>
                  <a:cubicBezTo>
                    <a:pt x="3" y="7"/>
                    <a:pt x="2" y="9"/>
                    <a:pt x="1" y="9"/>
                  </a:cubicBezTo>
                  <a:cubicBezTo>
                    <a:pt x="0" y="8"/>
                    <a:pt x="1" y="6"/>
                    <a:pt x="1" y="4"/>
                  </a:cubicBezTo>
                  <a:cubicBezTo>
                    <a:pt x="2" y="3"/>
                    <a:pt x="3" y="0"/>
                    <a:pt x="4" y="1"/>
                  </a:cubicBezTo>
                  <a:cubicBezTo>
                    <a:pt x="6" y="2"/>
                    <a:pt x="4" y="4"/>
                    <a:pt x="4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5" name="Freeform 425"/>
            <p:cNvSpPr>
              <a:spLocks noChangeAspect="1"/>
            </p:cNvSpPr>
            <p:nvPr/>
          </p:nvSpPr>
          <p:spPr bwMode="auto">
            <a:xfrm>
              <a:off x="8178800" y="4964113"/>
              <a:ext cx="4763" cy="11112"/>
            </a:xfrm>
            <a:custGeom>
              <a:avLst/>
              <a:gdLst>
                <a:gd name="T0" fmla="*/ 3175 w 3"/>
                <a:gd name="T1" fmla="*/ 7408 h 6"/>
                <a:gd name="T2" fmla="*/ 1588 w 3"/>
                <a:gd name="T3" fmla="*/ 11112 h 6"/>
                <a:gd name="T4" fmla="*/ 1588 w 3"/>
                <a:gd name="T5" fmla="*/ 5556 h 6"/>
                <a:gd name="T6" fmla="*/ 3175 w 3"/>
                <a:gd name="T7" fmla="*/ 1852 h 6"/>
                <a:gd name="T8" fmla="*/ 3175 w 3"/>
                <a:gd name="T9" fmla="*/ 7408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2" y="4"/>
                  </a:moveTo>
                  <a:cubicBezTo>
                    <a:pt x="2" y="5"/>
                    <a:pt x="1" y="6"/>
                    <a:pt x="1" y="6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2"/>
                    <a:pt x="2" y="0"/>
                    <a:pt x="2" y="1"/>
                  </a:cubicBezTo>
                  <a:cubicBezTo>
                    <a:pt x="3" y="1"/>
                    <a:pt x="2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6" name="Freeform 426"/>
            <p:cNvSpPr>
              <a:spLocks noChangeAspect="1"/>
            </p:cNvSpPr>
            <p:nvPr/>
          </p:nvSpPr>
          <p:spPr bwMode="auto">
            <a:xfrm>
              <a:off x="7824788" y="4506913"/>
              <a:ext cx="6350" cy="7937"/>
            </a:xfrm>
            <a:custGeom>
              <a:avLst/>
              <a:gdLst>
                <a:gd name="T0" fmla="*/ 3175 w 4"/>
                <a:gd name="T1" fmla="*/ 5953 h 4"/>
                <a:gd name="T2" fmla="*/ 0 w 4"/>
                <a:gd name="T3" fmla="*/ 7937 h 4"/>
                <a:gd name="T4" fmla="*/ 1588 w 4"/>
                <a:gd name="T5" fmla="*/ 3969 h 4"/>
                <a:gd name="T6" fmla="*/ 4762 w 4"/>
                <a:gd name="T7" fmla="*/ 0 h 4"/>
                <a:gd name="T8" fmla="*/ 3175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1" y="3"/>
                    <a:pt x="0" y="4"/>
                    <a:pt x="0" y="4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7" name="Freeform 427"/>
            <p:cNvSpPr>
              <a:spLocks noChangeAspect="1"/>
            </p:cNvSpPr>
            <p:nvPr/>
          </p:nvSpPr>
          <p:spPr bwMode="auto">
            <a:xfrm>
              <a:off x="7815263" y="4516438"/>
              <a:ext cx="6350" cy="7937"/>
            </a:xfrm>
            <a:custGeom>
              <a:avLst/>
              <a:gdLst>
                <a:gd name="T0" fmla="*/ 3175 w 4"/>
                <a:gd name="T1" fmla="*/ 5953 h 4"/>
                <a:gd name="T2" fmla="*/ 0 w 4"/>
                <a:gd name="T3" fmla="*/ 7937 h 4"/>
                <a:gd name="T4" fmla="*/ 1588 w 4"/>
                <a:gd name="T5" fmla="*/ 3969 h 4"/>
                <a:gd name="T6" fmla="*/ 4762 w 4"/>
                <a:gd name="T7" fmla="*/ 0 h 4"/>
                <a:gd name="T8" fmla="*/ 3175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2" y="3"/>
                    <a:pt x="1" y="4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1"/>
                    <a:pt x="3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8" name="Freeform 428"/>
            <p:cNvSpPr>
              <a:spLocks noChangeAspect="1"/>
            </p:cNvSpPr>
            <p:nvPr/>
          </p:nvSpPr>
          <p:spPr bwMode="auto">
            <a:xfrm>
              <a:off x="7797800" y="4524375"/>
              <a:ext cx="7938" cy="9525"/>
            </a:xfrm>
            <a:custGeom>
              <a:avLst/>
              <a:gdLst>
                <a:gd name="T0" fmla="*/ 3969 w 4"/>
                <a:gd name="T1" fmla="*/ 7620 h 5"/>
                <a:gd name="T2" fmla="*/ 1985 w 4"/>
                <a:gd name="T3" fmla="*/ 7620 h 5"/>
                <a:gd name="T4" fmla="*/ 3969 w 4"/>
                <a:gd name="T5" fmla="*/ 3810 h 5"/>
                <a:gd name="T6" fmla="*/ 7938 w 4"/>
                <a:gd name="T7" fmla="*/ 1905 h 5"/>
                <a:gd name="T8" fmla="*/ 3969 w 4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cubicBezTo>
                    <a:pt x="2" y="4"/>
                    <a:pt x="1" y="5"/>
                    <a:pt x="1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3" y="0"/>
                    <a:pt x="4" y="1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29" name="Freeform 429"/>
            <p:cNvSpPr>
              <a:spLocks noChangeAspect="1"/>
            </p:cNvSpPr>
            <p:nvPr/>
          </p:nvSpPr>
          <p:spPr bwMode="auto">
            <a:xfrm>
              <a:off x="8520113" y="4765675"/>
              <a:ext cx="3175" cy="9525"/>
            </a:xfrm>
            <a:custGeom>
              <a:avLst/>
              <a:gdLst>
                <a:gd name="T0" fmla="*/ 3175 w 2"/>
                <a:gd name="T1" fmla="*/ 5715 h 5"/>
                <a:gd name="T2" fmla="*/ 1588 w 2"/>
                <a:gd name="T3" fmla="*/ 9525 h 5"/>
                <a:gd name="T4" fmla="*/ 0 w 2"/>
                <a:gd name="T5" fmla="*/ 3810 h 5"/>
                <a:gd name="T6" fmla="*/ 3175 w 2"/>
                <a:gd name="T7" fmla="*/ 0 h 5"/>
                <a:gd name="T8" fmla="*/ 3175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1" y="4"/>
                    <a:pt x="1" y="5"/>
                    <a:pt x="1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0" name="Freeform 430"/>
            <p:cNvSpPr>
              <a:spLocks noChangeAspect="1"/>
            </p:cNvSpPr>
            <p:nvPr/>
          </p:nvSpPr>
          <p:spPr bwMode="auto">
            <a:xfrm>
              <a:off x="8575675" y="4613275"/>
              <a:ext cx="3175" cy="15875"/>
            </a:xfrm>
            <a:custGeom>
              <a:avLst/>
              <a:gdLst>
                <a:gd name="T0" fmla="*/ 3175 w 2"/>
                <a:gd name="T1" fmla="*/ 9922 h 8"/>
                <a:gd name="T2" fmla="*/ 1588 w 2"/>
                <a:gd name="T3" fmla="*/ 13891 h 8"/>
                <a:gd name="T4" fmla="*/ 0 w 2"/>
                <a:gd name="T5" fmla="*/ 7938 h 8"/>
                <a:gd name="T6" fmla="*/ 1588 w 2"/>
                <a:gd name="T7" fmla="*/ 0 h 8"/>
                <a:gd name="T8" fmla="*/ 3175 w 2"/>
                <a:gd name="T9" fmla="*/ 9922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2" y="5"/>
                  </a:moveTo>
                  <a:cubicBezTo>
                    <a:pt x="2" y="6"/>
                    <a:pt x="1" y="8"/>
                    <a:pt x="1" y="7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0" y="0"/>
                    <a:pt x="1" y="0"/>
                  </a:cubicBezTo>
                  <a:cubicBezTo>
                    <a:pt x="2" y="1"/>
                    <a:pt x="2" y="3"/>
                    <a:pt x="2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1" name="Freeform 431"/>
            <p:cNvSpPr>
              <a:spLocks noChangeAspect="1"/>
            </p:cNvSpPr>
            <p:nvPr/>
          </p:nvSpPr>
          <p:spPr bwMode="auto">
            <a:xfrm>
              <a:off x="8575675" y="4632325"/>
              <a:ext cx="3175" cy="12700"/>
            </a:xfrm>
            <a:custGeom>
              <a:avLst/>
              <a:gdLst>
                <a:gd name="T0" fmla="*/ 3175 w 2"/>
                <a:gd name="T1" fmla="*/ 8467 h 6"/>
                <a:gd name="T2" fmla="*/ 1588 w 2"/>
                <a:gd name="T3" fmla="*/ 12700 h 6"/>
                <a:gd name="T4" fmla="*/ 0 w 2"/>
                <a:gd name="T5" fmla="*/ 6350 h 6"/>
                <a:gd name="T6" fmla="*/ 1588 w 2"/>
                <a:gd name="T7" fmla="*/ 0 h 6"/>
                <a:gd name="T8" fmla="*/ 3175 w 2"/>
                <a:gd name="T9" fmla="*/ 846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2" y="4"/>
                  </a:moveTo>
                  <a:cubicBezTo>
                    <a:pt x="2" y="4"/>
                    <a:pt x="1" y="6"/>
                    <a:pt x="1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2" name="Freeform 432"/>
            <p:cNvSpPr>
              <a:spLocks noChangeAspect="1"/>
            </p:cNvSpPr>
            <p:nvPr/>
          </p:nvSpPr>
          <p:spPr bwMode="auto">
            <a:xfrm>
              <a:off x="8799513" y="4724400"/>
              <a:ext cx="7937" cy="9525"/>
            </a:xfrm>
            <a:custGeom>
              <a:avLst/>
              <a:gdLst>
                <a:gd name="T0" fmla="*/ 3969 w 4"/>
                <a:gd name="T1" fmla="*/ 5715 h 5"/>
                <a:gd name="T2" fmla="*/ 1984 w 4"/>
                <a:gd name="T3" fmla="*/ 7620 h 5"/>
                <a:gd name="T4" fmla="*/ 3969 w 4"/>
                <a:gd name="T5" fmla="*/ 3810 h 5"/>
                <a:gd name="T6" fmla="*/ 7937 w 4"/>
                <a:gd name="T7" fmla="*/ 1905 h 5"/>
                <a:gd name="T8" fmla="*/ 3969 w 4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3"/>
                  </a:moveTo>
                  <a:cubicBezTo>
                    <a:pt x="2" y="4"/>
                    <a:pt x="1" y="5"/>
                    <a:pt x="1" y="4"/>
                  </a:cubicBezTo>
                  <a:cubicBezTo>
                    <a:pt x="0" y="4"/>
                    <a:pt x="1" y="3"/>
                    <a:pt x="2" y="2"/>
                  </a:cubicBezTo>
                  <a:cubicBezTo>
                    <a:pt x="2" y="2"/>
                    <a:pt x="4" y="0"/>
                    <a:pt x="4" y="1"/>
                  </a:cubicBezTo>
                  <a:cubicBezTo>
                    <a:pt x="4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3" name="Freeform 433"/>
            <p:cNvSpPr>
              <a:spLocks noChangeAspect="1"/>
            </p:cNvSpPr>
            <p:nvPr/>
          </p:nvSpPr>
          <p:spPr bwMode="auto">
            <a:xfrm>
              <a:off x="7562850" y="3913188"/>
              <a:ext cx="4763" cy="15875"/>
            </a:xfrm>
            <a:custGeom>
              <a:avLst/>
              <a:gdLst>
                <a:gd name="T0" fmla="*/ 4763 w 2"/>
                <a:gd name="T1" fmla="*/ 10583 h 9"/>
                <a:gd name="T2" fmla="*/ 2382 w 2"/>
                <a:gd name="T3" fmla="*/ 15875 h 9"/>
                <a:gd name="T4" fmla="*/ 0 w 2"/>
                <a:gd name="T5" fmla="*/ 8819 h 9"/>
                <a:gd name="T6" fmla="*/ 2382 w 2"/>
                <a:gd name="T7" fmla="*/ 1764 h 9"/>
                <a:gd name="T8" fmla="*/ 4763 w 2"/>
                <a:gd name="T9" fmla="*/ 10583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9"/>
                <a:gd name="T17" fmla="*/ 2 w 2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9">
                  <a:moveTo>
                    <a:pt x="2" y="6"/>
                  </a:moveTo>
                  <a:cubicBezTo>
                    <a:pt x="2" y="7"/>
                    <a:pt x="2" y="9"/>
                    <a:pt x="1" y="9"/>
                  </a:cubicBezTo>
                  <a:cubicBezTo>
                    <a:pt x="0" y="8"/>
                    <a:pt x="0" y="6"/>
                    <a:pt x="0" y="5"/>
                  </a:cubicBezTo>
                  <a:cubicBezTo>
                    <a:pt x="0" y="3"/>
                    <a:pt x="0" y="0"/>
                    <a:pt x="1" y="1"/>
                  </a:cubicBezTo>
                  <a:cubicBezTo>
                    <a:pt x="2" y="1"/>
                    <a:pt x="2" y="4"/>
                    <a:pt x="2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4" name="Freeform 434"/>
            <p:cNvSpPr>
              <a:spLocks noChangeAspect="1"/>
            </p:cNvSpPr>
            <p:nvPr/>
          </p:nvSpPr>
          <p:spPr bwMode="auto">
            <a:xfrm>
              <a:off x="7494588" y="3840163"/>
              <a:ext cx="6350" cy="7937"/>
            </a:xfrm>
            <a:custGeom>
              <a:avLst/>
              <a:gdLst>
                <a:gd name="T0" fmla="*/ 6350 w 3"/>
                <a:gd name="T1" fmla="*/ 3969 h 4"/>
                <a:gd name="T2" fmla="*/ 6350 w 3"/>
                <a:gd name="T3" fmla="*/ 7937 h 4"/>
                <a:gd name="T4" fmla="*/ 2117 w 3"/>
                <a:gd name="T5" fmla="*/ 3969 h 4"/>
                <a:gd name="T6" fmla="*/ 2117 w 3"/>
                <a:gd name="T7" fmla="*/ 0 h 4"/>
                <a:gd name="T8" fmla="*/ 6350 w 3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2"/>
                  </a:moveTo>
                  <a:cubicBezTo>
                    <a:pt x="3" y="2"/>
                    <a:pt x="3" y="3"/>
                    <a:pt x="3" y="4"/>
                  </a:cubicBezTo>
                  <a:cubicBezTo>
                    <a:pt x="2" y="4"/>
                    <a:pt x="2" y="3"/>
                    <a:pt x="1" y="2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5" name="Freeform 435"/>
            <p:cNvSpPr>
              <a:spLocks noChangeAspect="1"/>
            </p:cNvSpPr>
            <p:nvPr/>
          </p:nvSpPr>
          <p:spPr bwMode="auto">
            <a:xfrm>
              <a:off x="7472363" y="3856038"/>
              <a:ext cx="3175" cy="9525"/>
            </a:xfrm>
            <a:custGeom>
              <a:avLst/>
              <a:gdLst>
                <a:gd name="T0" fmla="*/ 1588 w 2"/>
                <a:gd name="T1" fmla="*/ 7620 h 5"/>
                <a:gd name="T2" fmla="*/ 0 w 2"/>
                <a:gd name="T3" fmla="*/ 9525 h 5"/>
                <a:gd name="T4" fmla="*/ 0 w 2"/>
                <a:gd name="T5" fmla="*/ 5715 h 5"/>
                <a:gd name="T6" fmla="*/ 1588 w 2"/>
                <a:gd name="T7" fmla="*/ 1905 h 5"/>
                <a:gd name="T8" fmla="*/ 1588 w 2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1" y="4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1" y="3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6" name="Freeform 436"/>
            <p:cNvSpPr>
              <a:spLocks noChangeAspect="1"/>
            </p:cNvSpPr>
            <p:nvPr/>
          </p:nvSpPr>
          <p:spPr bwMode="auto">
            <a:xfrm>
              <a:off x="8210550" y="4445000"/>
              <a:ext cx="9525" cy="6350"/>
            </a:xfrm>
            <a:custGeom>
              <a:avLst/>
              <a:gdLst>
                <a:gd name="T0" fmla="*/ 5715 w 5"/>
                <a:gd name="T1" fmla="*/ 3175 h 4"/>
                <a:gd name="T2" fmla="*/ 7620 w 5"/>
                <a:gd name="T3" fmla="*/ 4762 h 4"/>
                <a:gd name="T4" fmla="*/ 3810 w 5"/>
                <a:gd name="T5" fmla="*/ 3175 h 4"/>
                <a:gd name="T6" fmla="*/ 1905 w 5"/>
                <a:gd name="T7" fmla="*/ 0 h 4"/>
                <a:gd name="T8" fmla="*/ 5715 w 5"/>
                <a:gd name="T9" fmla="*/ 317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3" y="2"/>
                  </a:moveTo>
                  <a:cubicBezTo>
                    <a:pt x="4" y="2"/>
                    <a:pt x="5" y="3"/>
                    <a:pt x="4" y="3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2" y="2"/>
                    <a:pt x="0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7" name="Freeform 437"/>
            <p:cNvSpPr>
              <a:spLocks noChangeAspect="1"/>
            </p:cNvSpPr>
            <p:nvPr/>
          </p:nvSpPr>
          <p:spPr bwMode="auto">
            <a:xfrm>
              <a:off x="8210550" y="4445000"/>
              <a:ext cx="9525" cy="6350"/>
            </a:xfrm>
            <a:custGeom>
              <a:avLst/>
              <a:gdLst>
                <a:gd name="T0" fmla="*/ 5715 w 5"/>
                <a:gd name="T1" fmla="*/ 3175 h 4"/>
                <a:gd name="T2" fmla="*/ 7620 w 5"/>
                <a:gd name="T3" fmla="*/ 4762 h 4"/>
                <a:gd name="T4" fmla="*/ 3810 w 5"/>
                <a:gd name="T5" fmla="*/ 3175 h 4"/>
                <a:gd name="T6" fmla="*/ 1905 w 5"/>
                <a:gd name="T7" fmla="*/ 0 h 4"/>
                <a:gd name="T8" fmla="*/ 5715 w 5"/>
                <a:gd name="T9" fmla="*/ 317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3" y="2"/>
                  </a:moveTo>
                  <a:cubicBezTo>
                    <a:pt x="4" y="2"/>
                    <a:pt x="5" y="3"/>
                    <a:pt x="4" y="3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2" y="2"/>
                    <a:pt x="0" y="0"/>
                    <a:pt x="1" y="0"/>
                  </a:cubicBezTo>
                  <a:cubicBezTo>
                    <a:pt x="2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8" name="Freeform 438"/>
            <p:cNvSpPr>
              <a:spLocks noChangeAspect="1"/>
            </p:cNvSpPr>
            <p:nvPr/>
          </p:nvSpPr>
          <p:spPr bwMode="auto">
            <a:xfrm>
              <a:off x="8229600" y="4513263"/>
              <a:ext cx="9525" cy="4762"/>
            </a:xfrm>
            <a:custGeom>
              <a:avLst/>
              <a:gdLst>
                <a:gd name="T0" fmla="*/ 5715 w 5"/>
                <a:gd name="T1" fmla="*/ 1587 h 3"/>
                <a:gd name="T2" fmla="*/ 7620 w 5"/>
                <a:gd name="T3" fmla="*/ 4762 h 3"/>
                <a:gd name="T4" fmla="*/ 3810 w 5"/>
                <a:gd name="T5" fmla="*/ 3175 h 3"/>
                <a:gd name="T6" fmla="*/ 0 w 5"/>
                <a:gd name="T7" fmla="*/ 1587 h 3"/>
                <a:gd name="T8" fmla="*/ 5715 w 5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3" y="1"/>
                  </a:moveTo>
                  <a:cubicBezTo>
                    <a:pt x="4" y="1"/>
                    <a:pt x="5" y="2"/>
                    <a:pt x="4" y="3"/>
                  </a:cubicBezTo>
                  <a:cubicBezTo>
                    <a:pt x="4" y="3"/>
                    <a:pt x="3" y="3"/>
                    <a:pt x="2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2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39" name="Freeform 439"/>
            <p:cNvSpPr>
              <a:spLocks noChangeAspect="1"/>
            </p:cNvSpPr>
            <p:nvPr/>
          </p:nvSpPr>
          <p:spPr bwMode="auto">
            <a:xfrm>
              <a:off x="8169275" y="4468813"/>
              <a:ext cx="7938" cy="7937"/>
            </a:xfrm>
            <a:custGeom>
              <a:avLst/>
              <a:gdLst>
                <a:gd name="T0" fmla="*/ 5953 w 4"/>
                <a:gd name="T1" fmla="*/ 3969 h 4"/>
                <a:gd name="T2" fmla="*/ 7938 w 4"/>
                <a:gd name="T3" fmla="*/ 5953 h 4"/>
                <a:gd name="T4" fmla="*/ 1985 w 4"/>
                <a:gd name="T5" fmla="*/ 3969 h 4"/>
                <a:gd name="T6" fmla="*/ 0 w 4"/>
                <a:gd name="T7" fmla="*/ 0 h 4"/>
                <a:gd name="T8" fmla="*/ 5953 w 4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2"/>
                    <a:pt x="4" y="3"/>
                    <a:pt x="4" y="3"/>
                  </a:cubicBezTo>
                  <a:cubicBezTo>
                    <a:pt x="3" y="4"/>
                    <a:pt x="2" y="3"/>
                    <a:pt x="1" y="2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0" name="Freeform 440"/>
            <p:cNvSpPr>
              <a:spLocks noChangeAspect="1"/>
            </p:cNvSpPr>
            <p:nvPr/>
          </p:nvSpPr>
          <p:spPr bwMode="auto">
            <a:xfrm>
              <a:off x="8267700" y="4335463"/>
              <a:ext cx="4763" cy="9525"/>
            </a:xfrm>
            <a:custGeom>
              <a:avLst/>
              <a:gdLst>
                <a:gd name="T0" fmla="*/ 4763 w 2"/>
                <a:gd name="T1" fmla="*/ 7620 h 5"/>
                <a:gd name="T2" fmla="*/ 2382 w 2"/>
                <a:gd name="T3" fmla="*/ 9525 h 5"/>
                <a:gd name="T4" fmla="*/ 0 w 2"/>
                <a:gd name="T5" fmla="*/ 5715 h 5"/>
                <a:gd name="T6" fmla="*/ 2382 w 2"/>
                <a:gd name="T7" fmla="*/ 1905 h 5"/>
                <a:gd name="T8" fmla="*/ 4763 w 2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4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2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1" name="Freeform 441"/>
            <p:cNvSpPr>
              <a:spLocks noChangeAspect="1"/>
            </p:cNvSpPr>
            <p:nvPr/>
          </p:nvSpPr>
          <p:spPr bwMode="auto">
            <a:xfrm>
              <a:off x="7693025" y="4421188"/>
              <a:ext cx="7938" cy="9525"/>
            </a:xfrm>
            <a:custGeom>
              <a:avLst/>
              <a:gdLst>
                <a:gd name="T0" fmla="*/ 3969 w 4"/>
                <a:gd name="T1" fmla="*/ 7620 h 5"/>
                <a:gd name="T2" fmla="*/ 0 w 4"/>
                <a:gd name="T3" fmla="*/ 7620 h 5"/>
                <a:gd name="T4" fmla="*/ 1985 w 4"/>
                <a:gd name="T5" fmla="*/ 3810 h 5"/>
                <a:gd name="T6" fmla="*/ 5953 w 4"/>
                <a:gd name="T7" fmla="*/ 1905 h 5"/>
                <a:gd name="T8" fmla="*/ 3969 w 4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cubicBezTo>
                    <a:pt x="1" y="4"/>
                    <a:pt x="1" y="5"/>
                    <a:pt x="0" y="4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2" y="2"/>
                    <a:pt x="3" y="0"/>
                    <a:pt x="3" y="1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2" name="Freeform 442"/>
            <p:cNvSpPr>
              <a:spLocks noChangeAspect="1"/>
            </p:cNvSpPr>
            <p:nvPr/>
          </p:nvSpPr>
          <p:spPr bwMode="auto">
            <a:xfrm>
              <a:off x="7748588" y="4341813"/>
              <a:ext cx="4762" cy="12700"/>
            </a:xfrm>
            <a:custGeom>
              <a:avLst/>
              <a:gdLst>
                <a:gd name="T0" fmla="*/ 3175 w 3"/>
                <a:gd name="T1" fmla="*/ 9071 h 7"/>
                <a:gd name="T2" fmla="*/ 1587 w 3"/>
                <a:gd name="T3" fmla="*/ 12700 h 7"/>
                <a:gd name="T4" fmla="*/ 1587 w 3"/>
                <a:gd name="T5" fmla="*/ 7257 h 7"/>
                <a:gd name="T6" fmla="*/ 4762 w 3"/>
                <a:gd name="T7" fmla="*/ 1814 h 7"/>
                <a:gd name="T8" fmla="*/ 3175 w 3"/>
                <a:gd name="T9" fmla="*/ 907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2" y="5"/>
                  </a:moveTo>
                  <a:cubicBezTo>
                    <a:pt x="2" y="6"/>
                    <a:pt x="1" y="7"/>
                    <a:pt x="1" y="7"/>
                  </a:cubicBezTo>
                  <a:cubicBezTo>
                    <a:pt x="0" y="7"/>
                    <a:pt x="1" y="5"/>
                    <a:pt x="1" y="4"/>
                  </a:cubicBezTo>
                  <a:cubicBezTo>
                    <a:pt x="1" y="3"/>
                    <a:pt x="2" y="0"/>
                    <a:pt x="3" y="1"/>
                  </a:cubicBezTo>
                  <a:cubicBezTo>
                    <a:pt x="3" y="1"/>
                    <a:pt x="3" y="4"/>
                    <a:pt x="2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3" name="Freeform 443"/>
            <p:cNvSpPr>
              <a:spLocks noChangeAspect="1"/>
            </p:cNvSpPr>
            <p:nvPr/>
          </p:nvSpPr>
          <p:spPr bwMode="auto">
            <a:xfrm>
              <a:off x="7626350" y="4291013"/>
              <a:ext cx="7938" cy="7937"/>
            </a:xfrm>
            <a:custGeom>
              <a:avLst/>
              <a:gdLst>
                <a:gd name="T0" fmla="*/ 3969 w 4"/>
                <a:gd name="T1" fmla="*/ 5953 h 4"/>
                <a:gd name="T2" fmla="*/ 0 w 4"/>
                <a:gd name="T3" fmla="*/ 7937 h 4"/>
                <a:gd name="T4" fmla="*/ 1985 w 4"/>
                <a:gd name="T5" fmla="*/ 3969 h 4"/>
                <a:gd name="T6" fmla="*/ 7938 w 4"/>
                <a:gd name="T7" fmla="*/ 1984 h 4"/>
                <a:gd name="T8" fmla="*/ 3969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1" y="4"/>
                    <a:pt x="0" y="4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2" y="1"/>
                    <a:pt x="4" y="0"/>
                    <a:pt x="4" y="1"/>
                  </a:cubicBezTo>
                  <a:cubicBezTo>
                    <a:pt x="4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4" name="Freeform 444"/>
            <p:cNvSpPr>
              <a:spLocks noChangeAspect="1"/>
            </p:cNvSpPr>
            <p:nvPr/>
          </p:nvSpPr>
          <p:spPr bwMode="auto">
            <a:xfrm>
              <a:off x="7659688" y="4195763"/>
              <a:ext cx="9525" cy="6350"/>
            </a:xfrm>
            <a:custGeom>
              <a:avLst/>
              <a:gdLst>
                <a:gd name="T0" fmla="*/ 5715 w 5"/>
                <a:gd name="T1" fmla="*/ 2117 h 3"/>
                <a:gd name="T2" fmla="*/ 7620 w 5"/>
                <a:gd name="T3" fmla="*/ 6350 h 3"/>
                <a:gd name="T4" fmla="*/ 3810 w 5"/>
                <a:gd name="T5" fmla="*/ 4233 h 3"/>
                <a:gd name="T6" fmla="*/ 0 w 5"/>
                <a:gd name="T7" fmla="*/ 0 h 3"/>
                <a:gd name="T8" fmla="*/ 5715 w 5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3" y="1"/>
                  </a:moveTo>
                  <a:cubicBezTo>
                    <a:pt x="4" y="2"/>
                    <a:pt x="5" y="2"/>
                    <a:pt x="4" y="3"/>
                  </a:cubicBezTo>
                  <a:cubicBezTo>
                    <a:pt x="4" y="3"/>
                    <a:pt x="3" y="3"/>
                    <a:pt x="2" y="2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1" y="0"/>
                    <a:pt x="2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5" name="Freeform 445"/>
            <p:cNvSpPr>
              <a:spLocks noChangeAspect="1"/>
            </p:cNvSpPr>
            <p:nvPr/>
          </p:nvSpPr>
          <p:spPr bwMode="auto">
            <a:xfrm>
              <a:off x="7577138" y="4251325"/>
              <a:ext cx="3175" cy="9525"/>
            </a:xfrm>
            <a:custGeom>
              <a:avLst/>
              <a:gdLst>
                <a:gd name="T0" fmla="*/ 3175 w 2"/>
                <a:gd name="T1" fmla="*/ 5715 h 5"/>
                <a:gd name="T2" fmla="*/ 3175 w 2"/>
                <a:gd name="T3" fmla="*/ 9525 h 5"/>
                <a:gd name="T4" fmla="*/ 1588 w 2"/>
                <a:gd name="T5" fmla="*/ 5715 h 5"/>
                <a:gd name="T6" fmla="*/ 1588 w 2"/>
                <a:gd name="T7" fmla="*/ 0 h 5"/>
                <a:gd name="T8" fmla="*/ 3175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2" y="5"/>
                    <a:pt x="2" y="5"/>
                  </a:cubicBezTo>
                  <a:cubicBezTo>
                    <a:pt x="1" y="5"/>
                    <a:pt x="1" y="3"/>
                    <a:pt x="1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6" name="Freeform 446"/>
            <p:cNvSpPr>
              <a:spLocks noChangeAspect="1"/>
            </p:cNvSpPr>
            <p:nvPr/>
          </p:nvSpPr>
          <p:spPr bwMode="auto">
            <a:xfrm>
              <a:off x="7502525" y="4492625"/>
              <a:ext cx="7938" cy="6350"/>
            </a:xfrm>
            <a:custGeom>
              <a:avLst/>
              <a:gdLst>
                <a:gd name="T0" fmla="*/ 3969 w 4"/>
                <a:gd name="T1" fmla="*/ 4762 h 4"/>
                <a:gd name="T2" fmla="*/ 0 w 4"/>
                <a:gd name="T3" fmla="*/ 6350 h 4"/>
                <a:gd name="T4" fmla="*/ 1985 w 4"/>
                <a:gd name="T5" fmla="*/ 3175 h 4"/>
                <a:gd name="T6" fmla="*/ 7938 w 4"/>
                <a:gd name="T7" fmla="*/ 0 h 4"/>
                <a:gd name="T8" fmla="*/ 3969 w 4"/>
                <a:gd name="T9" fmla="*/ 476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1" y="4"/>
                    <a:pt x="0" y="4"/>
                    <a:pt x="0" y="4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" y="1"/>
                    <a:pt x="3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7" name="Freeform 447"/>
            <p:cNvSpPr>
              <a:spLocks noChangeAspect="1"/>
            </p:cNvSpPr>
            <p:nvPr/>
          </p:nvSpPr>
          <p:spPr bwMode="auto">
            <a:xfrm>
              <a:off x="8567738" y="4646613"/>
              <a:ext cx="7937" cy="4762"/>
            </a:xfrm>
            <a:custGeom>
              <a:avLst/>
              <a:gdLst>
                <a:gd name="T0" fmla="*/ 3969 w 4"/>
                <a:gd name="T1" fmla="*/ 4762 h 3"/>
                <a:gd name="T2" fmla="*/ 0 w 4"/>
                <a:gd name="T3" fmla="*/ 3175 h 3"/>
                <a:gd name="T4" fmla="*/ 3969 w 4"/>
                <a:gd name="T5" fmla="*/ 1587 h 3"/>
                <a:gd name="T6" fmla="*/ 5953 w 4"/>
                <a:gd name="T7" fmla="*/ 1587 h 3"/>
                <a:gd name="T8" fmla="*/ 3969 w 4"/>
                <a:gd name="T9" fmla="*/ 476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cubicBezTo>
                    <a:pt x="1" y="3"/>
                    <a:pt x="1" y="3"/>
                    <a:pt x="0" y="2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4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8" name="Freeform 448"/>
            <p:cNvSpPr>
              <a:spLocks noChangeAspect="1"/>
            </p:cNvSpPr>
            <p:nvPr/>
          </p:nvSpPr>
          <p:spPr bwMode="auto">
            <a:xfrm>
              <a:off x="8585200" y="4714875"/>
              <a:ext cx="6350" cy="7938"/>
            </a:xfrm>
            <a:custGeom>
              <a:avLst/>
              <a:gdLst>
                <a:gd name="T0" fmla="*/ 3175 w 4"/>
                <a:gd name="T1" fmla="*/ 5953 h 4"/>
                <a:gd name="T2" fmla="*/ 0 w 4"/>
                <a:gd name="T3" fmla="*/ 5953 h 4"/>
                <a:gd name="T4" fmla="*/ 1588 w 4"/>
                <a:gd name="T5" fmla="*/ 0 h 4"/>
                <a:gd name="T6" fmla="*/ 4762 w 4"/>
                <a:gd name="T7" fmla="*/ 1985 h 4"/>
                <a:gd name="T8" fmla="*/ 3175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1" y="4"/>
                    <a:pt x="0" y="4"/>
                    <a:pt x="0" y="3"/>
                  </a:cubicBezTo>
                  <a:cubicBezTo>
                    <a:pt x="0" y="2"/>
                    <a:pt x="1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4" y="3"/>
                    <a:pt x="2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49" name="Freeform 449"/>
            <p:cNvSpPr>
              <a:spLocks noChangeAspect="1"/>
            </p:cNvSpPr>
            <p:nvPr/>
          </p:nvSpPr>
          <p:spPr bwMode="auto">
            <a:xfrm>
              <a:off x="8572500" y="4659313"/>
              <a:ext cx="6350" cy="6350"/>
            </a:xfrm>
            <a:custGeom>
              <a:avLst/>
              <a:gdLst>
                <a:gd name="T0" fmla="*/ 2117 w 3"/>
                <a:gd name="T1" fmla="*/ 6350 h 3"/>
                <a:gd name="T2" fmla="*/ 0 w 3"/>
                <a:gd name="T3" fmla="*/ 4233 h 3"/>
                <a:gd name="T4" fmla="*/ 2117 w 3"/>
                <a:gd name="T5" fmla="*/ 2117 h 3"/>
                <a:gd name="T6" fmla="*/ 6350 w 3"/>
                <a:gd name="T7" fmla="*/ 2117 h 3"/>
                <a:gd name="T8" fmla="*/ 2117 w 3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3"/>
                  </a:move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3" y="0"/>
                    <a:pt x="3" y="1"/>
                  </a:cubicBezTo>
                  <a:cubicBezTo>
                    <a:pt x="3" y="2"/>
                    <a:pt x="2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0" name="Freeform 450"/>
            <p:cNvSpPr>
              <a:spLocks noChangeAspect="1"/>
            </p:cNvSpPr>
            <p:nvPr/>
          </p:nvSpPr>
          <p:spPr bwMode="auto">
            <a:xfrm>
              <a:off x="8572500" y="4687888"/>
              <a:ext cx="6350" cy="6350"/>
            </a:xfrm>
            <a:custGeom>
              <a:avLst/>
              <a:gdLst>
                <a:gd name="T0" fmla="*/ 2117 w 3"/>
                <a:gd name="T1" fmla="*/ 4233 h 3"/>
                <a:gd name="T2" fmla="*/ 0 w 3"/>
                <a:gd name="T3" fmla="*/ 4233 h 3"/>
                <a:gd name="T4" fmla="*/ 2117 w 3"/>
                <a:gd name="T5" fmla="*/ 0 h 3"/>
                <a:gd name="T6" fmla="*/ 6350 w 3"/>
                <a:gd name="T7" fmla="*/ 2117 h 3"/>
                <a:gd name="T8" fmla="*/ 2117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1" name="Freeform 451"/>
            <p:cNvSpPr>
              <a:spLocks noChangeAspect="1"/>
            </p:cNvSpPr>
            <p:nvPr/>
          </p:nvSpPr>
          <p:spPr bwMode="auto">
            <a:xfrm>
              <a:off x="7453313" y="3676650"/>
              <a:ext cx="3175" cy="4763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3 h 3"/>
                <a:gd name="T4" fmla="*/ 0 w 2"/>
                <a:gd name="T5" fmla="*/ 3175 h 3"/>
                <a:gd name="T6" fmla="*/ 1588 w 2"/>
                <a:gd name="T7" fmla="*/ 0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2" name="Freeform 452"/>
            <p:cNvSpPr>
              <a:spLocks noChangeAspect="1"/>
            </p:cNvSpPr>
            <p:nvPr/>
          </p:nvSpPr>
          <p:spPr bwMode="auto">
            <a:xfrm>
              <a:off x="7513638" y="3944938"/>
              <a:ext cx="6350" cy="6350"/>
            </a:xfrm>
            <a:custGeom>
              <a:avLst/>
              <a:gdLst>
                <a:gd name="T0" fmla="*/ 6350 w 3"/>
                <a:gd name="T1" fmla="*/ 4233 h 3"/>
                <a:gd name="T2" fmla="*/ 2117 w 3"/>
                <a:gd name="T3" fmla="*/ 6350 h 3"/>
                <a:gd name="T4" fmla="*/ 0 w 3"/>
                <a:gd name="T5" fmla="*/ 2117 h 3"/>
                <a:gd name="T6" fmla="*/ 4233 w 3"/>
                <a:gd name="T7" fmla="*/ 0 h 3"/>
                <a:gd name="T8" fmla="*/ 6350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3" name="Freeform 453"/>
            <p:cNvSpPr>
              <a:spLocks noChangeAspect="1"/>
            </p:cNvSpPr>
            <p:nvPr/>
          </p:nvSpPr>
          <p:spPr bwMode="auto">
            <a:xfrm>
              <a:off x="7467600" y="3830638"/>
              <a:ext cx="7938" cy="7937"/>
            </a:xfrm>
            <a:custGeom>
              <a:avLst/>
              <a:gdLst>
                <a:gd name="T0" fmla="*/ 7938 w 4"/>
                <a:gd name="T1" fmla="*/ 3969 h 4"/>
                <a:gd name="T2" fmla="*/ 3969 w 4"/>
                <a:gd name="T3" fmla="*/ 7937 h 4"/>
                <a:gd name="T4" fmla="*/ 0 w 4"/>
                <a:gd name="T5" fmla="*/ 3969 h 4"/>
                <a:gd name="T6" fmla="*/ 3969 w 4"/>
                <a:gd name="T7" fmla="*/ 0 h 4"/>
                <a:gd name="T8" fmla="*/ 7938 w 4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4" y="2"/>
                  </a:moveTo>
                  <a:cubicBezTo>
                    <a:pt x="4" y="3"/>
                    <a:pt x="3" y="4"/>
                    <a:pt x="2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4" y="1"/>
                    <a:pt x="4" y="2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4" name="Freeform 454"/>
            <p:cNvSpPr>
              <a:spLocks noChangeAspect="1"/>
            </p:cNvSpPr>
            <p:nvPr/>
          </p:nvSpPr>
          <p:spPr bwMode="auto">
            <a:xfrm>
              <a:off x="8529638" y="4494213"/>
              <a:ext cx="7937" cy="4762"/>
            </a:xfrm>
            <a:custGeom>
              <a:avLst/>
              <a:gdLst>
                <a:gd name="T0" fmla="*/ 3969 w 4"/>
                <a:gd name="T1" fmla="*/ 3175 h 3"/>
                <a:gd name="T2" fmla="*/ 1984 w 4"/>
                <a:gd name="T3" fmla="*/ 3175 h 3"/>
                <a:gd name="T4" fmla="*/ 1984 w 4"/>
                <a:gd name="T5" fmla="*/ 1587 h 3"/>
                <a:gd name="T6" fmla="*/ 5953 w 4"/>
                <a:gd name="T7" fmla="*/ 0 h 3"/>
                <a:gd name="T8" fmla="*/ 3969 w 4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2"/>
                  </a:move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1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5" name="Freeform 455"/>
            <p:cNvSpPr>
              <a:spLocks noChangeAspect="1"/>
            </p:cNvSpPr>
            <p:nvPr/>
          </p:nvSpPr>
          <p:spPr bwMode="auto">
            <a:xfrm>
              <a:off x="8164513" y="4457700"/>
              <a:ext cx="6350" cy="7938"/>
            </a:xfrm>
            <a:custGeom>
              <a:avLst/>
              <a:gdLst>
                <a:gd name="T0" fmla="*/ 4233 w 3"/>
                <a:gd name="T1" fmla="*/ 3969 h 4"/>
                <a:gd name="T2" fmla="*/ 6350 w 3"/>
                <a:gd name="T3" fmla="*/ 5953 h 4"/>
                <a:gd name="T4" fmla="*/ 2117 w 3"/>
                <a:gd name="T5" fmla="*/ 5953 h 4"/>
                <a:gd name="T6" fmla="*/ 0 w 3"/>
                <a:gd name="T7" fmla="*/ 1985 h 4"/>
                <a:gd name="T8" fmla="*/ 4233 w 3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2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6" name="Freeform 456"/>
            <p:cNvSpPr>
              <a:spLocks noChangeAspect="1"/>
            </p:cNvSpPr>
            <p:nvPr/>
          </p:nvSpPr>
          <p:spPr bwMode="auto">
            <a:xfrm>
              <a:off x="8158163" y="4260850"/>
              <a:ext cx="6350" cy="6350"/>
            </a:xfrm>
            <a:custGeom>
              <a:avLst/>
              <a:gdLst>
                <a:gd name="T0" fmla="*/ 3175 w 4"/>
                <a:gd name="T1" fmla="*/ 4233 h 3"/>
                <a:gd name="T2" fmla="*/ 0 w 4"/>
                <a:gd name="T3" fmla="*/ 4233 h 3"/>
                <a:gd name="T4" fmla="*/ 3175 w 4"/>
                <a:gd name="T5" fmla="*/ 0 h 3"/>
                <a:gd name="T6" fmla="*/ 6350 w 4"/>
                <a:gd name="T7" fmla="*/ 2117 h 3"/>
                <a:gd name="T8" fmla="*/ 3175 w 4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2"/>
                  </a:move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0"/>
                    <a:pt x="4" y="1"/>
                  </a:cubicBezTo>
                  <a:cubicBezTo>
                    <a:pt x="4" y="2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7" name="Oval 457"/>
            <p:cNvSpPr>
              <a:spLocks noChangeAspect="1" noChangeArrowheads="1"/>
            </p:cNvSpPr>
            <p:nvPr/>
          </p:nvSpPr>
          <p:spPr bwMode="auto">
            <a:xfrm>
              <a:off x="7696200" y="4221163"/>
              <a:ext cx="6350" cy="952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8" name="Freeform 458"/>
            <p:cNvSpPr>
              <a:spLocks noChangeAspect="1"/>
            </p:cNvSpPr>
            <p:nvPr/>
          </p:nvSpPr>
          <p:spPr bwMode="auto">
            <a:xfrm>
              <a:off x="7507288" y="4306888"/>
              <a:ext cx="6350" cy="6350"/>
            </a:xfrm>
            <a:custGeom>
              <a:avLst/>
              <a:gdLst>
                <a:gd name="T0" fmla="*/ 4233 w 3"/>
                <a:gd name="T1" fmla="*/ 2117 h 3"/>
                <a:gd name="T2" fmla="*/ 6350 w 3"/>
                <a:gd name="T3" fmla="*/ 6350 h 3"/>
                <a:gd name="T4" fmla="*/ 2117 w 3"/>
                <a:gd name="T5" fmla="*/ 4233 h 3"/>
                <a:gd name="T6" fmla="*/ 0 w 3"/>
                <a:gd name="T7" fmla="*/ 0 h 3"/>
                <a:gd name="T8" fmla="*/ 4233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3" y="2"/>
                    <a:pt x="3" y="2"/>
                    <a:pt x="3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59" name="Freeform 459"/>
            <p:cNvSpPr>
              <a:spLocks noChangeAspect="1"/>
            </p:cNvSpPr>
            <p:nvPr/>
          </p:nvSpPr>
          <p:spPr bwMode="auto">
            <a:xfrm>
              <a:off x="7292975" y="4772025"/>
              <a:ext cx="3175" cy="7938"/>
            </a:xfrm>
            <a:custGeom>
              <a:avLst/>
              <a:gdLst>
                <a:gd name="T0" fmla="*/ 3175 w 2"/>
                <a:gd name="T1" fmla="*/ 3969 h 4"/>
                <a:gd name="T2" fmla="*/ 1588 w 2"/>
                <a:gd name="T3" fmla="*/ 5953 h 4"/>
                <a:gd name="T4" fmla="*/ 0 w 2"/>
                <a:gd name="T5" fmla="*/ 3969 h 4"/>
                <a:gd name="T6" fmla="*/ 3175 w 2"/>
                <a:gd name="T7" fmla="*/ 0 h 4"/>
                <a:gd name="T8" fmla="*/ 3175 w 2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2"/>
                  </a:moveTo>
                  <a:cubicBezTo>
                    <a:pt x="2" y="3"/>
                    <a:pt x="1" y="4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0" name="Freeform 460"/>
            <p:cNvSpPr>
              <a:spLocks noChangeAspect="1"/>
            </p:cNvSpPr>
            <p:nvPr/>
          </p:nvSpPr>
          <p:spPr bwMode="auto">
            <a:xfrm>
              <a:off x="7950200" y="5311775"/>
              <a:ext cx="1588" cy="4763"/>
            </a:xfrm>
            <a:custGeom>
              <a:avLst/>
              <a:gdLst>
                <a:gd name="T0" fmla="*/ 1588 w 1"/>
                <a:gd name="T1" fmla="*/ 3175 h 3"/>
                <a:gd name="T2" fmla="*/ 0 w 1"/>
                <a:gd name="T3" fmla="*/ 3175 h 3"/>
                <a:gd name="T4" fmla="*/ 0 w 1"/>
                <a:gd name="T5" fmla="*/ 1588 h 3"/>
                <a:gd name="T6" fmla="*/ 0 w 1"/>
                <a:gd name="T7" fmla="*/ 0 h 3"/>
                <a:gd name="T8" fmla="*/ 1588 w 1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1" name="Freeform 461"/>
            <p:cNvSpPr>
              <a:spLocks noChangeAspect="1"/>
            </p:cNvSpPr>
            <p:nvPr/>
          </p:nvSpPr>
          <p:spPr bwMode="auto">
            <a:xfrm>
              <a:off x="7940675" y="5448300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4233 h 3"/>
                <a:gd name="T4" fmla="*/ 0 w 2"/>
                <a:gd name="T5" fmla="*/ 2117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1" y="2"/>
                    <a:pt x="1" y="3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2" name="Freeform 462"/>
            <p:cNvSpPr>
              <a:spLocks noChangeAspect="1"/>
            </p:cNvSpPr>
            <p:nvPr/>
          </p:nvSpPr>
          <p:spPr bwMode="auto">
            <a:xfrm>
              <a:off x="7729538" y="4505325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3" name="Freeform 463"/>
            <p:cNvSpPr>
              <a:spLocks noChangeAspect="1"/>
            </p:cNvSpPr>
            <p:nvPr/>
          </p:nvSpPr>
          <p:spPr bwMode="auto">
            <a:xfrm>
              <a:off x="8596313" y="4759325"/>
              <a:ext cx="3175" cy="4763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3 h 3"/>
                <a:gd name="T4" fmla="*/ 0 w 2"/>
                <a:gd name="T5" fmla="*/ 3175 h 3"/>
                <a:gd name="T6" fmla="*/ 1588 w 2"/>
                <a:gd name="T7" fmla="*/ 0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4" name="Freeform 464"/>
            <p:cNvSpPr>
              <a:spLocks noChangeAspect="1"/>
            </p:cNvSpPr>
            <p:nvPr/>
          </p:nvSpPr>
          <p:spPr bwMode="auto">
            <a:xfrm>
              <a:off x="8532813" y="4829175"/>
              <a:ext cx="4762" cy="6350"/>
            </a:xfrm>
            <a:custGeom>
              <a:avLst/>
              <a:gdLst>
                <a:gd name="T0" fmla="*/ 4762 w 2"/>
                <a:gd name="T1" fmla="*/ 4233 h 3"/>
                <a:gd name="T2" fmla="*/ 2381 w 2"/>
                <a:gd name="T3" fmla="*/ 6350 h 3"/>
                <a:gd name="T4" fmla="*/ 0 w 2"/>
                <a:gd name="T5" fmla="*/ 2117 h 3"/>
                <a:gd name="T6" fmla="*/ 2381 w 2"/>
                <a:gd name="T7" fmla="*/ 0 h 3"/>
                <a:gd name="T8" fmla="*/ 4762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5" name="Oval 465"/>
            <p:cNvSpPr>
              <a:spLocks noChangeAspect="1" noChangeArrowheads="1"/>
            </p:cNvSpPr>
            <p:nvPr/>
          </p:nvSpPr>
          <p:spPr bwMode="auto">
            <a:xfrm>
              <a:off x="8561388" y="4581525"/>
              <a:ext cx="1587" cy="317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6" name="Freeform 466"/>
            <p:cNvSpPr>
              <a:spLocks noChangeAspect="1"/>
            </p:cNvSpPr>
            <p:nvPr/>
          </p:nvSpPr>
          <p:spPr bwMode="auto">
            <a:xfrm>
              <a:off x="8559800" y="4592638"/>
              <a:ext cx="1588" cy="6350"/>
            </a:xfrm>
            <a:custGeom>
              <a:avLst/>
              <a:gdLst>
                <a:gd name="T0" fmla="*/ 1588 w 1"/>
                <a:gd name="T1" fmla="*/ 4233 h 3"/>
                <a:gd name="T2" fmla="*/ 0 w 1"/>
                <a:gd name="T3" fmla="*/ 6350 h 3"/>
                <a:gd name="T4" fmla="*/ 0 w 1"/>
                <a:gd name="T5" fmla="*/ 4233 h 3"/>
                <a:gd name="T6" fmla="*/ 0 w 1"/>
                <a:gd name="T7" fmla="*/ 0 h 3"/>
                <a:gd name="T8" fmla="*/ 1588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7" name="Freeform 467"/>
            <p:cNvSpPr>
              <a:spLocks noChangeAspect="1"/>
            </p:cNvSpPr>
            <p:nvPr/>
          </p:nvSpPr>
          <p:spPr bwMode="auto">
            <a:xfrm>
              <a:off x="8586788" y="4737100"/>
              <a:ext cx="4762" cy="7938"/>
            </a:xfrm>
            <a:custGeom>
              <a:avLst/>
              <a:gdLst>
                <a:gd name="T0" fmla="*/ 3175 w 3"/>
                <a:gd name="T1" fmla="*/ 3969 h 4"/>
                <a:gd name="T2" fmla="*/ 1587 w 3"/>
                <a:gd name="T3" fmla="*/ 7938 h 4"/>
                <a:gd name="T4" fmla="*/ 0 w 3"/>
                <a:gd name="T5" fmla="*/ 3969 h 4"/>
                <a:gd name="T6" fmla="*/ 1587 w 3"/>
                <a:gd name="T7" fmla="*/ 0 h 4"/>
                <a:gd name="T8" fmla="*/ 3175 w 3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2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8" name="Freeform 468"/>
            <p:cNvSpPr>
              <a:spLocks noChangeAspect="1"/>
            </p:cNvSpPr>
            <p:nvPr/>
          </p:nvSpPr>
          <p:spPr bwMode="auto">
            <a:xfrm>
              <a:off x="8566150" y="4625975"/>
              <a:ext cx="3175" cy="4763"/>
            </a:xfrm>
            <a:custGeom>
              <a:avLst/>
              <a:gdLst>
                <a:gd name="T0" fmla="*/ 1588 w 2"/>
                <a:gd name="T1" fmla="*/ 3175 h 3"/>
                <a:gd name="T2" fmla="*/ 0 w 2"/>
                <a:gd name="T3" fmla="*/ 3175 h 3"/>
                <a:gd name="T4" fmla="*/ 0 w 2"/>
                <a:gd name="T5" fmla="*/ 1588 h 3"/>
                <a:gd name="T6" fmla="*/ 3175 w 2"/>
                <a:gd name="T7" fmla="*/ 1588 h 3"/>
                <a:gd name="T8" fmla="*/ 1588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69" name="Freeform 469"/>
            <p:cNvSpPr>
              <a:spLocks noChangeAspect="1"/>
            </p:cNvSpPr>
            <p:nvPr/>
          </p:nvSpPr>
          <p:spPr bwMode="auto">
            <a:xfrm>
              <a:off x="8832850" y="4699000"/>
              <a:ext cx="1588" cy="4763"/>
            </a:xfrm>
            <a:custGeom>
              <a:avLst/>
              <a:gdLst>
                <a:gd name="T0" fmla="*/ 0 w 1"/>
                <a:gd name="T1" fmla="*/ 2382 h 2"/>
                <a:gd name="T2" fmla="*/ 0 w 1"/>
                <a:gd name="T3" fmla="*/ 4763 h 2"/>
                <a:gd name="T4" fmla="*/ 1588 w 1"/>
                <a:gd name="T5" fmla="*/ 2382 h 2"/>
                <a:gd name="T6" fmla="*/ 0 w 1"/>
                <a:gd name="T7" fmla="*/ 0 h 2"/>
                <a:gd name="T8" fmla="*/ 0 w 1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0" name="Freeform 470"/>
            <p:cNvSpPr>
              <a:spLocks noChangeAspect="1"/>
            </p:cNvSpPr>
            <p:nvPr/>
          </p:nvSpPr>
          <p:spPr bwMode="auto">
            <a:xfrm>
              <a:off x="8837613" y="4676775"/>
              <a:ext cx="4762" cy="6350"/>
            </a:xfrm>
            <a:custGeom>
              <a:avLst/>
              <a:gdLst>
                <a:gd name="T0" fmla="*/ 4762 w 2"/>
                <a:gd name="T1" fmla="*/ 4233 h 3"/>
                <a:gd name="T2" fmla="*/ 2381 w 2"/>
                <a:gd name="T3" fmla="*/ 6350 h 3"/>
                <a:gd name="T4" fmla="*/ 0 w 2"/>
                <a:gd name="T5" fmla="*/ 4233 h 3"/>
                <a:gd name="T6" fmla="*/ 2381 w 2"/>
                <a:gd name="T7" fmla="*/ 0 h 3"/>
                <a:gd name="T8" fmla="*/ 4762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1" name="Freeform 471"/>
            <p:cNvSpPr>
              <a:spLocks noChangeAspect="1"/>
            </p:cNvSpPr>
            <p:nvPr/>
          </p:nvSpPr>
          <p:spPr bwMode="auto">
            <a:xfrm>
              <a:off x="8853488" y="4665663"/>
              <a:ext cx="3175" cy="3175"/>
            </a:xfrm>
            <a:custGeom>
              <a:avLst/>
              <a:gdLst>
                <a:gd name="T0" fmla="*/ 1588 w 2"/>
                <a:gd name="T1" fmla="*/ 3175 h 2"/>
                <a:gd name="T2" fmla="*/ 0 w 2"/>
                <a:gd name="T3" fmla="*/ 3175 h 2"/>
                <a:gd name="T4" fmla="*/ 0 w 2"/>
                <a:gd name="T5" fmla="*/ 1588 h 2"/>
                <a:gd name="T6" fmla="*/ 3175 w 2"/>
                <a:gd name="T7" fmla="*/ 0 h 2"/>
                <a:gd name="T8" fmla="*/ 1588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1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2" name="Freeform 472"/>
            <p:cNvSpPr>
              <a:spLocks noChangeAspect="1"/>
            </p:cNvSpPr>
            <p:nvPr/>
          </p:nvSpPr>
          <p:spPr bwMode="auto">
            <a:xfrm>
              <a:off x="8847138" y="4659313"/>
              <a:ext cx="4762" cy="6350"/>
            </a:xfrm>
            <a:custGeom>
              <a:avLst/>
              <a:gdLst>
                <a:gd name="T0" fmla="*/ 2381 w 2"/>
                <a:gd name="T1" fmla="*/ 4233 h 3"/>
                <a:gd name="T2" fmla="*/ 0 w 2"/>
                <a:gd name="T3" fmla="*/ 4233 h 3"/>
                <a:gd name="T4" fmla="*/ 0 w 2"/>
                <a:gd name="T5" fmla="*/ 2117 h 3"/>
                <a:gd name="T6" fmla="*/ 4762 w 2"/>
                <a:gd name="T7" fmla="*/ 2117 h 3"/>
                <a:gd name="T8" fmla="*/ 2381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0" y="3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3" name="Freeform 473"/>
            <p:cNvSpPr>
              <a:spLocks noChangeAspect="1"/>
            </p:cNvSpPr>
            <p:nvPr/>
          </p:nvSpPr>
          <p:spPr bwMode="auto">
            <a:xfrm>
              <a:off x="7593013" y="3422650"/>
              <a:ext cx="3175" cy="6350"/>
            </a:xfrm>
            <a:custGeom>
              <a:avLst/>
              <a:gdLst>
                <a:gd name="T0" fmla="*/ 3175 w 1"/>
                <a:gd name="T1" fmla="*/ 4233 h 3"/>
                <a:gd name="T2" fmla="*/ 0 w 1"/>
                <a:gd name="T3" fmla="*/ 6350 h 3"/>
                <a:gd name="T4" fmla="*/ 0 w 1"/>
                <a:gd name="T5" fmla="*/ 4233 h 3"/>
                <a:gd name="T6" fmla="*/ 3175 w 1"/>
                <a:gd name="T7" fmla="*/ 0 h 3"/>
                <a:gd name="T8" fmla="*/ 3175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4" name="Freeform 474"/>
            <p:cNvSpPr>
              <a:spLocks noChangeAspect="1"/>
            </p:cNvSpPr>
            <p:nvPr/>
          </p:nvSpPr>
          <p:spPr bwMode="auto">
            <a:xfrm>
              <a:off x="7440613" y="3662363"/>
              <a:ext cx="4762" cy="4762"/>
            </a:xfrm>
            <a:custGeom>
              <a:avLst/>
              <a:gdLst>
                <a:gd name="T0" fmla="*/ 4762 w 2"/>
                <a:gd name="T1" fmla="*/ 4762 h 2"/>
                <a:gd name="T2" fmla="*/ 2381 w 2"/>
                <a:gd name="T3" fmla="*/ 4762 h 2"/>
                <a:gd name="T4" fmla="*/ 0 w 2"/>
                <a:gd name="T5" fmla="*/ 2381 h 2"/>
                <a:gd name="T6" fmla="*/ 2381 w 2"/>
                <a:gd name="T7" fmla="*/ 0 h 2"/>
                <a:gd name="T8" fmla="*/ 4762 w 2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2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5" name="Freeform 475"/>
            <p:cNvSpPr>
              <a:spLocks noChangeAspect="1"/>
            </p:cNvSpPr>
            <p:nvPr/>
          </p:nvSpPr>
          <p:spPr bwMode="auto">
            <a:xfrm>
              <a:off x="7421563" y="3908425"/>
              <a:ext cx="4762" cy="6350"/>
            </a:xfrm>
            <a:custGeom>
              <a:avLst/>
              <a:gdLst>
                <a:gd name="T0" fmla="*/ 2381 w 2"/>
                <a:gd name="T1" fmla="*/ 6350 h 3"/>
                <a:gd name="T2" fmla="*/ 0 w 2"/>
                <a:gd name="T3" fmla="*/ 6350 h 3"/>
                <a:gd name="T4" fmla="*/ 0 w 2"/>
                <a:gd name="T5" fmla="*/ 4233 h 3"/>
                <a:gd name="T6" fmla="*/ 4762 w 2"/>
                <a:gd name="T7" fmla="*/ 2117 h 3"/>
                <a:gd name="T8" fmla="*/ 2381 w 2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3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2" y="1"/>
                    <a:pt x="2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6" name="Freeform 476"/>
            <p:cNvSpPr>
              <a:spLocks noChangeAspect="1"/>
            </p:cNvSpPr>
            <p:nvPr/>
          </p:nvSpPr>
          <p:spPr bwMode="auto">
            <a:xfrm>
              <a:off x="7497763" y="3813175"/>
              <a:ext cx="6350" cy="4763"/>
            </a:xfrm>
            <a:custGeom>
              <a:avLst/>
              <a:gdLst>
                <a:gd name="T0" fmla="*/ 4233 w 3"/>
                <a:gd name="T1" fmla="*/ 2382 h 2"/>
                <a:gd name="T2" fmla="*/ 4233 w 3"/>
                <a:gd name="T3" fmla="*/ 4763 h 2"/>
                <a:gd name="T4" fmla="*/ 2117 w 3"/>
                <a:gd name="T5" fmla="*/ 4763 h 2"/>
                <a:gd name="T6" fmla="*/ 0 w 3"/>
                <a:gd name="T7" fmla="*/ 0 h 2"/>
                <a:gd name="T8" fmla="*/ 4233 w 3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7" name="Freeform 477"/>
            <p:cNvSpPr>
              <a:spLocks noChangeAspect="1"/>
            </p:cNvSpPr>
            <p:nvPr/>
          </p:nvSpPr>
          <p:spPr bwMode="auto">
            <a:xfrm>
              <a:off x="7572375" y="3927475"/>
              <a:ext cx="4763" cy="7938"/>
            </a:xfrm>
            <a:custGeom>
              <a:avLst/>
              <a:gdLst>
                <a:gd name="T0" fmla="*/ 4763 w 2"/>
                <a:gd name="T1" fmla="*/ 3969 h 4"/>
                <a:gd name="T2" fmla="*/ 2382 w 2"/>
                <a:gd name="T3" fmla="*/ 5953 h 4"/>
                <a:gd name="T4" fmla="*/ 0 w 2"/>
                <a:gd name="T5" fmla="*/ 3969 h 4"/>
                <a:gd name="T6" fmla="*/ 2382 w 2"/>
                <a:gd name="T7" fmla="*/ 1985 h 4"/>
                <a:gd name="T8" fmla="*/ 4763 w 2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2"/>
                  </a:moveTo>
                  <a:cubicBezTo>
                    <a:pt x="2" y="3"/>
                    <a:pt x="1" y="4"/>
                    <a:pt x="1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8" name="Freeform 478"/>
            <p:cNvSpPr>
              <a:spLocks noChangeAspect="1"/>
            </p:cNvSpPr>
            <p:nvPr/>
          </p:nvSpPr>
          <p:spPr bwMode="auto">
            <a:xfrm>
              <a:off x="7507288" y="3851275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4233 w 3"/>
                <a:gd name="T3" fmla="*/ 6350 h 3"/>
                <a:gd name="T4" fmla="*/ 2117 w 3"/>
                <a:gd name="T5" fmla="*/ 4233 h 3"/>
                <a:gd name="T6" fmla="*/ 2117 w 3"/>
                <a:gd name="T7" fmla="*/ 2117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3" y="2"/>
                    <a:pt x="3" y="3"/>
                    <a:pt x="2" y="3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79" name="Freeform 479"/>
            <p:cNvSpPr>
              <a:spLocks noChangeAspect="1"/>
            </p:cNvSpPr>
            <p:nvPr/>
          </p:nvSpPr>
          <p:spPr bwMode="auto">
            <a:xfrm>
              <a:off x="7424738" y="3819525"/>
              <a:ext cx="4762" cy="4763"/>
            </a:xfrm>
            <a:custGeom>
              <a:avLst/>
              <a:gdLst>
                <a:gd name="T0" fmla="*/ 3175 w 3"/>
                <a:gd name="T1" fmla="*/ 1588 h 3"/>
                <a:gd name="T2" fmla="*/ 4762 w 3"/>
                <a:gd name="T3" fmla="*/ 4763 h 3"/>
                <a:gd name="T4" fmla="*/ 1587 w 3"/>
                <a:gd name="T5" fmla="*/ 3175 h 3"/>
                <a:gd name="T6" fmla="*/ 1587 w 3"/>
                <a:gd name="T7" fmla="*/ 1588 h 3"/>
                <a:gd name="T8" fmla="*/ 3175 w 3"/>
                <a:gd name="T9" fmla="*/ 1588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3" y="2"/>
                    <a:pt x="3" y="2"/>
                    <a:pt x="3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0" name="Freeform 480"/>
            <p:cNvSpPr>
              <a:spLocks noChangeAspect="1"/>
            </p:cNvSpPr>
            <p:nvPr/>
          </p:nvSpPr>
          <p:spPr bwMode="auto">
            <a:xfrm>
              <a:off x="7535863" y="3944938"/>
              <a:ext cx="4762" cy="6350"/>
            </a:xfrm>
            <a:custGeom>
              <a:avLst/>
              <a:gdLst>
                <a:gd name="T0" fmla="*/ 4762 w 2"/>
                <a:gd name="T1" fmla="*/ 2117 h 3"/>
                <a:gd name="T2" fmla="*/ 4762 w 2"/>
                <a:gd name="T3" fmla="*/ 4233 h 3"/>
                <a:gd name="T4" fmla="*/ 2381 w 2"/>
                <a:gd name="T5" fmla="*/ 4233 h 3"/>
                <a:gd name="T6" fmla="*/ 0 w 2"/>
                <a:gd name="T7" fmla="*/ 0 h 3"/>
                <a:gd name="T8" fmla="*/ 4762 w 2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1" name="Freeform 481"/>
            <p:cNvSpPr>
              <a:spLocks noChangeAspect="1"/>
            </p:cNvSpPr>
            <p:nvPr/>
          </p:nvSpPr>
          <p:spPr bwMode="auto">
            <a:xfrm>
              <a:off x="7416800" y="3879850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2117 h 3"/>
                <a:gd name="T6" fmla="*/ 3175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2" name="Freeform 482"/>
            <p:cNvSpPr>
              <a:spLocks noChangeAspect="1"/>
            </p:cNvSpPr>
            <p:nvPr/>
          </p:nvSpPr>
          <p:spPr bwMode="auto">
            <a:xfrm>
              <a:off x="7448550" y="3900488"/>
              <a:ext cx="4763" cy="6350"/>
            </a:xfrm>
            <a:custGeom>
              <a:avLst/>
              <a:gdLst>
                <a:gd name="T0" fmla="*/ 2382 w 2"/>
                <a:gd name="T1" fmla="*/ 4233 h 3"/>
                <a:gd name="T2" fmla="*/ 2382 w 2"/>
                <a:gd name="T3" fmla="*/ 6350 h 3"/>
                <a:gd name="T4" fmla="*/ 0 w 2"/>
                <a:gd name="T5" fmla="*/ 4233 h 3"/>
                <a:gd name="T6" fmla="*/ 2382 w 2"/>
                <a:gd name="T7" fmla="*/ 2117 h 3"/>
                <a:gd name="T8" fmla="*/ 2382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3" name="Freeform 483"/>
            <p:cNvSpPr>
              <a:spLocks noChangeAspect="1"/>
            </p:cNvSpPr>
            <p:nvPr/>
          </p:nvSpPr>
          <p:spPr bwMode="auto">
            <a:xfrm>
              <a:off x="8548688" y="4521200"/>
              <a:ext cx="4762" cy="4763"/>
            </a:xfrm>
            <a:custGeom>
              <a:avLst/>
              <a:gdLst>
                <a:gd name="T0" fmla="*/ 3175 w 3"/>
                <a:gd name="T1" fmla="*/ 1588 h 3"/>
                <a:gd name="T2" fmla="*/ 3175 w 3"/>
                <a:gd name="T3" fmla="*/ 3175 h 3"/>
                <a:gd name="T4" fmla="*/ 1587 w 3"/>
                <a:gd name="T5" fmla="*/ 3175 h 3"/>
                <a:gd name="T6" fmla="*/ 1587 w 3"/>
                <a:gd name="T7" fmla="*/ 1588 h 3"/>
                <a:gd name="T8" fmla="*/ 3175 w 3"/>
                <a:gd name="T9" fmla="*/ 1588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2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4" name="Freeform 484"/>
            <p:cNvSpPr>
              <a:spLocks noChangeAspect="1"/>
            </p:cNvSpPr>
            <p:nvPr/>
          </p:nvSpPr>
          <p:spPr bwMode="auto">
            <a:xfrm>
              <a:off x="8542338" y="4508500"/>
              <a:ext cx="4762" cy="4763"/>
            </a:xfrm>
            <a:custGeom>
              <a:avLst/>
              <a:gdLst>
                <a:gd name="T0" fmla="*/ 4762 w 2"/>
                <a:gd name="T1" fmla="*/ 2382 h 2"/>
                <a:gd name="T2" fmla="*/ 2381 w 2"/>
                <a:gd name="T3" fmla="*/ 4763 h 2"/>
                <a:gd name="T4" fmla="*/ 0 w 2"/>
                <a:gd name="T5" fmla="*/ 2382 h 2"/>
                <a:gd name="T6" fmla="*/ 2381 w 2"/>
                <a:gd name="T7" fmla="*/ 0 h 2"/>
                <a:gd name="T8" fmla="*/ 4762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5" name="Freeform 485"/>
            <p:cNvSpPr>
              <a:spLocks noChangeAspect="1"/>
            </p:cNvSpPr>
            <p:nvPr/>
          </p:nvSpPr>
          <p:spPr bwMode="auto">
            <a:xfrm>
              <a:off x="8428038" y="4464050"/>
              <a:ext cx="4762" cy="4763"/>
            </a:xfrm>
            <a:custGeom>
              <a:avLst/>
              <a:gdLst>
                <a:gd name="T0" fmla="*/ 4762 w 2"/>
                <a:gd name="T1" fmla="*/ 3175 h 3"/>
                <a:gd name="T2" fmla="*/ 2381 w 2"/>
                <a:gd name="T3" fmla="*/ 4763 h 3"/>
                <a:gd name="T4" fmla="*/ 0 w 2"/>
                <a:gd name="T5" fmla="*/ 3175 h 3"/>
                <a:gd name="T6" fmla="*/ 2381 w 2"/>
                <a:gd name="T7" fmla="*/ 0 h 3"/>
                <a:gd name="T8" fmla="*/ 4762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6" name="Freeform 486"/>
            <p:cNvSpPr>
              <a:spLocks noChangeAspect="1"/>
            </p:cNvSpPr>
            <p:nvPr/>
          </p:nvSpPr>
          <p:spPr bwMode="auto">
            <a:xfrm>
              <a:off x="8342313" y="4432300"/>
              <a:ext cx="4762" cy="6350"/>
            </a:xfrm>
            <a:custGeom>
              <a:avLst/>
              <a:gdLst>
                <a:gd name="T0" fmla="*/ 4762 w 2"/>
                <a:gd name="T1" fmla="*/ 4233 h 3"/>
                <a:gd name="T2" fmla="*/ 2381 w 2"/>
                <a:gd name="T3" fmla="*/ 6350 h 3"/>
                <a:gd name="T4" fmla="*/ 0 w 2"/>
                <a:gd name="T5" fmla="*/ 4233 h 3"/>
                <a:gd name="T6" fmla="*/ 4762 w 2"/>
                <a:gd name="T7" fmla="*/ 0 h 3"/>
                <a:gd name="T8" fmla="*/ 4762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7" name="Freeform 487"/>
            <p:cNvSpPr>
              <a:spLocks noChangeAspect="1"/>
            </p:cNvSpPr>
            <p:nvPr/>
          </p:nvSpPr>
          <p:spPr bwMode="auto">
            <a:xfrm>
              <a:off x="8323263" y="4435475"/>
              <a:ext cx="3175" cy="4763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3175 h 3"/>
                <a:gd name="T4" fmla="*/ 0 w 2"/>
                <a:gd name="T5" fmla="*/ 1588 h 3"/>
                <a:gd name="T6" fmla="*/ 3175 w 2"/>
                <a:gd name="T7" fmla="*/ 0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8" name="Freeform 488"/>
            <p:cNvSpPr>
              <a:spLocks noChangeAspect="1"/>
            </p:cNvSpPr>
            <p:nvPr/>
          </p:nvSpPr>
          <p:spPr bwMode="auto">
            <a:xfrm>
              <a:off x="8301038" y="4383088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0 w 2"/>
                <a:gd name="T3" fmla="*/ 6350 h 3"/>
                <a:gd name="T4" fmla="*/ 0 w 2"/>
                <a:gd name="T5" fmla="*/ 2117 h 3"/>
                <a:gd name="T6" fmla="*/ 1588 w 2"/>
                <a:gd name="T7" fmla="*/ 0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89" name="Freeform 489"/>
            <p:cNvSpPr>
              <a:spLocks noChangeAspect="1"/>
            </p:cNvSpPr>
            <p:nvPr/>
          </p:nvSpPr>
          <p:spPr bwMode="auto">
            <a:xfrm>
              <a:off x="8288338" y="4391025"/>
              <a:ext cx="4762" cy="6350"/>
            </a:xfrm>
            <a:custGeom>
              <a:avLst/>
              <a:gdLst>
                <a:gd name="T0" fmla="*/ 4762 w 2"/>
                <a:gd name="T1" fmla="*/ 4233 h 3"/>
                <a:gd name="T2" fmla="*/ 2381 w 2"/>
                <a:gd name="T3" fmla="*/ 6350 h 3"/>
                <a:gd name="T4" fmla="*/ 0 w 2"/>
                <a:gd name="T5" fmla="*/ 2117 h 3"/>
                <a:gd name="T6" fmla="*/ 2381 w 2"/>
                <a:gd name="T7" fmla="*/ 0 h 3"/>
                <a:gd name="T8" fmla="*/ 4762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0" name="Freeform 490"/>
            <p:cNvSpPr>
              <a:spLocks noChangeAspect="1"/>
            </p:cNvSpPr>
            <p:nvPr/>
          </p:nvSpPr>
          <p:spPr bwMode="auto">
            <a:xfrm>
              <a:off x="8380413" y="4432300"/>
              <a:ext cx="6350" cy="6350"/>
            </a:xfrm>
            <a:custGeom>
              <a:avLst/>
              <a:gdLst>
                <a:gd name="T0" fmla="*/ 4233 w 3"/>
                <a:gd name="T1" fmla="*/ 2117 h 3"/>
                <a:gd name="T2" fmla="*/ 4233 w 3"/>
                <a:gd name="T3" fmla="*/ 4233 h 3"/>
                <a:gd name="T4" fmla="*/ 2117 w 3"/>
                <a:gd name="T5" fmla="*/ 4233 h 3"/>
                <a:gd name="T6" fmla="*/ 0 w 3"/>
                <a:gd name="T7" fmla="*/ 2117 h 3"/>
                <a:gd name="T8" fmla="*/ 4233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1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1" name="Freeform 491"/>
            <p:cNvSpPr>
              <a:spLocks noChangeAspect="1"/>
            </p:cNvSpPr>
            <p:nvPr/>
          </p:nvSpPr>
          <p:spPr bwMode="auto">
            <a:xfrm>
              <a:off x="8331200" y="4437063"/>
              <a:ext cx="4763" cy="4762"/>
            </a:xfrm>
            <a:custGeom>
              <a:avLst/>
              <a:gdLst>
                <a:gd name="T0" fmla="*/ 3175 w 3"/>
                <a:gd name="T1" fmla="*/ 1587 h 3"/>
                <a:gd name="T2" fmla="*/ 4763 w 3"/>
                <a:gd name="T3" fmla="*/ 3175 h 3"/>
                <a:gd name="T4" fmla="*/ 1588 w 3"/>
                <a:gd name="T5" fmla="*/ 3175 h 3"/>
                <a:gd name="T6" fmla="*/ 1588 w 3"/>
                <a:gd name="T7" fmla="*/ 1587 h 3"/>
                <a:gd name="T8" fmla="*/ 3175 w 3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1" y="2"/>
                    <a:pt x="0" y="2"/>
                    <a:pt x="1" y="1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2" name="Freeform 492"/>
            <p:cNvSpPr>
              <a:spLocks noChangeAspect="1"/>
            </p:cNvSpPr>
            <p:nvPr/>
          </p:nvSpPr>
          <p:spPr bwMode="auto">
            <a:xfrm>
              <a:off x="8312150" y="4410075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0 w 2"/>
                <a:gd name="T7" fmla="*/ 2117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3" name="Freeform 493"/>
            <p:cNvSpPr>
              <a:spLocks noChangeAspect="1"/>
            </p:cNvSpPr>
            <p:nvPr/>
          </p:nvSpPr>
          <p:spPr bwMode="auto">
            <a:xfrm>
              <a:off x="8158163" y="4451350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4" name="Freeform 494"/>
            <p:cNvSpPr>
              <a:spLocks noChangeAspect="1"/>
            </p:cNvSpPr>
            <p:nvPr/>
          </p:nvSpPr>
          <p:spPr bwMode="auto">
            <a:xfrm>
              <a:off x="8148638" y="4229100"/>
              <a:ext cx="4762" cy="1588"/>
            </a:xfrm>
            <a:custGeom>
              <a:avLst/>
              <a:gdLst>
                <a:gd name="T0" fmla="*/ 1587 w 3"/>
                <a:gd name="T1" fmla="*/ 1588 h 1"/>
                <a:gd name="T2" fmla="*/ 0 w 3"/>
                <a:gd name="T3" fmla="*/ 1588 h 1"/>
                <a:gd name="T4" fmla="*/ 1587 w 3"/>
                <a:gd name="T5" fmla="*/ 0 h 1"/>
                <a:gd name="T6" fmla="*/ 4762 w 3"/>
                <a:gd name="T7" fmla="*/ 1588 h 1"/>
                <a:gd name="T8" fmla="*/ 1587 w 3"/>
                <a:gd name="T9" fmla="*/ 1588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1" y="1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5" name="Freeform 495"/>
            <p:cNvSpPr>
              <a:spLocks noChangeAspect="1"/>
            </p:cNvSpPr>
            <p:nvPr/>
          </p:nvSpPr>
          <p:spPr bwMode="auto">
            <a:xfrm>
              <a:off x="8259763" y="4316413"/>
              <a:ext cx="3175" cy="3175"/>
            </a:xfrm>
            <a:custGeom>
              <a:avLst/>
              <a:gdLst>
                <a:gd name="T0" fmla="*/ 0 w 1"/>
                <a:gd name="T1" fmla="*/ 1588 h 2"/>
                <a:gd name="T2" fmla="*/ 0 w 1"/>
                <a:gd name="T3" fmla="*/ 0 h 2"/>
                <a:gd name="T4" fmla="*/ 3175 w 1"/>
                <a:gd name="T5" fmla="*/ 1588 h 2"/>
                <a:gd name="T6" fmla="*/ 3175 w 1"/>
                <a:gd name="T7" fmla="*/ 3175 h 2"/>
                <a:gd name="T8" fmla="*/ 0 w 1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6" name="Freeform 496"/>
            <p:cNvSpPr>
              <a:spLocks noChangeAspect="1"/>
            </p:cNvSpPr>
            <p:nvPr/>
          </p:nvSpPr>
          <p:spPr bwMode="auto">
            <a:xfrm>
              <a:off x="7881938" y="4427538"/>
              <a:ext cx="3175" cy="3175"/>
            </a:xfrm>
            <a:custGeom>
              <a:avLst/>
              <a:gdLst>
                <a:gd name="T0" fmla="*/ 1588 w 2"/>
                <a:gd name="T1" fmla="*/ 3175 h 2"/>
                <a:gd name="T2" fmla="*/ 0 w 2"/>
                <a:gd name="T3" fmla="*/ 1588 h 2"/>
                <a:gd name="T4" fmla="*/ 1588 w 2"/>
                <a:gd name="T5" fmla="*/ 0 h 2"/>
                <a:gd name="T6" fmla="*/ 3175 w 2"/>
                <a:gd name="T7" fmla="*/ 1588 h 2"/>
                <a:gd name="T8" fmla="*/ 1588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7" name="Freeform 497"/>
            <p:cNvSpPr>
              <a:spLocks noChangeAspect="1"/>
            </p:cNvSpPr>
            <p:nvPr/>
          </p:nvSpPr>
          <p:spPr bwMode="auto">
            <a:xfrm>
              <a:off x="7793038" y="4222750"/>
              <a:ext cx="4762" cy="6350"/>
            </a:xfrm>
            <a:custGeom>
              <a:avLst/>
              <a:gdLst>
                <a:gd name="T0" fmla="*/ 2381 w 2"/>
                <a:gd name="T1" fmla="*/ 4233 h 3"/>
                <a:gd name="T2" fmla="*/ 2381 w 2"/>
                <a:gd name="T3" fmla="*/ 6350 h 3"/>
                <a:gd name="T4" fmla="*/ 0 w 2"/>
                <a:gd name="T5" fmla="*/ 4233 h 3"/>
                <a:gd name="T6" fmla="*/ 2381 w 2"/>
                <a:gd name="T7" fmla="*/ 0 h 3"/>
                <a:gd name="T8" fmla="*/ 2381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8" name="Freeform 498"/>
            <p:cNvSpPr>
              <a:spLocks noChangeAspect="1"/>
            </p:cNvSpPr>
            <p:nvPr/>
          </p:nvSpPr>
          <p:spPr bwMode="auto">
            <a:xfrm>
              <a:off x="7758113" y="4313238"/>
              <a:ext cx="4762" cy="3175"/>
            </a:xfrm>
            <a:custGeom>
              <a:avLst/>
              <a:gdLst>
                <a:gd name="T0" fmla="*/ 3175 w 3"/>
                <a:gd name="T1" fmla="*/ 0 h 2"/>
                <a:gd name="T2" fmla="*/ 3175 w 3"/>
                <a:gd name="T3" fmla="*/ 1588 h 2"/>
                <a:gd name="T4" fmla="*/ 1587 w 3"/>
                <a:gd name="T5" fmla="*/ 3175 h 2"/>
                <a:gd name="T6" fmla="*/ 0 w 3"/>
                <a:gd name="T7" fmla="*/ 0 h 2"/>
                <a:gd name="T8" fmla="*/ 3175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499" name="Oval 499"/>
            <p:cNvSpPr>
              <a:spLocks noChangeAspect="1" noChangeArrowheads="1"/>
            </p:cNvSpPr>
            <p:nvPr/>
          </p:nvSpPr>
          <p:spPr bwMode="auto">
            <a:xfrm>
              <a:off x="7637463" y="4392613"/>
              <a:ext cx="3175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0" name="Freeform 500"/>
            <p:cNvSpPr>
              <a:spLocks noChangeAspect="1"/>
            </p:cNvSpPr>
            <p:nvPr/>
          </p:nvSpPr>
          <p:spPr bwMode="auto">
            <a:xfrm>
              <a:off x="7605713" y="4419600"/>
              <a:ext cx="1587" cy="3175"/>
            </a:xfrm>
            <a:custGeom>
              <a:avLst/>
              <a:gdLst>
                <a:gd name="T0" fmla="*/ 1587 w 1"/>
                <a:gd name="T1" fmla="*/ 1588 h 2"/>
                <a:gd name="T2" fmla="*/ 0 w 1"/>
                <a:gd name="T3" fmla="*/ 3175 h 2"/>
                <a:gd name="T4" fmla="*/ 0 w 1"/>
                <a:gd name="T5" fmla="*/ 1588 h 2"/>
                <a:gd name="T6" fmla="*/ 0 w 1"/>
                <a:gd name="T7" fmla="*/ 0 h 2"/>
                <a:gd name="T8" fmla="*/ 1587 w 1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1" name="Freeform 501"/>
            <p:cNvSpPr>
              <a:spLocks noChangeAspect="1"/>
            </p:cNvSpPr>
            <p:nvPr/>
          </p:nvSpPr>
          <p:spPr bwMode="auto">
            <a:xfrm>
              <a:off x="7664450" y="4413250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0 w 2"/>
                <a:gd name="T3" fmla="*/ 6350 h 3"/>
                <a:gd name="T4" fmla="*/ 0 w 2"/>
                <a:gd name="T5" fmla="*/ 2117 h 3"/>
                <a:gd name="T6" fmla="*/ 1588 w 2"/>
                <a:gd name="T7" fmla="*/ 2117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3"/>
                    <a:pt x="0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2" name="Freeform 502"/>
            <p:cNvSpPr>
              <a:spLocks noChangeAspect="1"/>
            </p:cNvSpPr>
            <p:nvPr/>
          </p:nvSpPr>
          <p:spPr bwMode="auto">
            <a:xfrm>
              <a:off x="7666038" y="4419600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0 w 2"/>
                <a:gd name="T3" fmla="*/ 6350 h 3"/>
                <a:gd name="T4" fmla="*/ 0 w 2"/>
                <a:gd name="T5" fmla="*/ 2117 h 3"/>
                <a:gd name="T6" fmla="*/ 1588 w 2"/>
                <a:gd name="T7" fmla="*/ 0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3" name="Freeform 503"/>
            <p:cNvSpPr>
              <a:spLocks noChangeAspect="1"/>
            </p:cNvSpPr>
            <p:nvPr/>
          </p:nvSpPr>
          <p:spPr bwMode="auto">
            <a:xfrm>
              <a:off x="7621588" y="4275138"/>
              <a:ext cx="6350" cy="4762"/>
            </a:xfrm>
            <a:custGeom>
              <a:avLst/>
              <a:gdLst>
                <a:gd name="T0" fmla="*/ 4233 w 3"/>
                <a:gd name="T1" fmla="*/ 3175 h 3"/>
                <a:gd name="T2" fmla="*/ 2117 w 3"/>
                <a:gd name="T3" fmla="*/ 4762 h 3"/>
                <a:gd name="T4" fmla="*/ 2117 w 3"/>
                <a:gd name="T5" fmla="*/ 1587 h 3"/>
                <a:gd name="T6" fmla="*/ 4233 w 3"/>
                <a:gd name="T7" fmla="*/ 1587 h 3"/>
                <a:gd name="T8" fmla="*/ 4233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4" name="Freeform 504"/>
            <p:cNvSpPr>
              <a:spLocks noChangeAspect="1"/>
            </p:cNvSpPr>
            <p:nvPr/>
          </p:nvSpPr>
          <p:spPr bwMode="auto">
            <a:xfrm>
              <a:off x="7673975" y="420528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5" name="Freeform 505"/>
            <p:cNvSpPr>
              <a:spLocks noChangeAspect="1"/>
            </p:cNvSpPr>
            <p:nvPr/>
          </p:nvSpPr>
          <p:spPr bwMode="auto">
            <a:xfrm>
              <a:off x="7529513" y="4356100"/>
              <a:ext cx="3175" cy="4763"/>
            </a:xfrm>
            <a:custGeom>
              <a:avLst/>
              <a:gdLst>
                <a:gd name="T0" fmla="*/ 3175 w 2"/>
                <a:gd name="T1" fmla="*/ 2382 h 2"/>
                <a:gd name="T2" fmla="*/ 1588 w 2"/>
                <a:gd name="T3" fmla="*/ 4763 h 2"/>
                <a:gd name="T4" fmla="*/ 0 w 2"/>
                <a:gd name="T5" fmla="*/ 2382 h 2"/>
                <a:gd name="T6" fmla="*/ 1588 w 2"/>
                <a:gd name="T7" fmla="*/ 0 h 2"/>
                <a:gd name="T8" fmla="*/ 3175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6" name="Freeform 506"/>
            <p:cNvSpPr>
              <a:spLocks noChangeAspect="1"/>
            </p:cNvSpPr>
            <p:nvPr/>
          </p:nvSpPr>
          <p:spPr bwMode="auto">
            <a:xfrm>
              <a:off x="7521575" y="4343400"/>
              <a:ext cx="3175" cy="3175"/>
            </a:xfrm>
            <a:custGeom>
              <a:avLst/>
              <a:gdLst>
                <a:gd name="T0" fmla="*/ 1588 w 2"/>
                <a:gd name="T1" fmla="*/ 1588 h 2"/>
                <a:gd name="T2" fmla="*/ 1588 w 2"/>
                <a:gd name="T3" fmla="*/ 3175 h 2"/>
                <a:gd name="T4" fmla="*/ 0 w 2"/>
                <a:gd name="T5" fmla="*/ 1588 h 2"/>
                <a:gd name="T6" fmla="*/ 0 w 2"/>
                <a:gd name="T7" fmla="*/ 0 h 2"/>
                <a:gd name="T8" fmla="*/ 1588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1"/>
                  </a:moveTo>
                  <a:cubicBezTo>
                    <a:pt x="2" y="1"/>
                    <a:pt x="2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7" name="Freeform 507"/>
            <p:cNvSpPr>
              <a:spLocks noChangeAspect="1"/>
            </p:cNvSpPr>
            <p:nvPr/>
          </p:nvSpPr>
          <p:spPr bwMode="auto">
            <a:xfrm>
              <a:off x="7610475" y="4181475"/>
              <a:ext cx="4763" cy="4763"/>
            </a:xfrm>
            <a:custGeom>
              <a:avLst/>
              <a:gdLst>
                <a:gd name="T0" fmla="*/ 4763 w 2"/>
                <a:gd name="T1" fmla="*/ 3175 h 3"/>
                <a:gd name="T2" fmla="*/ 2382 w 2"/>
                <a:gd name="T3" fmla="*/ 4763 h 3"/>
                <a:gd name="T4" fmla="*/ 0 w 2"/>
                <a:gd name="T5" fmla="*/ 3175 h 3"/>
                <a:gd name="T6" fmla="*/ 2382 w 2"/>
                <a:gd name="T7" fmla="*/ 1588 h 3"/>
                <a:gd name="T8" fmla="*/ 4763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8" name="Freeform 508"/>
            <p:cNvSpPr>
              <a:spLocks noChangeAspect="1"/>
            </p:cNvSpPr>
            <p:nvPr/>
          </p:nvSpPr>
          <p:spPr bwMode="auto">
            <a:xfrm>
              <a:off x="7608888" y="4173538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1588 w 2"/>
                <a:gd name="T3" fmla="*/ 3175 h 2"/>
                <a:gd name="T4" fmla="*/ 0 w 2"/>
                <a:gd name="T5" fmla="*/ 1588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09" name="Freeform 509"/>
            <p:cNvSpPr>
              <a:spLocks noChangeAspect="1"/>
            </p:cNvSpPr>
            <p:nvPr/>
          </p:nvSpPr>
          <p:spPr bwMode="auto">
            <a:xfrm>
              <a:off x="7615238" y="4194175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0" name="Freeform 510"/>
            <p:cNvSpPr>
              <a:spLocks noChangeAspect="1"/>
            </p:cNvSpPr>
            <p:nvPr/>
          </p:nvSpPr>
          <p:spPr bwMode="auto">
            <a:xfrm>
              <a:off x="7510463" y="424338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2117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1" name="Freeform 511"/>
            <p:cNvSpPr>
              <a:spLocks noChangeAspect="1"/>
            </p:cNvSpPr>
            <p:nvPr/>
          </p:nvSpPr>
          <p:spPr bwMode="auto">
            <a:xfrm>
              <a:off x="7524750" y="4246563"/>
              <a:ext cx="4763" cy="3175"/>
            </a:xfrm>
            <a:custGeom>
              <a:avLst/>
              <a:gdLst>
                <a:gd name="T0" fmla="*/ 4763 w 2"/>
                <a:gd name="T1" fmla="*/ 1588 h 2"/>
                <a:gd name="T2" fmla="*/ 2382 w 2"/>
                <a:gd name="T3" fmla="*/ 3175 h 2"/>
                <a:gd name="T4" fmla="*/ 2382 w 2"/>
                <a:gd name="T5" fmla="*/ 1588 h 2"/>
                <a:gd name="T6" fmla="*/ 2382 w 2"/>
                <a:gd name="T7" fmla="*/ 0 h 2"/>
                <a:gd name="T8" fmla="*/ 4763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2" name="Freeform 512"/>
            <p:cNvSpPr>
              <a:spLocks noChangeAspect="1"/>
            </p:cNvSpPr>
            <p:nvPr/>
          </p:nvSpPr>
          <p:spPr bwMode="auto">
            <a:xfrm>
              <a:off x="7610475" y="4203700"/>
              <a:ext cx="1588" cy="4763"/>
            </a:xfrm>
            <a:custGeom>
              <a:avLst/>
              <a:gdLst>
                <a:gd name="T0" fmla="*/ 1588 w 1"/>
                <a:gd name="T1" fmla="*/ 2382 h 2"/>
                <a:gd name="T2" fmla="*/ 0 w 1"/>
                <a:gd name="T3" fmla="*/ 4763 h 2"/>
                <a:gd name="T4" fmla="*/ 0 w 1"/>
                <a:gd name="T5" fmla="*/ 2382 h 2"/>
                <a:gd name="T6" fmla="*/ 1588 w 1"/>
                <a:gd name="T7" fmla="*/ 0 h 2"/>
                <a:gd name="T8" fmla="*/ 1588 w 1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3" name="Freeform 513"/>
            <p:cNvSpPr>
              <a:spLocks noChangeAspect="1"/>
            </p:cNvSpPr>
            <p:nvPr/>
          </p:nvSpPr>
          <p:spPr bwMode="auto">
            <a:xfrm>
              <a:off x="7608888" y="4213225"/>
              <a:ext cx="3175" cy="6350"/>
            </a:xfrm>
            <a:custGeom>
              <a:avLst/>
              <a:gdLst>
                <a:gd name="T0" fmla="*/ 1588 w 2"/>
                <a:gd name="T1" fmla="*/ 4233 h 3"/>
                <a:gd name="T2" fmla="*/ 0 w 2"/>
                <a:gd name="T3" fmla="*/ 6350 h 3"/>
                <a:gd name="T4" fmla="*/ 0 w 2"/>
                <a:gd name="T5" fmla="*/ 2117 h 3"/>
                <a:gd name="T6" fmla="*/ 1588 w 2"/>
                <a:gd name="T7" fmla="*/ 0 h 3"/>
                <a:gd name="T8" fmla="*/ 1588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4" name="Oval 514"/>
            <p:cNvSpPr>
              <a:spLocks noChangeAspect="1" noChangeArrowheads="1"/>
            </p:cNvSpPr>
            <p:nvPr/>
          </p:nvSpPr>
          <p:spPr bwMode="auto">
            <a:xfrm>
              <a:off x="7507288" y="4291013"/>
              <a:ext cx="4762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5" name="Freeform 515"/>
            <p:cNvSpPr>
              <a:spLocks noChangeAspect="1"/>
            </p:cNvSpPr>
            <p:nvPr/>
          </p:nvSpPr>
          <p:spPr bwMode="auto">
            <a:xfrm>
              <a:off x="7529513" y="4427538"/>
              <a:ext cx="3175" cy="4762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2 h 3"/>
                <a:gd name="T4" fmla="*/ 0 w 2"/>
                <a:gd name="T5" fmla="*/ 3175 h 3"/>
                <a:gd name="T6" fmla="*/ 1588 w 2"/>
                <a:gd name="T7" fmla="*/ 1587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6" name="Freeform 516"/>
            <p:cNvSpPr>
              <a:spLocks noChangeAspect="1"/>
            </p:cNvSpPr>
            <p:nvPr/>
          </p:nvSpPr>
          <p:spPr bwMode="auto">
            <a:xfrm>
              <a:off x="7472363" y="4486275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0 w 2"/>
                <a:gd name="T3" fmla="*/ 6350 h 3"/>
                <a:gd name="T4" fmla="*/ 0 w 2"/>
                <a:gd name="T5" fmla="*/ 2117 h 3"/>
                <a:gd name="T6" fmla="*/ 3175 w 2"/>
                <a:gd name="T7" fmla="*/ 2117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7" name="Freeform 517"/>
            <p:cNvSpPr>
              <a:spLocks noChangeAspect="1"/>
            </p:cNvSpPr>
            <p:nvPr/>
          </p:nvSpPr>
          <p:spPr bwMode="auto">
            <a:xfrm>
              <a:off x="7512050" y="4422775"/>
              <a:ext cx="12700" cy="12700"/>
            </a:xfrm>
            <a:custGeom>
              <a:avLst/>
              <a:gdLst>
                <a:gd name="T0" fmla="*/ 10886 w 7"/>
                <a:gd name="T1" fmla="*/ 2117 h 6"/>
                <a:gd name="T2" fmla="*/ 7257 w 7"/>
                <a:gd name="T3" fmla="*/ 10583 h 6"/>
                <a:gd name="T4" fmla="*/ 1814 w 7"/>
                <a:gd name="T5" fmla="*/ 10583 h 6"/>
                <a:gd name="T6" fmla="*/ 5443 w 7"/>
                <a:gd name="T7" fmla="*/ 2117 h 6"/>
                <a:gd name="T8" fmla="*/ 10886 w 7"/>
                <a:gd name="T9" fmla="*/ 211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1"/>
                  </a:moveTo>
                  <a:cubicBezTo>
                    <a:pt x="7" y="3"/>
                    <a:pt x="5" y="4"/>
                    <a:pt x="4" y="5"/>
                  </a:cubicBezTo>
                  <a:cubicBezTo>
                    <a:pt x="3" y="6"/>
                    <a:pt x="1" y="6"/>
                    <a:pt x="1" y="5"/>
                  </a:cubicBezTo>
                  <a:cubicBezTo>
                    <a:pt x="0" y="3"/>
                    <a:pt x="2" y="2"/>
                    <a:pt x="3" y="1"/>
                  </a:cubicBezTo>
                  <a:cubicBezTo>
                    <a:pt x="4" y="0"/>
                    <a:pt x="6" y="0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8" name="Freeform 518"/>
            <p:cNvSpPr>
              <a:spLocks noChangeAspect="1"/>
            </p:cNvSpPr>
            <p:nvPr/>
          </p:nvSpPr>
          <p:spPr bwMode="auto">
            <a:xfrm>
              <a:off x="7539038" y="4421188"/>
              <a:ext cx="20637" cy="9525"/>
            </a:xfrm>
            <a:custGeom>
              <a:avLst/>
              <a:gdLst>
                <a:gd name="T0" fmla="*/ 1876 w 11"/>
                <a:gd name="T1" fmla="*/ 1905 h 5"/>
                <a:gd name="T2" fmla="*/ 18761 w 11"/>
                <a:gd name="T3" fmla="*/ 1905 h 5"/>
                <a:gd name="T4" fmla="*/ 18761 w 11"/>
                <a:gd name="T5" fmla="*/ 7620 h 5"/>
                <a:gd name="T6" fmla="*/ 3752 w 11"/>
                <a:gd name="T7" fmla="*/ 5715 h 5"/>
                <a:gd name="T8" fmla="*/ 1876 w 11"/>
                <a:gd name="T9" fmla="*/ 190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5"/>
                <a:gd name="T17" fmla="*/ 11 w 11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5">
                  <a:moveTo>
                    <a:pt x="1" y="1"/>
                  </a:moveTo>
                  <a:cubicBezTo>
                    <a:pt x="4" y="0"/>
                    <a:pt x="7" y="0"/>
                    <a:pt x="10" y="1"/>
                  </a:cubicBezTo>
                  <a:cubicBezTo>
                    <a:pt x="11" y="2"/>
                    <a:pt x="11" y="4"/>
                    <a:pt x="10" y="4"/>
                  </a:cubicBezTo>
                  <a:cubicBezTo>
                    <a:pt x="7" y="5"/>
                    <a:pt x="4" y="4"/>
                    <a:pt x="2" y="3"/>
                  </a:cubicBezTo>
                  <a:cubicBezTo>
                    <a:pt x="1" y="3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19" name="Freeform 519"/>
            <p:cNvSpPr>
              <a:spLocks noChangeAspect="1"/>
            </p:cNvSpPr>
            <p:nvPr/>
          </p:nvSpPr>
          <p:spPr bwMode="auto">
            <a:xfrm>
              <a:off x="7569200" y="4406900"/>
              <a:ext cx="28575" cy="12700"/>
            </a:xfrm>
            <a:custGeom>
              <a:avLst/>
              <a:gdLst>
                <a:gd name="T0" fmla="*/ 5715 w 15"/>
                <a:gd name="T1" fmla="*/ 1814 h 7"/>
                <a:gd name="T2" fmla="*/ 1905 w 15"/>
                <a:gd name="T3" fmla="*/ 10886 h 7"/>
                <a:gd name="T4" fmla="*/ 9525 w 15"/>
                <a:gd name="T5" fmla="*/ 9071 h 7"/>
                <a:gd name="T6" fmla="*/ 20955 w 15"/>
                <a:gd name="T7" fmla="*/ 10886 h 7"/>
                <a:gd name="T8" fmla="*/ 28575 w 15"/>
                <a:gd name="T9" fmla="*/ 3629 h 7"/>
                <a:gd name="T10" fmla="*/ 20955 w 15"/>
                <a:gd name="T11" fmla="*/ 1814 h 7"/>
                <a:gd name="T12" fmla="*/ 11430 w 15"/>
                <a:gd name="T13" fmla="*/ 3629 h 7"/>
                <a:gd name="T14" fmla="*/ 5715 w 15"/>
                <a:gd name="T15" fmla="*/ 1814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7"/>
                <a:gd name="T26" fmla="*/ 15 w 15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7">
                  <a:moveTo>
                    <a:pt x="3" y="1"/>
                  </a:moveTo>
                  <a:cubicBezTo>
                    <a:pt x="1" y="2"/>
                    <a:pt x="0" y="5"/>
                    <a:pt x="1" y="6"/>
                  </a:cubicBezTo>
                  <a:cubicBezTo>
                    <a:pt x="2" y="7"/>
                    <a:pt x="3" y="5"/>
                    <a:pt x="5" y="5"/>
                  </a:cubicBezTo>
                  <a:cubicBezTo>
                    <a:pt x="7" y="5"/>
                    <a:pt x="9" y="6"/>
                    <a:pt x="11" y="6"/>
                  </a:cubicBezTo>
                  <a:cubicBezTo>
                    <a:pt x="13" y="5"/>
                    <a:pt x="15" y="4"/>
                    <a:pt x="15" y="2"/>
                  </a:cubicBezTo>
                  <a:cubicBezTo>
                    <a:pt x="15" y="1"/>
                    <a:pt x="12" y="1"/>
                    <a:pt x="11" y="1"/>
                  </a:cubicBezTo>
                  <a:cubicBezTo>
                    <a:pt x="9" y="1"/>
                    <a:pt x="8" y="2"/>
                    <a:pt x="6" y="2"/>
                  </a:cubicBezTo>
                  <a:cubicBezTo>
                    <a:pt x="5" y="2"/>
                    <a:pt x="4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0" name="Freeform 520"/>
            <p:cNvSpPr>
              <a:spLocks noChangeAspect="1"/>
            </p:cNvSpPr>
            <p:nvPr/>
          </p:nvSpPr>
          <p:spPr bwMode="auto">
            <a:xfrm>
              <a:off x="7488238" y="4322763"/>
              <a:ext cx="14287" cy="23812"/>
            </a:xfrm>
            <a:custGeom>
              <a:avLst/>
              <a:gdLst>
                <a:gd name="T0" fmla="*/ 10205 w 7"/>
                <a:gd name="T1" fmla="*/ 1832 h 13"/>
                <a:gd name="T2" fmla="*/ 12246 w 7"/>
                <a:gd name="T3" fmla="*/ 9158 h 13"/>
                <a:gd name="T4" fmla="*/ 8164 w 7"/>
                <a:gd name="T5" fmla="*/ 21980 h 13"/>
                <a:gd name="T6" fmla="*/ 2041 w 7"/>
                <a:gd name="T7" fmla="*/ 20149 h 13"/>
                <a:gd name="T8" fmla="*/ 2041 w 7"/>
                <a:gd name="T9" fmla="*/ 7327 h 13"/>
                <a:gd name="T10" fmla="*/ 10205 w 7"/>
                <a:gd name="T11" fmla="*/ 1832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3"/>
                <a:gd name="T20" fmla="*/ 7 w 7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3">
                  <a:moveTo>
                    <a:pt x="5" y="1"/>
                  </a:moveTo>
                  <a:cubicBezTo>
                    <a:pt x="7" y="1"/>
                    <a:pt x="6" y="4"/>
                    <a:pt x="6" y="5"/>
                  </a:cubicBezTo>
                  <a:cubicBezTo>
                    <a:pt x="5" y="8"/>
                    <a:pt x="5" y="10"/>
                    <a:pt x="4" y="12"/>
                  </a:cubicBezTo>
                  <a:cubicBezTo>
                    <a:pt x="3" y="13"/>
                    <a:pt x="1" y="12"/>
                    <a:pt x="1" y="11"/>
                  </a:cubicBezTo>
                  <a:cubicBezTo>
                    <a:pt x="0" y="9"/>
                    <a:pt x="0" y="6"/>
                    <a:pt x="1" y="4"/>
                  </a:cubicBezTo>
                  <a:cubicBezTo>
                    <a:pt x="2" y="2"/>
                    <a:pt x="4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1" name="Freeform 521"/>
            <p:cNvSpPr>
              <a:spLocks noChangeAspect="1"/>
            </p:cNvSpPr>
            <p:nvPr/>
          </p:nvSpPr>
          <p:spPr bwMode="auto">
            <a:xfrm>
              <a:off x="7477125" y="4338638"/>
              <a:ext cx="9525" cy="7937"/>
            </a:xfrm>
            <a:custGeom>
              <a:avLst/>
              <a:gdLst>
                <a:gd name="T0" fmla="*/ 5715 w 5"/>
                <a:gd name="T1" fmla="*/ 0 h 4"/>
                <a:gd name="T2" fmla="*/ 7620 w 5"/>
                <a:gd name="T3" fmla="*/ 5953 h 4"/>
                <a:gd name="T4" fmla="*/ 1905 w 5"/>
                <a:gd name="T5" fmla="*/ 7937 h 4"/>
                <a:gd name="T6" fmla="*/ 5715 w 5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4"/>
                <a:gd name="T14" fmla="*/ 5 w 5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4">
                  <a:moveTo>
                    <a:pt x="3" y="0"/>
                  </a:moveTo>
                  <a:cubicBezTo>
                    <a:pt x="4" y="0"/>
                    <a:pt x="5" y="2"/>
                    <a:pt x="4" y="3"/>
                  </a:cubicBezTo>
                  <a:cubicBezTo>
                    <a:pt x="4" y="4"/>
                    <a:pt x="2" y="4"/>
                    <a:pt x="1" y="4"/>
                  </a:cubicBezTo>
                  <a:cubicBezTo>
                    <a:pt x="0" y="2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2" name="Freeform 522"/>
            <p:cNvSpPr>
              <a:spLocks noChangeAspect="1"/>
            </p:cNvSpPr>
            <p:nvPr/>
          </p:nvSpPr>
          <p:spPr bwMode="auto">
            <a:xfrm>
              <a:off x="7497763" y="4316413"/>
              <a:ext cx="17462" cy="38100"/>
            </a:xfrm>
            <a:custGeom>
              <a:avLst/>
              <a:gdLst>
                <a:gd name="T0" fmla="*/ 15522 w 9"/>
                <a:gd name="T1" fmla="*/ 1905 h 20"/>
                <a:gd name="T2" fmla="*/ 15522 w 9"/>
                <a:gd name="T3" fmla="*/ 7620 h 20"/>
                <a:gd name="T4" fmla="*/ 9701 w 9"/>
                <a:gd name="T5" fmla="*/ 7620 h 20"/>
                <a:gd name="T6" fmla="*/ 7761 w 9"/>
                <a:gd name="T7" fmla="*/ 22860 h 20"/>
                <a:gd name="T8" fmla="*/ 13582 w 9"/>
                <a:gd name="T9" fmla="*/ 24765 h 20"/>
                <a:gd name="T10" fmla="*/ 11641 w 9"/>
                <a:gd name="T11" fmla="*/ 30480 h 20"/>
                <a:gd name="T12" fmla="*/ 5821 w 9"/>
                <a:gd name="T13" fmla="*/ 30480 h 20"/>
                <a:gd name="T14" fmla="*/ 1940 w 9"/>
                <a:gd name="T15" fmla="*/ 36195 h 20"/>
                <a:gd name="T16" fmla="*/ 1940 w 9"/>
                <a:gd name="T17" fmla="*/ 26670 h 20"/>
                <a:gd name="T18" fmla="*/ 5821 w 9"/>
                <a:gd name="T19" fmla="*/ 9525 h 20"/>
                <a:gd name="T20" fmla="*/ 7761 w 9"/>
                <a:gd name="T21" fmla="*/ 1905 h 20"/>
                <a:gd name="T22" fmla="*/ 15522 w 9"/>
                <a:gd name="T23" fmla="*/ 1905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20"/>
                <a:gd name="T38" fmla="*/ 9 w 9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20">
                  <a:moveTo>
                    <a:pt x="8" y="1"/>
                  </a:moveTo>
                  <a:cubicBezTo>
                    <a:pt x="9" y="1"/>
                    <a:pt x="9" y="3"/>
                    <a:pt x="8" y="4"/>
                  </a:cubicBezTo>
                  <a:cubicBezTo>
                    <a:pt x="7" y="5"/>
                    <a:pt x="6" y="3"/>
                    <a:pt x="5" y="4"/>
                  </a:cubicBezTo>
                  <a:cubicBezTo>
                    <a:pt x="4" y="6"/>
                    <a:pt x="3" y="9"/>
                    <a:pt x="4" y="12"/>
                  </a:cubicBezTo>
                  <a:cubicBezTo>
                    <a:pt x="4" y="13"/>
                    <a:pt x="7" y="12"/>
                    <a:pt x="7" y="13"/>
                  </a:cubicBezTo>
                  <a:cubicBezTo>
                    <a:pt x="8" y="13"/>
                    <a:pt x="7" y="15"/>
                    <a:pt x="6" y="16"/>
                  </a:cubicBezTo>
                  <a:cubicBezTo>
                    <a:pt x="5" y="16"/>
                    <a:pt x="4" y="15"/>
                    <a:pt x="3" y="16"/>
                  </a:cubicBezTo>
                  <a:cubicBezTo>
                    <a:pt x="2" y="17"/>
                    <a:pt x="2" y="20"/>
                    <a:pt x="1" y="19"/>
                  </a:cubicBezTo>
                  <a:cubicBezTo>
                    <a:pt x="0" y="18"/>
                    <a:pt x="1" y="16"/>
                    <a:pt x="1" y="14"/>
                  </a:cubicBezTo>
                  <a:cubicBezTo>
                    <a:pt x="2" y="11"/>
                    <a:pt x="3" y="8"/>
                    <a:pt x="3" y="5"/>
                  </a:cubicBezTo>
                  <a:cubicBezTo>
                    <a:pt x="4" y="4"/>
                    <a:pt x="3" y="2"/>
                    <a:pt x="4" y="1"/>
                  </a:cubicBezTo>
                  <a:cubicBezTo>
                    <a:pt x="5" y="0"/>
                    <a:pt x="7" y="0"/>
                    <a:pt x="8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3" name="Freeform 523"/>
            <p:cNvSpPr>
              <a:spLocks noChangeAspect="1"/>
            </p:cNvSpPr>
            <p:nvPr/>
          </p:nvSpPr>
          <p:spPr bwMode="auto">
            <a:xfrm>
              <a:off x="7550150" y="4427538"/>
              <a:ext cx="55563" cy="31750"/>
            </a:xfrm>
            <a:custGeom>
              <a:avLst/>
              <a:gdLst>
                <a:gd name="T0" fmla="*/ 5748 w 29"/>
                <a:gd name="T1" fmla="*/ 31750 h 17"/>
                <a:gd name="T2" fmla="*/ 15328 w 29"/>
                <a:gd name="T3" fmla="*/ 28015 h 17"/>
                <a:gd name="T4" fmla="*/ 24908 w 29"/>
                <a:gd name="T5" fmla="*/ 22412 h 17"/>
                <a:gd name="T6" fmla="*/ 38319 w 29"/>
                <a:gd name="T7" fmla="*/ 16809 h 17"/>
                <a:gd name="T8" fmla="*/ 44067 w 29"/>
                <a:gd name="T9" fmla="*/ 13074 h 17"/>
                <a:gd name="T10" fmla="*/ 53647 w 29"/>
                <a:gd name="T11" fmla="*/ 5603 h 17"/>
                <a:gd name="T12" fmla="*/ 55563 w 29"/>
                <a:gd name="T13" fmla="*/ 1868 h 17"/>
                <a:gd name="T14" fmla="*/ 45983 w 29"/>
                <a:gd name="T15" fmla="*/ 1868 h 17"/>
                <a:gd name="T16" fmla="*/ 26824 w 29"/>
                <a:gd name="T17" fmla="*/ 3735 h 17"/>
                <a:gd name="T18" fmla="*/ 7664 w 29"/>
                <a:gd name="T19" fmla="*/ 7471 h 17"/>
                <a:gd name="T20" fmla="*/ 0 w 29"/>
                <a:gd name="T21" fmla="*/ 16809 h 17"/>
                <a:gd name="T22" fmla="*/ 5748 w 29"/>
                <a:gd name="T23" fmla="*/ 22412 h 17"/>
                <a:gd name="T24" fmla="*/ 5748 w 29"/>
                <a:gd name="T25" fmla="*/ 31750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17"/>
                <a:gd name="T41" fmla="*/ 29 w 29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17">
                  <a:moveTo>
                    <a:pt x="3" y="17"/>
                  </a:moveTo>
                  <a:cubicBezTo>
                    <a:pt x="4" y="17"/>
                    <a:pt x="6" y="16"/>
                    <a:pt x="8" y="15"/>
                  </a:cubicBezTo>
                  <a:cubicBezTo>
                    <a:pt x="9" y="14"/>
                    <a:pt x="11" y="13"/>
                    <a:pt x="13" y="12"/>
                  </a:cubicBezTo>
                  <a:cubicBezTo>
                    <a:pt x="15" y="11"/>
                    <a:pt x="18" y="10"/>
                    <a:pt x="20" y="9"/>
                  </a:cubicBezTo>
                  <a:cubicBezTo>
                    <a:pt x="21" y="9"/>
                    <a:pt x="22" y="7"/>
                    <a:pt x="23" y="7"/>
                  </a:cubicBezTo>
                  <a:cubicBezTo>
                    <a:pt x="24" y="5"/>
                    <a:pt x="27" y="5"/>
                    <a:pt x="28" y="3"/>
                  </a:cubicBezTo>
                  <a:cubicBezTo>
                    <a:pt x="29" y="3"/>
                    <a:pt x="29" y="1"/>
                    <a:pt x="29" y="1"/>
                  </a:cubicBezTo>
                  <a:cubicBezTo>
                    <a:pt x="27" y="0"/>
                    <a:pt x="26" y="1"/>
                    <a:pt x="24" y="1"/>
                  </a:cubicBezTo>
                  <a:cubicBezTo>
                    <a:pt x="21" y="1"/>
                    <a:pt x="17" y="2"/>
                    <a:pt x="14" y="2"/>
                  </a:cubicBezTo>
                  <a:cubicBezTo>
                    <a:pt x="10" y="3"/>
                    <a:pt x="7" y="3"/>
                    <a:pt x="4" y="4"/>
                  </a:cubicBezTo>
                  <a:cubicBezTo>
                    <a:pt x="2" y="5"/>
                    <a:pt x="1" y="8"/>
                    <a:pt x="0" y="9"/>
                  </a:cubicBezTo>
                  <a:cubicBezTo>
                    <a:pt x="1" y="10"/>
                    <a:pt x="2" y="11"/>
                    <a:pt x="3" y="12"/>
                  </a:cubicBezTo>
                  <a:cubicBezTo>
                    <a:pt x="3" y="14"/>
                    <a:pt x="3" y="16"/>
                    <a:pt x="3" y="1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4" name="Freeform 524"/>
            <p:cNvSpPr>
              <a:spLocks noChangeAspect="1"/>
            </p:cNvSpPr>
            <p:nvPr/>
          </p:nvSpPr>
          <p:spPr bwMode="auto">
            <a:xfrm>
              <a:off x="7540625" y="4240213"/>
              <a:ext cx="26988" cy="12700"/>
            </a:xfrm>
            <a:custGeom>
              <a:avLst/>
              <a:gdLst>
                <a:gd name="T0" fmla="*/ 5783 w 14"/>
                <a:gd name="T1" fmla="*/ 1814 h 7"/>
                <a:gd name="T2" fmla="*/ 21205 w 14"/>
                <a:gd name="T3" fmla="*/ 1814 h 7"/>
                <a:gd name="T4" fmla="*/ 26988 w 14"/>
                <a:gd name="T5" fmla="*/ 5443 h 7"/>
                <a:gd name="T6" fmla="*/ 21205 w 14"/>
                <a:gd name="T7" fmla="*/ 9071 h 7"/>
                <a:gd name="T8" fmla="*/ 9639 w 14"/>
                <a:gd name="T9" fmla="*/ 9071 h 7"/>
                <a:gd name="T10" fmla="*/ 1928 w 14"/>
                <a:gd name="T11" fmla="*/ 10886 h 7"/>
                <a:gd name="T12" fmla="*/ 5783 w 14"/>
                <a:gd name="T13" fmla="*/ 1814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7"/>
                <a:gd name="T23" fmla="*/ 14 w 1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7">
                  <a:moveTo>
                    <a:pt x="3" y="1"/>
                  </a:moveTo>
                  <a:cubicBezTo>
                    <a:pt x="5" y="0"/>
                    <a:pt x="8" y="1"/>
                    <a:pt x="11" y="1"/>
                  </a:cubicBezTo>
                  <a:cubicBezTo>
                    <a:pt x="12" y="1"/>
                    <a:pt x="14" y="2"/>
                    <a:pt x="14" y="3"/>
                  </a:cubicBezTo>
                  <a:cubicBezTo>
                    <a:pt x="14" y="4"/>
                    <a:pt x="12" y="5"/>
                    <a:pt x="11" y="5"/>
                  </a:cubicBezTo>
                  <a:cubicBezTo>
                    <a:pt x="9" y="5"/>
                    <a:pt x="7" y="5"/>
                    <a:pt x="5" y="5"/>
                  </a:cubicBezTo>
                  <a:cubicBezTo>
                    <a:pt x="3" y="5"/>
                    <a:pt x="2" y="7"/>
                    <a:pt x="1" y="6"/>
                  </a:cubicBezTo>
                  <a:cubicBezTo>
                    <a:pt x="0" y="4"/>
                    <a:pt x="1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5" name="Freeform 525"/>
            <p:cNvSpPr>
              <a:spLocks noChangeAspect="1"/>
            </p:cNvSpPr>
            <p:nvPr/>
          </p:nvSpPr>
          <p:spPr bwMode="auto">
            <a:xfrm>
              <a:off x="7504113" y="4227513"/>
              <a:ext cx="25400" cy="14287"/>
            </a:xfrm>
            <a:custGeom>
              <a:avLst/>
              <a:gdLst>
                <a:gd name="T0" fmla="*/ 13677 w 13"/>
                <a:gd name="T1" fmla="*/ 5358 h 8"/>
                <a:gd name="T2" fmla="*/ 19538 w 13"/>
                <a:gd name="T3" fmla="*/ 1786 h 8"/>
                <a:gd name="T4" fmla="*/ 23446 w 13"/>
                <a:gd name="T5" fmla="*/ 10715 h 8"/>
                <a:gd name="T6" fmla="*/ 15631 w 13"/>
                <a:gd name="T7" fmla="*/ 8929 h 8"/>
                <a:gd name="T8" fmla="*/ 9769 w 13"/>
                <a:gd name="T9" fmla="*/ 10715 h 8"/>
                <a:gd name="T10" fmla="*/ 7815 w 13"/>
                <a:gd name="T11" fmla="*/ 8929 h 8"/>
                <a:gd name="T12" fmla="*/ 1954 w 13"/>
                <a:gd name="T13" fmla="*/ 10715 h 8"/>
                <a:gd name="T14" fmla="*/ 1954 w 13"/>
                <a:gd name="T15" fmla="*/ 3572 h 8"/>
                <a:gd name="T16" fmla="*/ 13677 w 13"/>
                <a:gd name="T17" fmla="*/ 5358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8"/>
                <a:gd name="T29" fmla="*/ 13 w 13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8">
                  <a:moveTo>
                    <a:pt x="7" y="3"/>
                  </a:moveTo>
                  <a:cubicBezTo>
                    <a:pt x="8" y="3"/>
                    <a:pt x="9" y="0"/>
                    <a:pt x="10" y="1"/>
                  </a:cubicBezTo>
                  <a:cubicBezTo>
                    <a:pt x="12" y="2"/>
                    <a:pt x="13" y="5"/>
                    <a:pt x="12" y="6"/>
                  </a:cubicBezTo>
                  <a:cubicBezTo>
                    <a:pt x="11" y="8"/>
                    <a:pt x="9" y="5"/>
                    <a:pt x="8" y="5"/>
                  </a:cubicBezTo>
                  <a:cubicBezTo>
                    <a:pt x="7" y="5"/>
                    <a:pt x="6" y="7"/>
                    <a:pt x="5" y="6"/>
                  </a:cubicBezTo>
                  <a:cubicBezTo>
                    <a:pt x="4" y="6"/>
                    <a:pt x="5" y="5"/>
                    <a:pt x="4" y="5"/>
                  </a:cubicBezTo>
                  <a:cubicBezTo>
                    <a:pt x="3" y="5"/>
                    <a:pt x="2" y="6"/>
                    <a:pt x="1" y="6"/>
                  </a:cubicBezTo>
                  <a:cubicBezTo>
                    <a:pt x="1" y="5"/>
                    <a:pt x="0" y="2"/>
                    <a:pt x="1" y="2"/>
                  </a:cubicBezTo>
                  <a:cubicBezTo>
                    <a:pt x="3" y="1"/>
                    <a:pt x="5" y="3"/>
                    <a:pt x="7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6" name="Freeform 526"/>
            <p:cNvSpPr>
              <a:spLocks noChangeAspect="1"/>
            </p:cNvSpPr>
            <p:nvPr/>
          </p:nvSpPr>
          <p:spPr bwMode="auto">
            <a:xfrm>
              <a:off x="7569200" y="4243388"/>
              <a:ext cx="23813" cy="4762"/>
            </a:xfrm>
            <a:custGeom>
              <a:avLst/>
              <a:gdLst>
                <a:gd name="T0" fmla="*/ 0 w 13"/>
                <a:gd name="T1" fmla="*/ 0 h 2"/>
                <a:gd name="T2" fmla="*/ 0 w 13"/>
                <a:gd name="T3" fmla="*/ 4762 h 2"/>
                <a:gd name="T4" fmla="*/ 23813 w 13"/>
                <a:gd name="T5" fmla="*/ 2381 h 2"/>
                <a:gd name="T6" fmla="*/ 0 w 1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2"/>
                <a:gd name="T14" fmla="*/ 13 w 1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2">
                  <a:moveTo>
                    <a:pt x="0" y="0"/>
                  </a:moveTo>
                  <a:cubicBezTo>
                    <a:pt x="0" y="0"/>
                    <a:pt x="0" y="2"/>
                    <a:pt x="0" y="2"/>
                  </a:cubicBezTo>
                  <a:cubicBezTo>
                    <a:pt x="4" y="2"/>
                    <a:pt x="9" y="2"/>
                    <a:pt x="13" y="1"/>
                  </a:cubicBezTo>
                  <a:cubicBezTo>
                    <a:pt x="9" y="0"/>
                    <a:pt x="4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7" name="Freeform 527"/>
            <p:cNvSpPr>
              <a:spLocks noChangeAspect="1"/>
            </p:cNvSpPr>
            <p:nvPr/>
          </p:nvSpPr>
          <p:spPr bwMode="auto">
            <a:xfrm>
              <a:off x="7580313" y="4279900"/>
              <a:ext cx="31750" cy="23813"/>
            </a:xfrm>
            <a:custGeom>
              <a:avLst/>
              <a:gdLst>
                <a:gd name="T0" fmla="*/ 3735 w 17"/>
                <a:gd name="T1" fmla="*/ 3969 h 12"/>
                <a:gd name="T2" fmla="*/ 20544 w 17"/>
                <a:gd name="T3" fmla="*/ 1984 h 12"/>
                <a:gd name="T4" fmla="*/ 28015 w 17"/>
                <a:gd name="T5" fmla="*/ 5953 h 12"/>
                <a:gd name="T6" fmla="*/ 24279 w 17"/>
                <a:gd name="T7" fmla="*/ 9922 h 12"/>
                <a:gd name="T8" fmla="*/ 29882 w 17"/>
                <a:gd name="T9" fmla="*/ 17860 h 12"/>
                <a:gd name="T10" fmla="*/ 18676 w 17"/>
                <a:gd name="T11" fmla="*/ 23813 h 12"/>
                <a:gd name="T12" fmla="*/ 1868 w 17"/>
                <a:gd name="T13" fmla="*/ 13891 h 12"/>
                <a:gd name="T14" fmla="*/ 3735 w 17"/>
                <a:gd name="T15" fmla="*/ 3969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2"/>
                <a:gd name="T26" fmla="*/ 17 w 17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2">
                  <a:moveTo>
                    <a:pt x="2" y="2"/>
                  </a:moveTo>
                  <a:cubicBezTo>
                    <a:pt x="5" y="0"/>
                    <a:pt x="8" y="0"/>
                    <a:pt x="11" y="1"/>
                  </a:cubicBezTo>
                  <a:cubicBezTo>
                    <a:pt x="13" y="1"/>
                    <a:pt x="14" y="1"/>
                    <a:pt x="15" y="3"/>
                  </a:cubicBezTo>
                  <a:cubicBezTo>
                    <a:pt x="16" y="4"/>
                    <a:pt x="13" y="4"/>
                    <a:pt x="13" y="5"/>
                  </a:cubicBezTo>
                  <a:cubicBezTo>
                    <a:pt x="14" y="6"/>
                    <a:pt x="17" y="7"/>
                    <a:pt x="16" y="9"/>
                  </a:cubicBezTo>
                  <a:cubicBezTo>
                    <a:pt x="15" y="11"/>
                    <a:pt x="12" y="10"/>
                    <a:pt x="10" y="12"/>
                  </a:cubicBezTo>
                  <a:cubicBezTo>
                    <a:pt x="6" y="11"/>
                    <a:pt x="3" y="10"/>
                    <a:pt x="1" y="7"/>
                  </a:cubicBezTo>
                  <a:cubicBezTo>
                    <a:pt x="0" y="6"/>
                    <a:pt x="1" y="3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8" name="Freeform 528"/>
            <p:cNvSpPr>
              <a:spLocks noChangeAspect="1"/>
            </p:cNvSpPr>
            <p:nvPr/>
          </p:nvSpPr>
          <p:spPr bwMode="auto">
            <a:xfrm>
              <a:off x="7612063" y="4232275"/>
              <a:ext cx="22225" cy="11113"/>
            </a:xfrm>
            <a:custGeom>
              <a:avLst/>
              <a:gdLst>
                <a:gd name="T0" fmla="*/ 10102 w 11"/>
                <a:gd name="T1" fmla="*/ 0 h 6"/>
                <a:gd name="T2" fmla="*/ 22225 w 11"/>
                <a:gd name="T3" fmla="*/ 7409 h 6"/>
                <a:gd name="T4" fmla="*/ 18184 w 11"/>
                <a:gd name="T5" fmla="*/ 11113 h 6"/>
                <a:gd name="T6" fmla="*/ 8082 w 11"/>
                <a:gd name="T7" fmla="*/ 11113 h 6"/>
                <a:gd name="T8" fmla="*/ 0 w 11"/>
                <a:gd name="T9" fmla="*/ 7409 h 6"/>
                <a:gd name="T10" fmla="*/ 10102 w 11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6"/>
                <a:gd name="T20" fmla="*/ 11 w 11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6">
                  <a:moveTo>
                    <a:pt x="5" y="0"/>
                  </a:moveTo>
                  <a:cubicBezTo>
                    <a:pt x="7" y="1"/>
                    <a:pt x="9" y="3"/>
                    <a:pt x="11" y="4"/>
                  </a:cubicBezTo>
                  <a:cubicBezTo>
                    <a:pt x="11" y="5"/>
                    <a:pt x="10" y="6"/>
                    <a:pt x="9" y="6"/>
                  </a:cubicBezTo>
                  <a:cubicBezTo>
                    <a:pt x="7" y="6"/>
                    <a:pt x="6" y="6"/>
                    <a:pt x="4" y="6"/>
                  </a:cubicBezTo>
                  <a:cubicBezTo>
                    <a:pt x="3" y="5"/>
                    <a:pt x="0" y="5"/>
                    <a:pt x="0" y="4"/>
                  </a:cubicBezTo>
                  <a:cubicBezTo>
                    <a:pt x="0" y="2"/>
                    <a:pt x="3" y="0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29" name="Freeform 529"/>
            <p:cNvSpPr>
              <a:spLocks noChangeAspect="1"/>
            </p:cNvSpPr>
            <p:nvPr/>
          </p:nvSpPr>
          <p:spPr bwMode="auto">
            <a:xfrm>
              <a:off x="7615238" y="4135438"/>
              <a:ext cx="34925" cy="84137"/>
            </a:xfrm>
            <a:custGeom>
              <a:avLst/>
              <a:gdLst>
                <a:gd name="T0" fmla="*/ 14705 w 19"/>
                <a:gd name="T1" fmla="*/ 1912 h 44"/>
                <a:gd name="T2" fmla="*/ 9191 w 19"/>
                <a:gd name="T3" fmla="*/ 9561 h 44"/>
                <a:gd name="T4" fmla="*/ 12867 w 19"/>
                <a:gd name="T5" fmla="*/ 21034 h 44"/>
                <a:gd name="T6" fmla="*/ 5514 w 19"/>
                <a:gd name="T7" fmla="*/ 34420 h 44"/>
                <a:gd name="T8" fmla="*/ 12867 w 19"/>
                <a:gd name="T9" fmla="*/ 38244 h 44"/>
                <a:gd name="T10" fmla="*/ 18382 w 19"/>
                <a:gd name="T11" fmla="*/ 26771 h 44"/>
                <a:gd name="T12" fmla="*/ 29411 w 19"/>
                <a:gd name="T13" fmla="*/ 19122 h 44"/>
                <a:gd name="T14" fmla="*/ 31249 w 19"/>
                <a:gd name="T15" fmla="*/ 32507 h 44"/>
                <a:gd name="T16" fmla="*/ 20220 w 19"/>
                <a:gd name="T17" fmla="*/ 36332 h 44"/>
                <a:gd name="T18" fmla="*/ 20220 w 19"/>
                <a:gd name="T19" fmla="*/ 40156 h 44"/>
                <a:gd name="T20" fmla="*/ 33087 w 19"/>
                <a:gd name="T21" fmla="*/ 49717 h 44"/>
                <a:gd name="T22" fmla="*/ 29411 w 19"/>
                <a:gd name="T23" fmla="*/ 49717 h 44"/>
                <a:gd name="T24" fmla="*/ 12867 w 19"/>
                <a:gd name="T25" fmla="*/ 47805 h 44"/>
                <a:gd name="T26" fmla="*/ 12867 w 19"/>
                <a:gd name="T27" fmla="*/ 55454 h 44"/>
                <a:gd name="T28" fmla="*/ 11029 w 19"/>
                <a:gd name="T29" fmla="*/ 66927 h 44"/>
                <a:gd name="T30" fmla="*/ 23896 w 19"/>
                <a:gd name="T31" fmla="*/ 84137 h 44"/>
                <a:gd name="T32" fmla="*/ 12867 w 19"/>
                <a:gd name="T33" fmla="*/ 80313 h 44"/>
                <a:gd name="T34" fmla="*/ 7353 w 19"/>
                <a:gd name="T35" fmla="*/ 63103 h 44"/>
                <a:gd name="T36" fmla="*/ 5514 w 19"/>
                <a:gd name="T37" fmla="*/ 51630 h 44"/>
                <a:gd name="T38" fmla="*/ 1838 w 19"/>
                <a:gd name="T39" fmla="*/ 36332 h 44"/>
                <a:gd name="T40" fmla="*/ 1838 w 19"/>
                <a:gd name="T41" fmla="*/ 13385 h 44"/>
                <a:gd name="T42" fmla="*/ 11029 w 19"/>
                <a:gd name="T43" fmla="*/ 0 h 44"/>
                <a:gd name="T44" fmla="*/ 14705 w 19"/>
                <a:gd name="T45" fmla="*/ 1912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9"/>
                <a:gd name="T70" fmla="*/ 0 h 44"/>
                <a:gd name="T71" fmla="*/ 19 w 19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9" h="44">
                  <a:moveTo>
                    <a:pt x="8" y="1"/>
                  </a:moveTo>
                  <a:cubicBezTo>
                    <a:pt x="8" y="3"/>
                    <a:pt x="5" y="4"/>
                    <a:pt x="5" y="5"/>
                  </a:cubicBezTo>
                  <a:cubicBezTo>
                    <a:pt x="5" y="8"/>
                    <a:pt x="8" y="9"/>
                    <a:pt x="7" y="11"/>
                  </a:cubicBezTo>
                  <a:cubicBezTo>
                    <a:pt x="7" y="14"/>
                    <a:pt x="3" y="15"/>
                    <a:pt x="3" y="18"/>
                  </a:cubicBezTo>
                  <a:cubicBezTo>
                    <a:pt x="3" y="19"/>
                    <a:pt x="6" y="20"/>
                    <a:pt x="7" y="20"/>
                  </a:cubicBezTo>
                  <a:cubicBezTo>
                    <a:pt x="9" y="18"/>
                    <a:pt x="8" y="15"/>
                    <a:pt x="10" y="14"/>
                  </a:cubicBezTo>
                  <a:cubicBezTo>
                    <a:pt x="12" y="12"/>
                    <a:pt x="14" y="9"/>
                    <a:pt x="16" y="10"/>
                  </a:cubicBezTo>
                  <a:cubicBezTo>
                    <a:pt x="19" y="10"/>
                    <a:pt x="18" y="15"/>
                    <a:pt x="17" y="17"/>
                  </a:cubicBezTo>
                  <a:cubicBezTo>
                    <a:pt x="16" y="18"/>
                    <a:pt x="13" y="18"/>
                    <a:pt x="11" y="19"/>
                  </a:cubicBezTo>
                  <a:cubicBezTo>
                    <a:pt x="11" y="20"/>
                    <a:pt x="11" y="21"/>
                    <a:pt x="11" y="21"/>
                  </a:cubicBezTo>
                  <a:cubicBezTo>
                    <a:pt x="13" y="23"/>
                    <a:pt x="16" y="24"/>
                    <a:pt x="18" y="26"/>
                  </a:cubicBezTo>
                  <a:cubicBezTo>
                    <a:pt x="18" y="26"/>
                    <a:pt x="16" y="26"/>
                    <a:pt x="16" y="26"/>
                  </a:cubicBezTo>
                  <a:cubicBezTo>
                    <a:pt x="13" y="26"/>
                    <a:pt x="10" y="24"/>
                    <a:pt x="7" y="25"/>
                  </a:cubicBezTo>
                  <a:cubicBezTo>
                    <a:pt x="6" y="26"/>
                    <a:pt x="8" y="28"/>
                    <a:pt x="7" y="29"/>
                  </a:cubicBezTo>
                  <a:cubicBezTo>
                    <a:pt x="7" y="31"/>
                    <a:pt x="6" y="33"/>
                    <a:pt x="6" y="35"/>
                  </a:cubicBezTo>
                  <a:cubicBezTo>
                    <a:pt x="8" y="38"/>
                    <a:pt x="12" y="40"/>
                    <a:pt x="13" y="44"/>
                  </a:cubicBezTo>
                  <a:cubicBezTo>
                    <a:pt x="11" y="43"/>
                    <a:pt x="9" y="43"/>
                    <a:pt x="7" y="42"/>
                  </a:cubicBezTo>
                  <a:cubicBezTo>
                    <a:pt x="5" y="39"/>
                    <a:pt x="5" y="36"/>
                    <a:pt x="4" y="33"/>
                  </a:cubicBezTo>
                  <a:cubicBezTo>
                    <a:pt x="4" y="31"/>
                    <a:pt x="4" y="29"/>
                    <a:pt x="3" y="27"/>
                  </a:cubicBezTo>
                  <a:cubicBezTo>
                    <a:pt x="3" y="24"/>
                    <a:pt x="1" y="21"/>
                    <a:pt x="1" y="19"/>
                  </a:cubicBezTo>
                  <a:cubicBezTo>
                    <a:pt x="0" y="15"/>
                    <a:pt x="0" y="11"/>
                    <a:pt x="1" y="7"/>
                  </a:cubicBezTo>
                  <a:cubicBezTo>
                    <a:pt x="1" y="4"/>
                    <a:pt x="3" y="2"/>
                    <a:pt x="6" y="0"/>
                  </a:cubicBezTo>
                  <a:cubicBezTo>
                    <a:pt x="6" y="0"/>
                    <a:pt x="8" y="0"/>
                    <a:pt x="8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0" name="Freeform 530"/>
            <p:cNvSpPr>
              <a:spLocks noChangeAspect="1"/>
            </p:cNvSpPr>
            <p:nvPr/>
          </p:nvSpPr>
          <p:spPr bwMode="auto">
            <a:xfrm>
              <a:off x="7634288" y="4124325"/>
              <a:ext cx="12700" cy="17463"/>
            </a:xfrm>
            <a:custGeom>
              <a:avLst/>
              <a:gdLst>
                <a:gd name="T0" fmla="*/ 9071 w 7"/>
                <a:gd name="T1" fmla="*/ 1940 h 9"/>
                <a:gd name="T2" fmla="*/ 10886 w 7"/>
                <a:gd name="T3" fmla="*/ 13582 h 9"/>
                <a:gd name="T4" fmla="*/ 3629 w 7"/>
                <a:gd name="T5" fmla="*/ 15523 h 9"/>
                <a:gd name="T6" fmla="*/ 3629 w 7"/>
                <a:gd name="T7" fmla="*/ 5821 h 9"/>
                <a:gd name="T8" fmla="*/ 9071 w 7"/>
                <a:gd name="T9" fmla="*/ 194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9"/>
                <a:gd name="T17" fmla="*/ 7 w 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9">
                  <a:moveTo>
                    <a:pt x="5" y="1"/>
                  </a:moveTo>
                  <a:cubicBezTo>
                    <a:pt x="7" y="2"/>
                    <a:pt x="7" y="5"/>
                    <a:pt x="6" y="7"/>
                  </a:cubicBezTo>
                  <a:cubicBezTo>
                    <a:pt x="6" y="8"/>
                    <a:pt x="3" y="9"/>
                    <a:pt x="2" y="8"/>
                  </a:cubicBezTo>
                  <a:cubicBezTo>
                    <a:pt x="0" y="7"/>
                    <a:pt x="1" y="5"/>
                    <a:pt x="2" y="3"/>
                  </a:cubicBezTo>
                  <a:cubicBezTo>
                    <a:pt x="2" y="2"/>
                    <a:pt x="4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1" name="Freeform 531"/>
            <p:cNvSpPr>
              <a:spLocks noChangeAspect="1"/>
            </p:cNvSpPr>
            <p:nvPr/>
          </p:nvSpPr>
          <p:spPr bwMode="auto">
            <a:xfrm>
              <a:off x="7615238" y="4205288"/>
              <a:ext cx="6350" cy="12700"/>
            </a:xfrm>
            <a:custGeom>
              <a:avLst/>
              <a:gdLst>
                <a:gd name="T0" fmla="*/ 6350 w 4"/>
                <a:gd name="T1" fmla="*/ 4233 h 6"/>
                <a:gd name="T2" fmla="*/ 6350 w 4"/>
                <a:gd name="T3" fmla="*/ 10583 h 6"/>
                <a:gd name="T4" fmla="*/ 1588 w 4"/>
                <a:gd name="T5" fmla="*/ 10583 h 6"/>
                <a:gd name="T6" fmla="*/ 1588 w 4"/>
                <a:gd name="T7" fmla="*/ 2117 h 6"/>
                <a:gd name="T8" fmla="*/ 6350 w 4"/>
                <a:gd name="T9" fmla="*/ 4233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2"/>
                  </a:moveTo>
                  <a:cubicBezTo>
                    <a:pt x="4" y="2"/>
                    <a:pt x="4" y="4"/>
                    <a:pt x="4" y="5"/>
                  </a:cubicBezTo>
                  <a:cubicBezTo>
                    <a:pt x="3" y="6"/>
                    <a:pt x="1" y="6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1" y="0"/>
                    <a:pt x="3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2" name="Freeform 532"/>
            <p:cNvSpPr>
              <a:spLocks noChangeAspect="1"/>
            </p:cNvSpPr>
            <p:nvPr/>
          </p:nvSpPr>
          <p:spPr bwMode="auto">
            <a:xfrm>
              <a:off x="7631113" y="4270375"/>
              <a:ext cx="66675" cy="30163"/>
            </a:xfrm>
            <a:custGeom>
              <a:avLst/>
              <a:gdLst>
                <a:gd name="T0" fmla="*/ 1905 w 35"/>
                <a:gd name="T1" fmla="*/ 1885 h 16"/>
                <a:gd name="T2" fmla="*/ 20955 w 35"/>
                <a:gd name="T3" fmla="*/ 3770 h 16"/>
                <a:gd name="T4" fmla="*/ 28575 w 35"/>
                <a:gd name="T5" fmla="*/ 5656 h 16"/>
                <a:gd name="T6" fmla="*/ 34290 w 35"/>
                <a:gd name="T7" fmla="*/ 1885 h 16"/>
                <a:gd name="T8" fmla="*/ 49530 w 35"/>
                <a:gd name="T9" fmla="*/ 9426 h 16"/>
                <a:gd name="T10" fmla="*/ 59055 w 35"/>
                <a:gd name="T11" fmla="*/ 9426 h 16"/>
                <a:gd name="T12" fmla="*/ 64770 w 35"/>
                <a:gd name="T13" fmla="*/ 22622 h 16"/>
                <a:gd name="T14" fmla="*/ 62865 w 35"/>
                <a:gd name="T15" fmla="*/ 28278 h 16"/>
                <a:gd name="T16" fmla="*/ 53340 w 35"/>
                <a:gd name="T17" fmla="*/ 24507 h 16"/>
                <a:gd name="T18" fmla="*/ 38100 w 35"/>
                <a:gd name="T19" fmla="*/ 16967 h 16"/>
                <a:gd name="T20" fmla="*/ 30480 w 35"/>
                <a:gd name="T21" fmla="*/ 18852 h 16"/>
                <a:gd name="T22" fmla="*/ 17145 w 35"/>
                <a:gd name="T23" fmla="*/ 16967 h 16"/>
                <a:gd name="T24" fmla="*/ 11430 w 35"/>
                <a:gd name="T25" fmla="*/ 18852 h 16"/>
                <a:gd name="T26" fmla="*/ 0 w 35"/>
                <a:gd name="T27" fmla="*/ 9426 h 16"/>
                <a:gd name="T28" fmla="*/ 1905 w 35"/>
                <a:gd name="T29" fmla="*/ 1885 h 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16"/>
                <a:gd name="T47" fmla="*/ 35 w 35"/>
                <a:gd name="T48" fmla="*/ 16 h 1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16">
                  <a:moveTo>
                    <a:pt x="1" y="1"/>
                  </a:moveTo>
                  <a:cubicBezTo>
                    <a:pt x="4" y="0"/>
                    <a:pt x="8" y="1"/>
                    <a:pt x="11" y="2"/>
                  </a:cubicBezTo>
                  <a:cubicBezTo>
                    <a:pt x="13" y="2"/>
                    <a:pt x="14" y="3"/>
                    <a:pt x="15" y="3"/>
                  </a:cubicBezTo>
                  <a:cubicBezTo>
                    <a:pt x="16" y="3"/>
                    <a:pt x="17" y="1"/>
                    <a:pt x="18" y="1"/>
                  </a:cubicBezTo>
                  <a:cubicBezTo>
                    <a:pt x="21" y="2"/>
                    <a:pt x="24" y="4"/>
                    <a:pt x="26" y="5"/>
                  </a:cubicBezTo>
                  <a:cubicBezTo>
                    <a:pt x="28" y="6"/>
                    <a:pt x="30" y="5"/>
                    <a:pt x="31" y="5"/>
                  </a:cubicBezTo>
                  <a:cubicBezTo>
                    <a:pt x="33" y="7"/>
                    <a:pt x="34" y="9"/>
                    <a:pt x="34" y="12"/>
                  </a:cubicBezTo>
                  <a:cubicBezTo>
                    <a:pt x="35" y="13"/>
                    <a:pt x="34" y="15"/>
                    <a:pt x="33" y="15"/>
                  </a:cubicBezTo>
                  <a:cubicBezTo>
                    <a:pt x="31" y="16"/>
                    <a:pt x="29" y="14"/>
                    <a:pt x="28" y="13"/>
                  </a:cubicBezTo>
                  <a:cubicBezTo>
                    <a:pt x="25" y="12"/>
                    <a:pt x="23" y="10"/>
                    <a:pt x="20" y="9"/>
                  </a:cubicBezTo>
                  <a:cubicBezTo>
                    <a:pt x="19" y="8"/>
                    <a:pt x="17" y="10"/>
                    <a:pt x="16" y="10"/>
                  </a:cubicBezTo>
                  <a:cubicBezTo>
                    <a:pt x="14" y="10"/>
                    <a:pt x="11" y="9"/>
                    <a:pt x="9" y="9"/>
                  </a:cubicBezTo>
                  <a:cubicBezTo>
                    <a:pt x="8" y="9"/>
                    <a:pt x="7" y="11"/>
                    <a:pt x="6" y="10"/>
                  </a:cubicBezTo>
                  <a:cubicBezTo>
                    <a:pt x="3" y="9"/>
                    <a:pt x="1" y="7"/>
                    <a:pt x="0" y="5"/>
                  </a:cubicBezTo>
                  <a:cubicBezTo>
                    <a:pt x="0" y="4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3" name="Freeform 533"/>
            <p:cNvSpPr>
              <a:spLocks noChangeAspect="1"/>
            </p:cNvSpPr>
            <p:nvPr/>
          </p:nvSpPr>
          <p:spPr bwMode="auto">
            <a:xfrm>
              <a:off x="7669213" y="4241800"/>
              <a:ext cx="19050" cy="9525"/>
            </a:xfrm>
            <a:custGeom>
              <a:avLst/>
              <a:gdLst>
                <a:gd name="T0" fmla="*/ 5715 w 10"/>
                <a:gd name="T1" fmla="*/ 1905 h 5"/>
                <a:gd name="T2" fmla="*/ 1905 w 10"/>
                <a:gd name="T3" fmla="*/ 3810 h 5"/>
                <a:gd name="T4" fmla="*/ 9525 w 10"/>
                <a:gd name="T5" fmla="*/ 7620 h 5"/>
                <a:gd name="T6" fmla="*/ 17145 w 10"/>
                <a:gd name="T7" fmla="*/ 7620 h 5"/>
                <a:gd name="T8" fmla="*/ 17145 w 10"/>
                <a:gd name="T9" fmla="*/ 1905 h 5"/>
                <a:gd name="T10" fmla="*/ 5715 w 10"/>
                <a:gd name="T11" fmla="*/ 190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3" y="1"/>
                  </a:moveTo>
                  <a:cubicBezTo>
                    <a:pt x="2" y="1"/>
                    <a:pt x="0" y="2"/>
                    <a:pt x="1" y="2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7" y="5"/>
                    <a:pt x="8" y="5"/>
                    <a:pt x="9" y="4"/>
                  </a:cubicBezTo>
                  <a:cubicBezTo>
                    <a:pt x="10" y="3"/>
                    <a:pt x="10" y="2"/>
                    <a:pt x="9" y="1"/>
                  </a:cubicBezTo>
                  <a:cubicBezTo>
                    <a:pt x="7" y="0"/>
                    <a:pt x="5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4" name="Freeform 534"/>
            <p:cNvSpPr>
              <a:spLocks noChangeAspect="1"/>
            </p:cNvSpPr>
            <p:nvPr/>
          </p:nvSpPr>
          <p:spPr bwMode="auto">
            <a:xfrm>
              <a:off x="7685088" y="4195763"/>
              <a:ext cx="28575" cy="14287"/>
            </a:xfrm>
            <a:custGeom>
              <a:avLst/>
              <a:gdLst>
                <a:gd name="T0" fmla="*/ 3810 w 15"/>
                <a:gd name="T1" fmla="*/ 0 h 7"/>
                <a:gd name="T2" fmla="*/ 24765 w 15"/>
                <a:gd name="T3" fmla="*/ 2041 h 7"/>
                <a:gd name="T4" fmla="*/ 26670 w 15"/>
                <a:gd name="T5" fmla="*/ 12246 h 7"/>
                <a:gd name="T6" fmla="*/ 5715 w 15"/>
                <a:gd name="T7" fmla="*/ 8164 h 7"/>
                <a:gd name="T8" fmla="*/ 1905 w 15"/>
                <a:gd name="T9" fmla="*/ 2041 h 7"/>
                <a:gd name="T10" fmla="*/ 3810 w 15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7"/>
                <a:gd name="T20" fmla="*/ 15 w 15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7">
                  <a:moveTo>
                    <a:pt x="2" y="0"/>
                  </a:moveTo>
                  <a:cubicBezTo>
                    <a:pt x="6" y="0"/>
                    <a:pt x="10" y="0"/>
                    <a:pt x="13" y="1"/>
                  </a:cubicBezTo>
                  <a:cubicBezTo>
                    <a:pt x="14" y="2"/>
                    <a:pt x="15" y="5"/>
                    <a:pt x="14" y="6"/>
                  </a:cubicBezTo>
                  <a:cubicBezTo>
                    <a:pt x="10" y="7"/>
                    <a:pt x="6" y="5"/>
                    <a:pt x="3" y="4"/>
                  </a:cubicBezTo>
                  <a:cubicBezTo>
                    <a:pt x="2" y="4"/>
                    <a:pt x="1" y="2"/>
                    <a:pt x="1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5" name="Freeform 535"/>
            <p:cNvSpPr>
              <a:spLocks noChangeAspect="1"/>
            </p:cNvSpPr>
            <p:nvPr/>
          </p:nvSpPr>
          <p:spPr bwMode="auto">
            <a:xfrm>
              <a:off x="7621588" y="4281488"/>
              <a:ext cx="9525" cy="12700"/>
            </a:xfrm>
            <a:custGeom>
              <a:avLst/>
              <a:gdLst>
                <a:gd name="T0" fmla="*/ 1905 w 5"/>
                <a:gd name="T1" fmla="*/ 2117 h 6"/>
                <a:gd name="T2" fmla="*/ 1905 w 5"/>
                <a:gd name="T3" fmla="*/ 12700 h 6"/>
                <a:gd name="T4" fmla="*/ 5715 w 5"/>
                <a:gd name="T5" fmla="*/ 10583 h 6"/>
                <a:gd name="T6" fmla="*/ 9525 w 5"/>
                <a:gd name="T7" fmla="*/ 2117 h 6"/>
                <a:gd name="T8" fmla="*/ 1905 w 5"/>
                <a:gd name="T9" fmla="*/ 211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1" y="1"/>
                  </a:moveTo>
                  <a:cubicBezTo>
                    <a:pt x="0" y="2"/>
                    <a:pt x="1" y="4"/>
                    <a:pt x="1" y="6"/>
                  </a:cubicBezTo>
                  <a:cubicBezTo>
                    <a:pt x="1" y="6"/>
                    <a:pt x="3" y="5"/>
                    <a:pt x="3" y="5"/>
                  </a:cubicBezTo>
                  <a:cubicBezTo>
                    <a:pt x="4" y="4"/>
                    <a:pt x="5" y="3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6" name="Freeform 536"/>
            <p:cNvSpPr>
              <a:spLocks noChangeAspect="1"/>
            </p:cNvSpPr>
            <p:nvPr/>
          </p:nvSpPr>
          <p:spPr bwMode="auto">
            <a:xfrm>
              <a:off x="7700963" y="4397375"/>
              <a:ext cx="14287" cy="23813"/>
            </a:xfrm>
            <a:custGeom>
              <a:avLst/>
              <a:gdLst>
                <a:gd name="T0" fmla="*/ 12501 w 8"/>
                <a:gd name="T1" fmla="*/ 1832 h 13"/>
                <a:gd name="T2" fmla="*/ 12501 w 8"/>
                <a:gd name="T3" fmla="*/ 10991 h 13"/>
                <a:gd name="T4" fmla="*/ 5358 w 8"/>
                <a:gd name="T5" fmla="*/ 21981 h 13"/>
                <a:gd name="T6" fmla="*/ 0 w 8"/>
                <a:gd name="T7" fmla="*/ 20149 h 13"/>
                <a:gd name="T8" fmla="*/ 5358 w 8"/>
                <a:gd name="T9" fmla="*/ 7327 h 13"/>
                <a:gd name="T10" fmla="*/ 12501 w 8"/>
                <a:gd name="T11" fmla="*/ 1832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3"/>
                <a:gd name="T20" fmla="*/ 8 w 8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3">
                  <a:moveTo>
                    <a:pt x="7" y="1"/>
                  </a:moveTo>
                  <a:cubicBezTo>
                    <a:pt x="8" y="2"/>
                    <a:pt x="7" y="4"/>
                    <a:pt x="7" y="6"/>
                  </a:cubicBezTo>
                  <a:cubicBezTo>
                    <a:pt x="6" y="8"/>
                    <a:pt x="5" y="11"/>
                    <a:pt x="3" y="12"/>
                  </a:cubicBezTo>
                  <a:cubicBezTo>
                    <a:pt x="2" y="13"/>
                    <a:pt x="0" y="12"/>
                    <a:pt x="0" y="11"/>
                  </a:cubicBezTo>
                  <a:cubicBezTo>
                    <a:pt x="0" y="9"/>
                    <a:pt x="2" y="6"/>
                    <a:pt x="3" y="4"/>
                  </a:cubicBezTo>
                  <a:cubicBezTo>
                    <a:pt x="4" y="3"/>
                    <a:pt x="5" y="0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7" name="Freeform 537"/>
            <p:cNvSpPr>
              <a:spLocks noChangeAspect="1"/>
            </p:cNvSpPr>
            <p:nvPr/>
          </p:nvSpPr>
          <p:spPr bwMode="auto">
            <a:xfrm>
              <a:off x="7808913" y="4213225"/>
              <a:ext cx="26987" cy="17463"/>
            </a:xfrm>
            <a:custGeom>
              <a:avLst/>
              <a:gdLst>
                <a:gd name="T0" fmla="*/ 3855 w 14"/>
                <a:gd name="T1" fmla="*/ 0 h 9"/>
                <a:gd name="T2" fmla="*/ 25059 w 14"/>
                <a:gd name="T3" fmla="*/ 13582 h 9"/>
                <a:gd name="T4" fmla="*/ 9638 w 14"/>
                <a:gd name="T5" fmla="*/ 15523 h 9"/>
                <a:gd name="T6" fmla="*/ 7711 w 14"/>
                <a:gd name="T7" fmla="*/ 5821 h 9"/>
                <a:gd name="T8" fmla="*/ 0 w 14"/>
                <a:gd name="T9" fmla="*/ 3881 h 9"/>
                <a:gd name="T10" fmla="*/ 3855 w 14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9"/>
                <a:gd name="T20" fmla="*/ 14 w 14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9">
                  <a:moveTo>
                    <a:pt x="2" y="0"/>
                  </a:moveTo>
                  <a:cubicBezTo>
                    <a:pt x="6" y="1"/>
                    <a:pt x="11" y="3"/>
                    <a:pt x="13" y="7"/>
                  </a:cubicBezTo>
                  <a:cubicBezTo>
                    <a:pt x="14" y="9"/>
                    <a:pt x="8" y="9"/>
                    <a:pt x="5" y="8"/>
                  </a:cubicBezTo>
                  <a:cubicBezTo>
                    <a:pt x="4" y="7"/>
                    <a:pt x="5" y="4"/>
                    <a:pt x="4" y="3"/>
                  </a:cubicBezTo>
                  <a:cubicBezTo>
                    <a:pt x="3" y="2"/>
                    <a:pt x="1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8" name="Freeform 538"/>
            <p:cNvSpPr>
              <a:spLocks noChangeAspect="1"/>
            </p:cNvSpPr>
            <p:nvPr/>
          </p:nvSpPr>
          <p:spPr bwMode="auto">
            <a:xfrm>
              <a:off x="7810500" y="4241800"/>
              <a:ext cx="26988" cy="6350"/>
            </a:xfrm>
            <a:custGeom>
              <a:avLst/>
              <a:gdLst>
                <a:gd name="T0" fmla="*/ 13494 w 14"/>
                <a:gd name="T1" fmla="*/ 0 h 3"/>
                <a:gd name="T2" fmla="*/ 26988 w 14"/>
                <a:gd name="T3" fmla="*/ 4233 h 3"/>
                <a:gd name="T4" fmla="*/ 13494 w 14"/>
                <a:gd name="T5" fmla="*/ 6350 h 3"/>
                <a:gd name="T6" fmla="*/ 0 w 14"/>
                <a:gd name="T7" fmla="*/ 2117 h 3"/>
                <a:gd name="T8" fmla="*/ 13494 w 1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3"/>
                <a:gd name="T17" fmla="*/ 14 w 1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3">
                  <a:moveTo>
                    <a:pt x="7" y="0"/>
                  </a:moveTo>
                  <a:cubicBezTo>
                    <a:pt x="10" y="0"/>
                    <a:pt x="12" y="2"/>
                    <a:pt x="14" y="2"/>
                  </a:cubicBezTo>
                  <a:cubicBezTo>
                    <a:pt x="12" y="3"/>
                    <a:pt x="10" y="3"/>
                    <a:pt x="7" y="3"/>
                  </a:cubicBezTo>
                  <a:cubicBezTo>
                    <a:pt x="5" y="3"/>
                    <a:pt x="2" y="2"/>
                    <a:pt x="0" y="1"/>
                  </a:cubicBezTo>
                  <a:cubicBezTo>
                    <a:pt x="2" y="0"/>
                    <a:pt x="5" y="0"/>
                    <a:pt x="7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39" name="Freeform 539"/>
            <p:cNvSpPr>
              <a:spLocks noChangeAspect="1"/>
            </p:cNvSpPr>
            <p:nvPr/>
          </p:nvSpPr>
          <p:spPr bwMode="auto">
            <a:xfrm>
              <a:off x="7856538" y="4400550"/>
              <a:ext cx="34925" cy="31750"/>
            </a:xfrm>
            <a:custGeom>
              <a:avLst/>
              <a:gdLst>
                <a:gd name="T0" fmla="*/ 19403 w 18"/>
                <a:gd name="T1" fmla="*/ 1868 h 17"/>
                <a:gd name="T2" fmla="*/ 31044 w 18"/>
                <a:gd name="T3" fmla="*/ 1868 h 17"/>
                <a:gd name="T4" fmla="*/ 32985 w 18"/>
                <a:gd name="T5" fmla="*/ 9338 h 17"/>
                <a:gd name="T6" fmla="*/ 25224 w 18"/>
                <a:gd name="T7" fmla="*/ 22412 h 17"/>
                <a:gd name="T8" fmla="*/ 19403 w 18"/>
                <a:gd name="T9" fmla="*/ 29882 h 17"/>
                <a:gd name="T10" fmla="*/ 5821 w 18"/>
                <a:gd name="T11" fmla="*/ 29882 h 17"/>
                <a:gd name="T12" fmla="*/ 0 w 18"/>
                <a:gd name="T13" fmla="*/ 28015 h 17"/>
                <a:gd name="T14" fmla="*/ 11642 w 18"/>
                <a:gd name="T15" fmla="*/ 9338 h 17"/>
                <a:gd name="T16" fmla="*/ 19403 w 18"/>
                <a:gd name="T17" fmla="*/ 1868 h 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17"/>
                <a:gd name="T29" fmla="*/ 18 w 18"/>
                <a:gd name="T30" fmla="*/ 17 h 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17">
                  <a:moveTo>
                    <a:pt x="10" y="1"/>
                  </a:moveTo>
                  <a:cubicBezTo>
                    <a:pt x="12" y="1"/>
                    <a:pt x="14" y="0"/>
                    <a:pt x="16" y="1"/>
                  </a:cubicBezTo>
                  <a:cubicBezTo>
                    <a:pt x="17" y="2"/>
                    <a:pt x="18" y="4"/>
                    <a:pt x="17" y="5"/>
                  </a:cubicBezTo>
                  <a:cubicBezTo>
                    <a:pt x="17" y="8"/>
                    <a:pt x="15" y="10"/>
                    <a:pt x="13" y="12"/>
                  </a:cubicBezTo>
                  <a:cubicBezTo>
                    <a:pt x="12" y="13"/>
                    <a:pt x="11" y="15"/>
                    <a:pt x="10" y="16"/>
                  </a:cubicBezTo>
                  <a:cubicBezTo>
                    <a:pt x="8" y="17"/>
                    <a:pt x="5" y="16"/>
                    <a:pt x="3" y="16"/>
                  </a:cubicBezTo>
                  <a:cubicBezTo>
                    <a:pt x="2" y="16"/>
                    <a:pt x="0" y="16"/>
                    <a:pt x="0" y="15"/>
                  </a:cubicBezTo>
                  <a:cubicBezTo>
                    <a:pt x="2" y="12"/>
                    <a:pt x="4" y="8"/>
                    <a:pt x="6" y="5"/>
                  </a:cubicBezTo>
                  <a:cubicBezTo>
                    <a:pt x="7" y="3"/>
                    <a:pt x="8" y="2"/>
                    <a:pt x="1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0" name="Freeform 540"/>
            <p:cNvSpPr>
              <a:spLocks noChangeAspect="1"/>
            </p:cNvSpPr>
            <p:nvPr/>
          </p:nvSpPr>
          <p:spPr bwMode="auto">
            <a:xfrm>
              <a:off x="7777163" y="4352925"/>
              <a:ext cx="14287" cy="11113"/>
            </a:xfrm>
            <a:custGeom>
              <a:avLst/>
              <a:gdLst>
                <a:gd name="T0" fmla="*/ 7144 w 8"/>
                <a:gd name="T1" fmla="*/ 0 h 6"/>
                <a:gd name="T2" fmla="*/ 12501 w 8"/>
                <a:gd name="T3" fmla="*/ 7409 h 6"/>
                <a:gd name="T4" fmla="*/ 1786 w 8"/>
                <a:gd name="T5" fmla="*/ 7409 h 6"/>
                <a:gd name="T6" fmla="*/ 7144 w 8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6"/>
                <a:gd name="T14" fmla="*/ 8 w 8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6">
                  <a:moveTo>
                    <a:pt x="4" y="0"/>
                  </a:moveTo>
                  <a:cubicBezTo>
                    <a:pt x="5" y="0"/>
                    <a:pt x="8" y="2"/>
                    <a:pt x="7" y="4"/>
                  </a:cubicBezTo>
                  <a:cubicBezTo>
                    <a:pt x="6" y="5"/>
                    <a:pt x="3" y="6"/>
                    <a:pt x="1" y="4"/>
                  </a:cubicBezTo>
                  <a:cubicBezTo>
                    <a:pt x="0" y="3"/>
                    <a:pt x="2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1" name="Freeform 541"/>
            <p:cNvSpPr>
              <a:spLocks noChangeAspect="1"/>
            </p:cNvSpPr>
            <p:nvPr/>
          </p:nvSpPr>
          <p:spPr bwMode="auto">
            <a:xfrm>
              <a:off x="7780338" y="4362450"/>
              <a:ext cx="9525" cy="9525"/>
            </a:xfrm>
            <a:custGeom>
              <a:avLst/>
              <a:gdLst>
                <a:gd name="T0" fmla="*/ 7620 w 5"/>
                <a:gd name="T1" fmla="*/ 9525 h 5"/>
                <a:gd name="T2" fmla="*/ 9525 w 5"/>
                <a:gd name="T3" fmla="*/ 5715 h 5"/>
                <a:gd name="T4" fmla="*/ 3810 w 5"/>
                <a:gd name="T5" fmla="*/ 0 h 5"/>
                <a:gd name="T6" fmla="*/ 0 w 5"/>
                <a:gd name="T7" fmla="*/ 5715 h 5"/>
                <a:gd name="T8" fmla="*/ 7620 w 5"/>
                <a:gd name="T9" fmla="*/ 952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5"/>
                  </a:moveTo>
                  <a:cubicBezTo>
                    <a:pt x="4" y="5"/>
                    <a:pt x="5" y="4"/>
                    <a:pt x="5" y="3"/>
                  </a:cubicBezTo>
                  <a:cubicBezTo>
                    <a:pt x="4" y="2"/>
                    <a:pt x="3" y="1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1" y="4"/>
                    <a:pt x="2" y="5"/>
                    <a:pt x="4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2" name="Freeform 542"/>
            <p:cNvSpPr>
              <a:spLocks noChangeAspect="1"/>
            </p:cNvSpPr>
            <p:nvPr/>
          </p:nvSpPr>
          <p:spPr bwMode="auto">
            <a:xfrm>
              <a:off x="7772400" y="4364038"/>
              <a:ext cx="14288" cy="25400"/>
            </a:xfrm>
            <a:custGeom>
              <a:avLst/>
              <a:gdLst>
                <a:gd name="T0" fmla="*/ 2041 w 7"/>
                <a:gd name="T1" fmla="*/ 0 h 13"/>
                <a:gd name="T2" fmla="*/ 12247 w 7"/>
                <a:gd name="T3" fmla="*/ 9769 h 13"/>
                <a:gd name="T4" fmla="*/ 12247 w 7"/>
                <a:gd name="T5" fmla="*/ 13677 h 13"/>
                <a:gd name="T6" fmla="*/ 4082 w 7"/>
                <a:gd name="T7" fmla="*/ 23446 h 13"/>
                <a:gd name="T8" fmla="*/ 0 w 7"/>
                <a:gd name="T9" fmla="*/ 21492 h 13"/>
                <a:gd name="T10" fmla="*/ 2041 w 7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3"/>
                <a:gd name="T20" fmla="*/ 7 w 7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3">
                  <a:moveTo>
                    <a:pt x="1" y="0"/>
                  </a:moveTo>
                  <a:cubicBezTo>
                    <a:pt x="2" y="1"/>
                    <a:pt x="5" y="3"/>
                    <a:pt x="6" y="5"/>
                  </a:cubicBezTo>
                  <a:cubicBezTo>
                    <a:pt x="7" y="5"/>
                    <a:pt x="6" y="6"/>
                    <a:pt x="6" y="7"/>
                  </a:cubicBezTo>
                  <a:cubicBezTo>
                    <a:pt x="5" y="9"/>
                    <a:pt x="4" y="11"/>
                    <a:pt x="2" y="12"/>
                  </a:cubicBezTo>
                  <a:cubicBezTo>
                    <a:pt x="2" y="13"/>
                    <a:pt x="0" y="12"/>
                    <a:pt x="0" y="11"/>
                  </a:cubicBezTo>
                  <a:cubicBezTo>
                    <a:pt x="0" y="7"/>
                    <a:pt x="0" y="4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3" name="Freeform 543"/>
            <p:cNvSpPr>
              <a:spLocks noChangeAspect="1"/>
            </p:cNvSpPr>
            <p:nvPr/>
          </p:nvSpPr>
          <p:spPr bwMode="auto">
            <a:xfrm>
              <a:off x="7935913" y="4268788"/>
              <a:ext cx="231775" cy="219075"/>
            </a:xfrm>
            <a:custGeom>
              <a:avLst/>
              <a:gdLst>
                <a:gd name="T0" fmla="*/ 0 w 121"/>
                <a:gd name="T1" fmla="*/ 180975 h 115"/>
                <a:gd name="T2" fmla="*/ 11493 w 121"/>
                <a:gd name="T3" fmla="*/ 184785 h 115"/>
                <a:gd name="T4" fmla="*/ 24901 w 121"/>
                <a:gd name="T5" fmla="*/ 182880 h 115"/>
                <a:gd name="T6" fmla="*/ 40225 w 121"/>
                <a:gd name="T7" fmla="*/ 184785 h 115"/>
                <a:gd name="T8" fmla="*/ 55549 w 121"/>
                <a:gd name="T9" fmla="*/ 180975 h 115"/>
                <a:gd name="T10" fmla="*/ 63211 w 121"/>
                <a:gd name="T11" fmla="*/ 171450 h 115"/>
                <a:gd name="T12" fmla="*/ 44056 w 121"/>
                <a:gd name="T13" fmla="*/ 161925 h 115"/>
                <a:gd name="T14" fmla="*/ 42141 w 121"/>
                <a:gd name="T15" fmla="*/ 158115 h 115"/>
                <a:gd name="T16" fmla="*/ 65127 w 121"/>
                <a:gd name="T17" fmla="*/ 156210 h 115"/>
                <a:gd name="T18" fmla="*/ 70873 w 121"/>
                <a:gd name="T19" fmla="*/ 142875 h 115"/>
                <a:gd name="T20" fmla="*/ 86197 w 121"/>
                <a:gd name="T21" fmla="*/ 137160 h 115"/>
                <a:gd name="T22" fmla="*/ 103437 w 121"/>
                <a:gd name="T23" fmla="*/ 144780 h 115"/>
                <a:gd name="T24" fmla="*/ 126423 w 121"/>
                <a:gd name="T25" fmla="*/ 160020 h 115"/>
                <a:gd name="T26" fmla="*/ 134085 w 121"/>
                <a:gd name="T27" fmla="*/ 177165 h 115"/>
                <a:gd name="T28" fmla="*/ 139831 w 121"/>
                <a:gd name="T29" fmla="*/ 182880 h 115"/>
                <a:gd name="T30" fmla="*/ 158986 w 121"/>
                <a:gd name="T31" fmla="*/ 205740 h 115"/>
                <a:gd name="T32" fmla="*/ 166648 w 121"/>
                <a:gd name="T33" fmla="*/ 209550 h 115"/>
                <a:gd name="T34" fmla="*/ 185803 w 121"/>
                <a:gd name="T35" fmla="*/ 211455 h 115"/>
                <a:gd name="T36" fmla="*/ 210705 w 121"/>
                <a:gd name="T37" fmla="*/ 215265 h 115"/>
                <a:gd name="T38" fmla="*/ 224113 w 121"/>
                <a:gd name="T39" fmla="*/ 217170 h 115"/>
                <a:gd name="T40" fmla="*/ 229860 w 121"/>
                <a:gd name="T41" fmla="*/ 211455 h 115"/>
                <a:gd name="T42" fmla="*/ 212620 w 121"/>
                <a:gd name="T43" fmla="*/ 203835 h 115"/>
                <a:gd name="T44" fmla="*/ 220282 w 121"/>
                <a:gd name="T45" fmla="*/ 196215 h 115"/>
                <a:gd name="T46" fmla="*/ 206874 w 121"/>
                <a:gd name="T47" fmla="*/ 196215 h 115"/>
                <a:gd name="T48" fmla="*/ 199212 w 121"/>
                <a:gd name="T49" fmla="*/ 188595 h 115"/>
                <a:gd name="T50" fmla="*/ 204958 w 121"/>
                <a:gd name="T51" fmla="*/ 180975 h 115"/>
                <a:gd name="T52" fmla="*/ 199212 w 121"/>
                <a:gd name="T53" fmla="*/ 179070 h 115"/>
                <a:gd name="T54" fmla="*/ 183888 w 121"/>
                <a:gd name="T55" fmla="*/ 179070 h 115"/>
                <a:gd name="T56" fmla="*/ 174310 w 121"/>
                <a:gd name="T57" fmla="*/ 169545 h 115"/>
                <a:gd name="T58" fmla="*/ 174310 w 121"/>
                <a:gd name="T59" fmla="*/ 150495 h 115"/>
                <a:gd name="T60" fmla="*/ 166648 w 121"/>
                <a:gd name="T61" fmla="*/ 148590 h 115"/>
                <a:gd name="T62" fmla="*/ 153240 w 121"/>
                <a:gd name="T63" fmla="*/ 135255 h 115"/>
                <a:gd name="T64" fmla="*/ 153240 w 121"/>
                <a:gd name="T65" fmla="*/ 125730 h 115"/>
                <a:gd name="T66" fmla="*/ 147493 w 121"/>
                <a:gd name="T67" fmla="*/ 118110 h 115"/>
                <a:gd name="T68" fmla="*/ 158986 w 121"/>
                <a:gd name="T69" fmla="*/ 112395 h 115"/>
                <a:gd name="T70" fmla="*/ 172395 w 121"/>
                <a:gd name="T71" fmla="*/ 112395 h 115"/>
                <a:gd name="T72" fmla="*/ 162817 w 121"/>
                <a:gd name="T73" fmla="*/ 93345 h 115"/>
                <a:gd name="T74" fmla="*/ 153240 w 121"/>
                <a:gd name="T75" fmla="*/ 93345 h 115"/>
                <a:gd name="T76" fmla="*/ 137916 w 121"/>
                <a:gd name="T77" fmla="*/ 85725 h 115"/>
                <a:gd name="T78" fmla="*/ 118761 w 121"/>
                <a:gd name="T79" fmla="*/ 78105 h 115"/>
                <a:gd name="T80" fmla="*/ 118761 w 121"/>
                <a:gd name="T81" fmla="*/ 68580 h 115"/>
                <a:gd name="T82" fmla="*/ 114930 w 121"/>
                <a:gd name="T83" fmla="*/ 55245 h 115"/>
                <a:gd name="T84" fmla="*/ 99606 w 121"/>
                <a:gd name="T85" fmla="*/ 45720 h 115"/>
                <a:gd name="T86" fmla="*/ 93859 w 121"/>
                <a:gd name="T87" fmla="*/ 34290 h 115"/>
                <a:gd name="T88" fmla="*/ 78535 w 121"/>
                <a:gd name="T89" fmla="*/ 32385 h 115"/>
                <a:gd name="T90" fmla="*/ 61296 w 121"/>
                <a:gd name="T91" fmla="*/ 22860 h 115"/>
                <a:gd name="T92" fmla="*/ 30648 w 121"/>
                <a:gd name="T93" fmla="*/ 11430 h 115"/>
                <a:gd name="T94" fmla="*/ 13408 w 121"/>
                <a:gd name="T95" fmla="*/ 1905 h 115"/>
                <a:gd name="T96" fmla="*/ 5746 w 121"/>
                <a:gd name="T97" fmla="*/ 1905 h 115"/>
                <a:gd name="T98" fmla="*/ 5746 w 121"/>
                <a:gd name="T99" fmla="*/ 102870 h 115"/>
                <a:gd name="T100" fmla="*/ 0 w 121"/>
                <a:gd name="T101" fmla="*/ 112395 h 115"/>
                <a:gd name="T102" fmla="*/ 3831 w 121"/>
                <a:gd name="T103" fmla="*/ 120015 h 115"/>
                <a:gd name="T104" fmla="*/ 0 w 121"/>
                <a:gd name="T105" fmla="*/ 180975 h 1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1"/>
                <a:gd name="T160" fmla="*/ 0 h 115"/>
                <a:gd name="T161" fmla="*/ 121 w 121"/>
                <a:gd name="T162" fmla="*/ 115 h 1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1" h="115">
                  <a:moveTo>
                    <a:pt x="0" y="95"/>
                  </a:moveTo>
                  <a:cubicBezTo>
                    <a:pt x="2" y="96"/>
                    <a:pt x="4" y="97"/>
                    <a:pt x="6" y="97"/>
                  </a:cubicBezTo>
                  <a:cubicBezTo>
                    <a:pt x="8" y="97"/>
                    <a:pt x="11" y="96"/>
                    <a:pt x="13" y="96"/>
                  </a:cubicBezTo>
                  <a:cubicBezTo>
                    <a:pt x="16" y="96"/>
                    <a:pt x="18" y="97"/>
                    <a:pt x="21" y="97"/>
                  </a:cubicBezTo>
                  <a:cubicBezTo>
                    <a:pt x="24" y="97"/>
                    <a:pt x="27" y="97"/>
                    <a:pt x="29" y="95"/>
                  </a:cubicBezTo>
                  <a:cubicBezTo>
                    <a:pt x="31" y="94"/>
                    <a:pt x="34" y="92"/>
                    <a:pt x="33" y="90"/>
                  </a:cubicBezTo>
                  <a:cubicBezTo>
                    <a:pt x="30" y="87"/>
                    <a:pt x="26" y="88"/>
                    <a:pt x="23" y="85"/>
                  </a:cubicBezTo>
                  <a:cubicBezTo>
                    <a:pt x="22" y="85"/>
                    <a:pt x="21" y="83"/>
                    <a:pt x="22" y="83"/>
                  </a:cubicBezTo>
                  <a:cubicBezTo>
                    <a:pt x="26" y="82"/>
                    <a:pt x="30" y="84"/>
                    <a:pt x="34" y="82"/>
                  </a:cubicBezTo>
                  <a:cubicBezTo>
                    <a:pt x="36" y="81"/>
                    <a:pt x="35" y="77"/>
                    <a:pt x="37" y="75"/>
                  </a:cubicBezTo>
                  <a:cubicBezTo>
                    <a:pt x="39" y="73"/>
                    <a:pt x="42" y="72"/>
                    <a:pt x="45" y="72"/>
                  </a:cubicBezTo>
                  <a:cubicBezTo>
                    <a:pt x="48" y="72"/>
                    <a:pt x="51" y="74"/>
                    <a:pt x="54" y="76"/>
                  </a:cubicBezTo>
                  <a:cubicBezTo>
                    <a:pt x="58" y="78"/>
                    <a:pt x="63" y="80"/>
                    <a:pt x="66" y="84"/>
                  </a:cubicBezTo>
                  <a:cubicBezTo>
                    <a:pt x="68" y="86"/>
                    <a:pt x="68" y="90"/>
                    <a:pt x="70" y="93"/>
                  </a:cubicBezTo>
                  <a:cubicBezTo>
                    <a:pt x="71" y="94"/>
                    <a:pt x="72" y="95"/>
                    <a:pt x="73" y="96"/>
                  </a:cubicBezTo>
                  <a:cubicBezTo>
                    <a:pt x="76" y="100"/>
                    <a:pt x="80" y="104"/>
                    <a:pt x="83" y="108"/>
                  </a:cubicBezTo>
                  <a:cubicBezTo>
                    <a:pt x="84" y="109"/>
                    <a:pt x="86" y="110"/>
                    <a:pt x="87" y="110"/>
                  </a:cubicBezTo>
                  <a:cubicBezTo>
                    <a:pt x="90" y="111"/>
                    <a:pt x="94" y="111"/>
                    <a:pt x="97" y="111"/>
                  </a:cubicBezTo>
                  <a:cubicBezTo>
                    <a:pt x="101" y="112"/>
                    <a:pt x="105" y="112"/>
                    <a:pt x="110" y="113"/>
                  </a:cubicBezTo>
                  <a:cubicBezTo>
                    <a:pt x="112" y="113"/>
                    <a:pt x="115" y="115"/>
                    <a:pt x="117" y="114"/>
                  </a:cubicBezTo>
                  <a:cubicBezTo>
                    <a:pt x="119" y="114"/>
                    <a:pt x="121" y="112"/>
                    <a:pt x="120" y="111"/>
                  </a:cubicBezTo>
                  <a:cubicBezTo>
                    <a:pt x="118" y="108"/>
                    <a:pt x="113" y="109"/>
                    <a:pt x="111" y="107"/>
                  </a:cubicBezTo>
                  <a:cubicBezTo>
                    <a:pt x="110" y="105"/>
                    <a:pt x="116" y="105"/>
                    <a:pt x="115" y="103"/>
                  </a:cubicBezTo>
                  <a:cubicBezTo>
                    <a:pt x="114" y="101"/>
                    <a:pt x="111" y="104"/>
                    <a:pt x="108" y="103"/>
                  </a:cubicBezTo>
                  <a:cubicBezTo>
                    <a:pt x="106" y="102"/>
                    <a:pt x="104" y="101"/>
                    <a:pt x="104" y="99"/>
                  </a:cubicBezTo>
                  <a:cubicBezTo>
                    <a:pt x="103" y="97"/>
                    <a:pt x="106" y="96"/>
                    <a:pt x="107" y="95"/>
                  </a:cubicBezTo>
                  <a:cubicBezTo>
                    <a:pt x="107" y="94"/>
                    <a:pt x="105" y="94"/>
                    <a:pt x="104" y="94"/>
                  </a:cubicBezTo>
                  <a:cubicBezTo>
                    <a:pt x="101" y="94"/>
                    <a:pt x="99" y="95"/>
                    <a:pt x="96" y="94"/>
                  </a:cubicBezTo>
                  <a:cubicBezTo>
                    <a:pt x="94" y="93"/>
                    <a:pt x="91" y="91"/>
                    <a:pt x="91" y="89"/>
                  </a:cubicBezTo>
                  <a:cubicBezTo>
                    <a:pt x="90" y="86"/>
                    <a:pt x="92" y="82"/>
                    <a:pt x="91" y="79"/>
                  </a:cubicBezTo>
                  <a:cubicBezTo>
                    <a:pt x="90" y="78"/>
                    <a:pt x="88" y="79"/>
                    <a:pt x="87" y="78"/>
                  </a:cubicBezTo>
                  <a:cubicBezTo>
                    <a:pt x="84" y="76"/>
                    <a:pt x="82" y="74"/>
                    <a:pt x="80" y="71"/>
                  </a:cubicBezTo>
                  <a:cubicBezTo>
                    <a:pt x="80" y="69"/>
                    <a:pt x="80" y="67"/>
                    <a:pt x="80" y="66"/>
                  </a:cubicBezTo>
                  <a:cubicBezTo>
                    <a:pt x="79" y="64"/>
                    <a:pt x="76" y="64"/>
                    <a:pt x="77" y="62"/>
                  </a:cubicBezTo>
                  <a:cubicBezTo>
                    <a:pt x="78" y="60"/>
                    <a:pt x="81" y="60"/>
                    <a:pt x="83" y="59"/>
                  </a:cubicBezTo>
                  <a:cubicBezTo>
                    <a:pt x="85" y="58"/>
                    <a:pt x="89" y="61"/>
                    <a:pt x="90" y="59"/>
                  </a:cubicBezTo>
                  <a:cubicBezTo>
                    <a:pt x="90" y="55"/>
                    <a:pt x="87" y="52"/>
                    <a:pt x="85" y="49"/>
                  </a:cubicBezTo>
                  <a:cubicBezTo>
                    <a:pt x="84" y="48"/>
                    <a:pt x="81" y="49"/>
                    <a:pt x="80" y="49"/>
                  </a:cubicBezTo>
                  <a:cubicBezTo>
                    <a:pt x="77" y="48"/>
                    <a:pt x="74" y="46"/>
                    <a:pt x="72" y="45"/>
                  </a:cubicBezTo>
                  <a:cubicBezTo>
                    <a:pt x="69" y="43"/>
                    <a:pt x="65" y="43"/>
                    <a:pt x="62" y="41"/>
                  </a:cubicBezTo>
                  <a:cubicBezTo>
                    <a:pt x="61" y="40"/>
                    <a:pt x="63" y="38"/>
                    <a:pt x="62" y="36"/>
                  </a:cubicBezTo>
                  <a:cubicBezTo>
                    <a:pt x="62" y="34"/>
                    <a:pt x="62" y="31"/>
                    <a:pt x="60" y="29"/>
                  </a:cubicBezTo>
                  <a:cubicBezTo>
                    <a:pt x="58" y="27"/>
                    <a:pt x="54" y="27"/>
                    <a:pt x="52" y="24"/>
                  </a:cubicBezTo>
                  <a:cubicBezTo>
                    <a:pt x="50" y="23"/>
                    <a:pt x="51" y="19"/>
                    <a:pt x="49" y="18"/>
                  </a:cubicBezTo>
                  <a:cubicBezTo>
                    <a:pt x="47" y="17"/>
                    <a:pt x="44" y="18"/>
                    <a:pt x="41" y="17"/>
                  </a:cubicBezTo>
                  <a:cubicBezTo>
                    <a:pt x="38" y="16"/>
                    <a:pt x="35" y="13"/>
                    <a:pt x="32" y="12"/>
                  </a:cubicBezTo>
                  <a:cubicBezTo>
                    <a:pt x="27" y="9"/>
                    <a:pt x="21" y="8"/>
                    <a:pt x="16" y="6"/>
                  </a:cubicBezTo>
                  <a:cubicBezTo>
                    <a:pt x="13" y="4"/>
                    <a:pt x="10" y="2"/>
                    <a:pt x="7" y="1"/>
                  </a:cubicBezTo>
                  <a:cubicBezTo>
                    <a:pt x="6" y="0"/>
                    <a:pt x="4" y="1"/>
                    <a:pt x="3" y="1"/>
                  </a:cubicBezTo>
                  <a:lnTo>
                    <a:pt x="3" y="54"/>
                  </a:lnTo>
                  <a:cubicBezTo>
                    <a:pt x="3" y="56"/>
                    <a:pt x="0" y="57"/>
                    <a:pt x="0" y="59"/>
                  </a:cubicBezTo>
                  <a:cubicBezTo>
                    <a:pt x="0" y="60"/>
                    <a:pt x="2" y="62"/>
                    <a:pt x="2" y="63"/>
                  </a:cubicBezTo>
                  <a:lnTo>
                    <a:pt x="0" y="95"/>
                  </a:ln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4" name="Freeform 544"/>
            <p:cNvSpPr>
              <a:spLocks noChangeAspect="1"/>
            </p:cNvSpPr>
            <p:nvPr/>
          </p:nvSpPr>
          <p:spPr bwMode="auto">
            <a:xfrm>
              <a:off x="8077200" y="4248150"/>
              <a:ext cx="19050" cy="11113"/>
            </a:xfrm>
            <a:custGeom>
              <a:avLst/>
              <a:gdLst>
                <a:gd name="T0" fmla="*/ 1905 w 10"/>
                <a:gd name="T1" fmla="*/ 1852 h 6"/>
                <a:gd name="T2" fmla="*/ 17145 w 10"/>
                <a:gd name="T3" fmla="*/ 1852 h 6"/>
                <a:gd name="T4" fmla="*/ 17145 w 10"/>
                <a:gd name="T5" fmla="*/ 7409 h 6"/>
                <a:gd name="T6" fmla="*/ 1905 w 10"/>
                <a:gd name="T7" fmla="*/ 9261 h 6"/>
                <a:gd name="T8" fmla="*/ 1905 w 10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6"/>
                <a:gd name="T17" fmla="*/ 10 w 10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6">
                  <a:moveTo>
                    <a:pt x="1" y="1"/>
                  </a:moveTo>
                  <a:cubicBezTo>
                    <a:pt x="3" y="0"/>
                    <a:pt x="6" y="1"/>
                    <a:pt x="9" y="1"/>
                  </a:cubicBezTo>
                  <a:cubicBezTo>
                    <a:pt x="9" y="2"/>
                    <a:pt x="10" y="3"/>
                    <a:pt x="9" y="4"/>
                  </a:cubicBezTo>
                  <a:cubicBezTo>
                    <a:pt x="7" y="5"/>
                    <a:pt x="4" y="6"/>
                    <a:pt x="1" y="5"/>
                  </a:cubicBezTo>
                  <a:cubicBezTo>
                    <a:pt x="0" y="5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5" name="Freeform 545"/>
            <p:cNvSpPr>
              <a:spLocks noChangeAspect="1"/>
            </p:cNvSpPr>
            <p:nvPr/>
          </p:nvSpPr>
          <p:spPr bwMode="auto">
            <a:xfrm>
              <a:off x="8116888" y="4310063"/>
              <a:ext cx="98425" cy="60325"/>
            </a:xfrm>
            <a:custGeom>
              <a:avLst/>
              <a:gdLst>
                <a:gd name="T0" fmla="*/ 5790 w 51"/>
                <a:gd name="T1" fmla="*/ 36973 h 31"/>
                <a:gd name="T2" fmla="*/ 28949 w 51"/>
                <a:gd name="T3" fmla="*/ 38919 h 31"/>
                <a:gd name="T4" fmla="*/ 40528 w 51"/>
                <a:gd name="T5" fmla="*/ 36973 h 31"/>
                <a:gd name="T6" fmla="*/ 40528 w 51"/>
                <a:gd name="T7" fmla="*/ 29190 h 31"/>
                <a:gd name="T8" fmla="*/ 48248 w 51"/>
                <a:gd name="T9" fmla="*/ 36973 h 31"/>
                <a:gd name="T10" fmla="*/ 61757 w 51"/>
                <a:gd name="T11" fmla="*/ 35027 h 31"/>
                <a:gd name="T12" fmla="*/ 69476 w 51"/>
                <a:gd name="T13" fmla="*/ 21406 h 31"/>
                <a:gd name="T14" fmla="*/ 81056 w 51"/>
                <a:gd name="T15" fmla="*/ 21406 h 31"/>
                <a:gd name="T16" fmla="*/ 79126 w 51"/>
                <a:gd name="T17" fmla="*/ 5838 h 31"/>
                <a:gd name="T18" fmla="*/ 88775 w 51"/>
                <a:gd name="T19" fmla="*/ 3892 h 31"/>
                <a:gd name="T20" fmla="*/ 96495 w 51"/>
                <a:gd name="T21" fmla="*/ 1946 h 31"/>
                <a:gd name="T22" fmla="*/ 96495 w 51"/>
                <a:gd name="T23" fmla="*/ 17514 h 31"/>
                <a:gd name="T24" fmla="*/ 90705 w 51"/>
                <a:gd name="T25" fmla="*/ 23352 h 31"/>
                <a:gd name="T26" fmla="*/ 90705 w 51"/>
                <a:gd name="T27" fmla="*/ 33081 h 31"/>
                <a:gd name="T28" fmla="*/ 81056 w 51"/>
                <a:gd name="T29" fmla="*/ 42811 h 31"/>
                <a:gd name="T30" fmla="*/ 75266 w 51"/>
                <a:gd name="T31" fmla="*/ 42811 h 31"/>
                <a:gd name="T32" fmla="*/ 67547 w 51"/>
                <a:gd name="T33" fmla="*/ 50595 h 31"/>
                <a:gd name="T34" fmla="*/ 42458 w 51"/>
                <a:gd name="T35" fmla="*/ 58379 h 31"/>
                <a:gd name="T36" fmla="*/ 25089 w 51"/>
                <a:gd name="T37" fmla="*/ 58379 h 31"/>
                <a:gd name="T38" fmla="*/ 3860 w 51"/>
                <a:gd name="T39" fmla="*/ 46703 h 31"/>
                <a:gd name="T40" fmla="*/ 1930 w 51"/>
                <a:gd name="T41" fmla="*/ 40865 h 31"/>
                <a:gd name="T42" fmla="*/ 5790 w 51"/>
                <a:gd name="T43" fmla="*/ 36973 h 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1"/>
                <a:gd name="T67" fmla="*/ 0 h 31"/>
                <a:gd name="T68" fmla="*/ 51 w 51"/>
                <a:gd name="T69" fmla="*/ 31 h 3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1" h="31">
                  <a:moveTo>
                    <a:pt x="3" y="19"/>
                  </a:moveTo>
                  <a:cubicBezTo>
                    <a:pt x="7" y="19"/>
                    <a:pt x="11" y="20"/>
                    <a:pt x="15" y="20"/>
                  </a:cubicBezTo>
                  <a:cubicBezTo>
                    <a:pt x="17" y="20"/>
                    <a:pt x="19" y="20"/>
                    <a:pt x="21" y="19"/>
                  </a:cubicBezTo>
                  <a:cubicBezTo>
                    <a:pt x="21" y="18"/>
                    <a:pt x="20" y="15"/>
                    <a:pt x="21" y="15"/>
                  </a:cubicBezTo>
                  <a:cubicBezTo>
                    <a:pt x="23" y="16"/>
                    <a:pt x="23" y="19"/>
                    <a:pt x="25" y="19"/>
                  </a:cubicBezTo>
                  <a:cubicBezTo>
                    <a:pt x="28" y="20"/>
                    <a:pt x="30" y="19"/>
                    <a:pt x="32" y="18"/>
                  </a:cubicBezTo>
                  <a:cubicBezTo>
                    <a:pt x="35" y="16"/>
                    <a:pt x="34" y="13"/>
                    <a:pt x="36" y="11"/>
                  </a:cubicBezTo>
                  <a:cubicBezTo>
                    <a:pt x="38" y="10"/>
                    <a:pt x="41" y="12"/>
                    <a:pt x="42" y="11"/>
                  </a:cubicBezTo>
                  <a:cubicBezTo>
                    <a:pt x="43" y="8"/>
                    <a:pt x="39" y="5"/>
                    <a:pt x="41" y="3"/>
                  </a:cubicBezTo>
                  <a:cubicBezTo>
                    <a:pt x="41" y="2"/>
                    <a:pt x="44" y="3"/>
                    <a:pt x="46" y="2"/>
                  </a:cubicBezTo>
                  <a:cubicBezTo>
                    <a:pt x="47" y="2"/>
                    <a:pt x="49" y="0"/>
                    <a:pt x="50" y="1"/>
                  </a:cubicBezTo>
                  <a:cubicBezTo>
                    <a:pt x="51" y="3"/>
                    <a:pt x="50" y="6"/>
                    <a:pt x="50" y="9"/>
                  </a:cubicBezTo>
                  <a:cubicBezTo>
                    <a:pt x="49" y="10"/>
                    <a:pt x="47" y="11"/>
                    <a:pt x="47" y="12"/>
                  </a:cubicBezTo>
                  <a:cubicBezTo>
                    <a:pt x="46" y="14"/>
                    <a:pt x="48" y="16"/>
                    <a:pt x="47" y="17"/>
                  </a:cubicBezTo>
                  <a:cubicBezTo>
                    <a:pt x="46" y="19"/>
                    <a:pt x="44" y="21"/>
                    <a:pt x="42" y="22"/>
                  </a:cubicBezTo>
                  <a:cubicBezTo>
                    <a:pt x="41" y="23"/>
                    <a:pt x="40" y="21"/>
                    <a:pt x="39" y="22"/>
                  </a:cubicBezTo>
                  <a:cubicBezTo>
                    <a:pt x="38" y="23"/>
                    <a:pt x="37" y="25"/>
                    <a:pt x="35" y="26"/>
                  </a:cubicBezTo>
                  <a:cubicBezTo>
                    <a:pt x="31" y="28"/>
                    <a:pt x="27" y="29"/>
                    <a:pt x="22" y="30"/>
                  </a:cubicBezTo>
                  <a:cubicBezTo>
                    <a:pt x="19" y="31"/>
                    <a:pt x="16" y="31"/>
                    <a:pt x="13" y="30"/>
                  </a:cubicBezTo>
                  <a:cubicBezTo>
                    <a:pt x="9" y="29"/>
                    <a:pt x="5" y="26"/>
                    <a:pt x="2" y="24"/>
                  </a:cubicBezTo>
                  <a:cubicBezTo>
                    <a:pt x="1" y="23"/>
                    <a:pt x="0" y="22"/>
                    <a:pt x="1" y="21"/>
                  </a:cubicBezTo>
                  <a:cubicBezTo>
                    <a:pt x="1" y="20"/>
                    <a:pt x="2" y="19"/>
                    <a:pt x="3" y="1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6" name="Freeform 546"/>
            <p:cNvSpPr>
              <a:spLocks noChangeAspect="1"/>
            </p:cNvSpPr>
            <p:nvPr/>
          </p:nvSpPr>
          <p:spPr bwMode="auto">
            <a:xfrm>
              <a:off x="8177213" y="4262438"/>
              <a:ext cx="53975" cy="66675"/>
            </a:xfrm>
            <a:custGeom>
              <a:avLst/>
              <a:gdLst>
                <a:gd name="T0" fmla="*/ 53975 w 29"/>
                <a:gd name="T1" fmla="*/ 55245 h 35"/>
                <a:gd name="T2" fmla="*/ 50253 w 29"/>
                <a:gd name="T3" fmla="*/ 66675 h 35"/>
                <a:gd name="T4" fmla="*/ 44669 w 29"/>
                <a:gd name="T5" fmla="*/ 64770 h 35"/>
                <a:gd name="T6" fmla="*/ 42808 w 29"/>
                <a:gd name="T7" fmla="*/ 47625 h 35"/>
                <a:gd name="T8" fmla="*/ 31641 w 29"/>
                <a:gd name="T9" fmla="*/ 32385 h 35"/>
                <a:gd name="T10" fmla="*/ 16751 w 29"/>
                <a:gd name="T11" fmla="*/ 20955 h 35"/>
                <a:gd name="T12" fmla="*/ 1861 w 29"/>
                <a:gd name="T13" fmla="*/ 5715 h 35"/>
                <a:gd name="T14" fmla="*/ 3722 w 29"/>
                <a:gd name="T15" fmla="*/ 1905 h 35"/>
                <a:gd name="T16" fmla="*/ 20473 w 29"/>
                <a:gd name="T17" fmla="*/ 15240 h 35"/>
                <a:gd name="T18" fmla="*/ 31641 w 29"/>
                <a:gd name="T19" fmla="*/ 26670 h 35"/>
                <a:gd name="T20" fmla="*/ 40947 w 29"/>
                <a:gd name="T21" fmla="*/ 41910 h 35"/>
                <a:gd name="T22" fmla="*/ 48391 w 29"/>
                <a:gd name="T23" fmla="*/ 43815 h 35"/>
                <a:gd name="T24" fmla="*/ 53975 w 29"/>
                <a:gd name="T25" fmla="*/ 55245 h 3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35"/>
                <a:gd name="T41" fmla="*/ 29 w 29"/>
                <a:gd name="T42" fmla="*/ 35 h 3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35">
                  <a:moveTo>
                    <a:pt x="29" y="29"/>
                  </a:moveTo>
                  <a:cubicBezTo>
                    <a:pt x="29" y="31"/>
                    <a:pt x="28" y="33"/>
                    <a:pt x="27" y="35"/>
                  </a:cubicBezTo>
                  <a:cubicBezTo>
                    <a:pt x="26" y="35"/>
                    <a:pt x="24" y="34"/>
                    <a:pt x="24" y="34"/>
                  </a:cubicBezTo>
                  <a:cubicBezTo>
                    <a:pt x="23" y="31"/>
                    <a:pt x="24" y="28"/>
                    <a:pt x="23" y="25"/>
                  </a:cubicBezTo>
                  <a:cubicBezTo>
                    <a:pt x="22" y="22"/>
                    <a:pt x="19" y="19"/>
                    <a:pt x="17" y="17"/>
                  </a:cubicBezTo>
                  <a:cubicBezTo>
                    <a:pt x="15" y="14"/>
                    <a:pt x="12" y="13"/>
                    <a:pt x="9" y="11"/>
                  </a:cubicBezTo>
                  <a:cubicBezTo>
                    <a:pt x="6" y="8"/>
                    <a:pt x="3" y="6"/>
                    <a:pt x="1" y="3"/>
                  </a:cubicBezTo>
                  <a:cubicBezTo>
                    <a:pt x="0" y="2"/>
                    <a:pt x="1" y="0"/>
                    <a:pt x="2" y="1"/>
                  </a:cubicBezTo>
                  <a:cubicBezTo>
                    <a:pt x="5" y="2"/>
                    <a:pt x="8" y="5"/>
                    <a:pt x="11" y="8"/>
                  </a:cubicBezTo>
                  <a:cubicBezTo>
                    <a:pt x="13" y="10"/>
                    <a:pt x="15" y="11"/>
                    <a:pt x="17" y="14"/>
                  </a:cubicBezTo>
                  <a:cubicBezTo>
                    <a:pt x="19" y="16"/>
                    <a:pt x="20" y="19"/>
                    <a:pt x="22" y="22"/>
                  </a:cubicBezTo>
                  <a:cubicBezTo>
                    <a:pt x="23" y="23"/>
                    <a:pt x="25" y="22"/>
                    <a:pt x="26" y="23"/>
                  </a:cubicBezTo>
                  <a:cubicBezTo>
                    <a:pt x="27" y="25"/>
                    <a:pt x="29" y="27"/>
                    <a:pt x="29" y="2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7" name="Freeform 547"/>
            <p:cNvSpPr>
              <a:spLocks noChangeAspect="1"/>
            </p:cNvSpPr>
            <p:nvPr/>
          </p:nvSpPr>
          <p:spPr bwMode="auto">
            <a:xfrm>
              <a:off x="8269288" y="4346575"/>
              <a:ext cx="28575" cy="38100"/>
            </a:xfrm>
            <a:custGeom>
              <a:avLst/>
              <a:gdLst>
                <a:gd name="T0" fmla="*/ 1905 w 15"/>
                <a:gd name="T1" fmla="*/ 3810 h 20"/>
                <a:gd name="T2" fmla="*/ 1905 w 15"/>
                <a:gd name="T3" fmla="*/ 13335 h 20"/>
                <a:gd name="T4" fmla="*/ 11430 w 15"/>
                <a:gd name="T5" fmla="*/ 24765 h 20"/>
                <a:gd name="T6" fmla="*/ 11430 w 15"/>
                <a:gd name="T7" fmla="*/ 34290 h 20"/>
                <a:gd name="T8" fmla="*/ 22860 w 15"/>
                <a:gd name="T9" fmla="*/ 36195 h 20"/>
                <a:gd name="T10" fmla="*/ 26670 w 15"/>
                <a:gd name="T11" fmla="*/ 26670 h 20"/>
                <a:gd name="T12" fmla="*/ 15240 w 15"/>
                <a:gd name="T13" fmla="*/ 17145 h 20"/>
                <a:gd name="T14" fmla="*/ 9525 w 15"/>
                <a:gd name="T15" fmla="*/ 7620 h 20"/>
                <a:gd name="T16" fmla="*/ 1905 w 15"/>
                <a:gd name="T17" fmla="*/ 381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0"/>
                <a:gd name="T29" fmla="*/ 15 w 15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0">
                  <a:moveTo>
                    <a:pt x="1" y="2"/>
                  </a:moveTo>
                  <a:cubicBezTo>
                    <a:pt x="0" y="3"/>
                    <a:pt x="0" y="6"/>
                    <a:pt x="1" y="7"/>
                  </a:cubicBezTo>
                  <a:cubicBezTo>
                    <a:pt x="2" y="10"/>
                    <a:pt x="5" y="11"/>
                    <a:pt x="6" y="13"/>
                  </a:cubicBezTo>
                  <a:cubicBezTo>
                    <a:pt x="7" y="15"/>
                    <a:pt x="5" y="17"/>
                    <a:pt x="6" y="18"/>
                  </a:cubicBezTo>
                  <a:cubicBezTo>
                    <a:pt x="7" y="20"/>
                    <a:pt x="10" y="20"/>
                    <a:pt x="12" y="19"/>
                  </a:cubicBezTo>
                  <a:cubicBezTo>
                    <a:pt x="14" y="18"/>
                    <a:pt x="15" y="15"/>
                    <a:pt x="14" y="14"/>
                  </a:cubicBezTo>
                  <a:cubicBezTo>
                    <a:pt x="13" y="11"/>
                    <a:pt x="10" y="10"/>
                    <a:pt x="8" y="9"/>
                  </a:cubicBezTo>
                  <a:cubicBezTo>
                    <a:pt x="7" y="7"/>
                    <a:pt x="6" y="5"/>
                    <a:pt x="5" y="4"/>
                  </a:cubicBezTo>
                  <a:cubicBezTo>
                    <a:pt x="5" y="4"/>
                    <a:pt x="2" y="0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8" name="Freeform 548"/>
            <p:cNvSpPr>
              <a:spLocks noChangeAspect="1"/>
            </p:cNvSpPr>
            <p:nvPr/>
          </p:nvSpPr>
          <p:spPr bwMode="auto">
            <a:xfrm>
              <a:off x="8310563" y="4381500"/>
              <a:ext cx="22225" cy="22225"/>
            </a:xfrm>
            <a:custGeom>
              <a:avLst/>
              <a:gdLst>
                <a:gd name="T0" fmla="*/ 3704 w 12"/>
                <a:gd name="T1" fmla="*/ 0 h 12"/>
                <a:gd name="T2" fmla="*/ 1852 w 12"/>
                <a:gd name="T3" fmla="*/ 1852 h 12"/>
                <a:gd name="T4" fmla="*/ 11113 w 12"/>
                <a:gd name="T5" fmla="*/ 16669 h 12"/>
                <a:gd name="T6" fmla="*/ 20373 w 12"/>
                <a:gd name="T7" fmla="*/ 20373 h 12"/>
                <a:gd name="T8" fmla="*/ 16669 w 12"/>
                <a:gd name="T9" fmla="*/ 9260 h 12"/>
                <a:gd name="T10" fmla="*/ 3704 w 12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12"/>
                <a:gd name="T20" fmla="*/ 12 w 12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12">
                  <a:moveTo>
                    <a:pt x="2" y="0"/>
                  </a:moveTo>
                  <a:cubicBezTo>
                    <a:pt x="2" y="0"/>
                    <a:pt x="0" y="1"/>
                    <a:pt x="1" y="1"/>
                  </a:cubicBezTo>
                  <a:cubicBezTo>
                    <a:pt x="2" y="4"/>
                    <a:pt x="4" y="7"/>
                    <a:pt x="6" y="9"/>
                  </a:cubicBezTo>
                  <a:cubicBezTo>
                    <a:pt x="7" y="10"/>
                    <a:pt x="10" y="12"/>
                    <a:pt x="11" y="11"/>
                  </a:cubicBezTo>
                  <a:cubicBezTo>
                    <a:pt x="12" y="9"/>
                    <a:pt x="11" y="6"/>
                    <a:pt x="9" y="5"/>
                  </a:cubicBezTo>
                  <a:cubicBezTo>
                    <a:pt x="7" y="3"/>
                    <a:pt x="5" y="1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49" name="Freeform 549"/>
            <p:cNvSpPr>
              <a:spLocks noChangeAspect="1"/>
            </p:cNvSpPr>
            <p:nvPr/>
          </p:nvSpPr>
          <p:spPr bwMode="auto">
            <a:xfrm>
              <a:off x="8356600" y="4408488"/>
              <a:ext cx="34925" cy="23812"/>
            </a:xfrm>
            <a:custGeom>
              <a:avLst/>
              <a:gdLst>
                <a:gd name="T0" fmla="*/ 5514 w 19"/>
                <a:gd name="T1" fmla="*/ 0 h 13"/>
                <a:gd name="T2" fmla="*/ 0 w 19"/>
                <a:gd name="T3" fmla="*/ 1832 h 13"/>
                <a:gd name="T4" fmla="*/ 5514 w 19"/>
                <a:gd name="T5" fmla="*/ 10990 h 13"/>
                <a:gd name="T6" fmla="*/ 20220 w 19"/>
                <a:gd name="T7" fmla="*/ 20149 h 13"/>
                <a:gd name="T8" fmla="*/ 31249 w 19"/>
                <a:gd name="T9" fmla="*/ 23812 h 13"/>
                <a:gd name="T10" fmla="*/ 33087 w 19"/>
                <a:gd name="T11" fmla="*/ 18317 h 13"/>
                <a:gd name="T12" fmla="*/ 23896 w 19"/>
                <a:gd name="T13" fmla="*/ 10990 h 13"/>
                <a:gd name="T14" fmla="*/ 11029 w 19"/>
                <a:gd name="T15" fmla="*/ 7327 h 13"/>
                <a:gd name="T16" fmla="*/ 5514 w 19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3"/>
                <a:gd name="T29" fmla="*/ 19 w 19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3">
                  <a:moveTo>
                    <a:pt x="3" y="0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3"/>
                    <a:pt x="2" y="4"/>
                    <a:pt x="3" y="6"/>
                  </a:cubicBezTo>
                  <a:cubicBezTo>
                    <a:pt x="6" y="8"/>
                    <a:pt x="8" y="9"/>
                    <a:pt x="11" y="11"/>
                  </a:cubicBezTo>
                  <a:cubicBezTo>
                    <a:pt x="13" y="12"/>
                    <a:pt x="15" y="13"/>
                    <a:pt x="17" y="13"/>
                  </a:cubicBezTo>
                  <a:cubicBezTo>
                    <a:pt x="18" y="13"/>
                    <a:pt x="19" y="11"/>
                    <a:pt x="18" y="10"/>
                  </a:cubicBezTo>
                  <a:cubicBezTo>
                    <a:pt x="17" y="8"/>
                    <a:pt x="15" y="7"/>
                    <a:pt x="13" y="6"/>
                  </a:cubicBezTo>
                  <a:cubicBezTo>
                    <a:pt x="11" y="5"/>
                    <a:pt x="8" y="5"/>
                    <a:pt x="6" y="4"/>
                  </a:cubicBezTo>
                  <a:cubicBezTo>
                    <a:pt x="5" y="3"/>
                    <a:pt x="4" y="1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0" name="Freeform 550"/>
            <p:cNvSpPr>
              <a:spLocks noChangeAspect="1"/>
            </p:cNvSpPr>
            <p:nvPr/>
          </p:nvSpPr>
          <p:spPr bwMode="auto">
            <a:xfrm>
              <a:off x="8407400" y="4425950"/>
              <a:ext cx="20638" cy="39688"/>
            </a:xfrm>
            <a:custGeom>
              <a:avLst/>
              <a:gdLst>
                <a:gd name="T0" fmla="*/ 7505 w 11"/>
                <a:gd name="T1" fmla="*/ 1890 h 21"/>
                <a:gd name="T2" fmla="*/ 1876 w 11"/>
                <a:gd name="T3" fmla="*/ 1890 h 21"/>
                <a:gd name="T4" fmla="*/ 3752 w 11"/>
                <a:gd name="T5" fmla="*/ 9450 h 21"/>
                <a:gd name="T6" fmla="*/ 5629 w 11"/>
                <a:gd name="T7" fmla="*/ 24569 h 21"/>
                <a:gd name="T8" fmla="*/ 16886 w 11"/>
                <a:gd name="T9" fmla="*/ 39688 h 21"/>
                <a:gd name="T10" fmla="*/ 16886 w 11"/>
                <a:gd name="T11" fmla="*/ 26459 h 21"/>
                <a:gd name="T12" fmla="*/ 9381 w 11"/>
                <a:gd name="T13" fmla="*/ 15119 h 21"/>
                <a:gd name="T14" fmla="*/ 9381 w 11"/>
                <a:gd name="T15" fmla="*/ 7560 h 21"/>
                <a:gd name="T16" fmla="*/ 7505 w 11"/>
                <a:gd name="T17" fmla="*/ 189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21"/>
                <a:gd name="T29" fmla="*/ 11 w 11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21">
                  <a:moveTo>
                    <a:pt x="4" y="1"/>
                  </a:moveTo>
                  <a:cubicBezTo>
                    <a:pt x="3" y="0"/>
                    <a:pt x="1" y="0"/>
                    <a:pt x="1" y="1"/>
                  </a:cubicBezTo>
                  <a:cubicBezTo>
                    <a:pt x="0" y="2"/>
                    <a:pt x="2" y="4"/>
                    <a:pt x="2" y="5"/>
                  </a:cubicBezTo>
                  <a:cubicBezTo>
                    <a:pt x="2" y="8"/>
                    <a:pt x="2" y="11"/>
                    <a:pt x="3" y="13"/>
                  </a:cubicBezTo>
                  <a:cubicBezTo>
                    <a:pt x="4" y="16"/>
                    <a:pt x="6" y="20"/>
                    <a:pt x="9" y="21"/>
                  </a:cubicBezTo>
                  <a:cubicBezTo>
                    <a:pt x="11" y="21"/>
                    <a:pt x="10" y="16"/>
                    <a:pt x="9" y="14"/>
                  </a:cubicBezTo>
                  <a:cubicBezTo>
                    <a:pt x="9" y="12"/>
                    <a:pt x="6" y="10"/>
                    <a:pt x="5" y="8"/>
                  </a:cubicBezTo>
                  <a:cubicBezTo>
                    <a:pt x="5" y="6"/>
                    <a:pt x="6" y="5"/>
                    <a:pt x="5" y="4"/>
                  </a:cubicBezTo>
                  <a:cubicBezTo>
                    <a:pt x="5" y="3"/>
                    <a:pt x="5" y="1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1" name="Freeform 551"/>
            <p:cNvSpPr>
              <a:spLocks noChangeAspect="1"/>
            </p:cNvSpPr>
            <p:nvPr/>
          </p:nvSpPr>
          <p:spPr bwMode="auto">
            <a:xfrm>
              <a:off x="8423275" y="4483100"/>
              <a:ext cx="23813" cy="15875"/>
            </a:xfrm>
            <a:custGeom>
              <a:avLst/>
              <a:gdLst>
                <a:gd name="T0" fmla="*/ 5495 w 13"/>
                <a:gd name="T1" fmla="*/ 0 h 9"/>
                <a:gd name="T2" fmla="*/ 0 w 13"/>
                <a:gd name="T3" fmla="*/ 3528 h 9"/>
                <a:gd name="T4" fmla="*/ 5495 w 13"/>
                <a:gd name="T5" fmla="*/ 7056 h 9"/>
                <a:gd name="T6" fmla="*/ 12822 w 13"/>
                <a:gd name="T7" fmla="*/ 14111 h 9"/>
                <a:gd name="T8" fmla="*/ 20149 w 13"/>
                <a:gd name="T9" fmla="*/ 15875 h 9"/>
                <a:gd name="T10" fmla="*/ 23813 w 13"/>
                <a:gd name="T11" fmla="*/ 12347 h 9"/>
                <a:gd name="T12" fmla="*/ 20149 w 13"/>
                <a:gd name="T13" fmla="*/ 7056 h 9"/>
                <a:gd name="T14" fmla="*/ 10991 w 13"/>
                <a:gd name="T15" fmla="*/ 3528 h 9"/>
                <a:gd name="T16" fmla="*/ 5495 w 13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9"/>
                <a:gd name="T29" fmla="*/ 13 w 13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9">
                  <a:moveTo>
                    <a:pt x="3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0" y="3"/>
                    <a:pt x="2" y="3"/>
                    <a:pt x="3" y="4"/>
                  </a:cubicBezTo>
                  <a:cubicBezTo>
                    <a:pt x="5" y="5"/>
                    <a:pt x="6" y="7"/>
                    <a:pt x="7" y="8"/>
                  </a:cubicBezTo>
                  <a:cubicBezTo>
                    <a:pt x="9" y="9"/>
                    <a:pt x="10" y="9"/>
                    <a:pt x="11" y="9"/>
                  </a:cubicBezTo>
                  <a:cubicBezTo>
                    <a:pt x="12" y="9"/>
                    <a:pt x="13" y="8"/>
                    <a:pt x="13" y="7"/>
                  </a:cubicBezTo>
                  <a:cubicBezTo>
                    <a:pt x="13" y="6"/>
                    <a:pt x="12" y="5"/>
                    <a:pt x="11" y="4"/>
                  </a:cubicBezTo>
                  <a:cubicBezTo>
                    <a:pt x="9" y="3"/>
                    <a:pt x="8" y="3"/>
                    <a:pt x="6" y="2"/>
                  </a:cubicBezTo>
                  <a:cubicBezTo>
                    <a:pt x="5" y="1"/>
                    <a:pt x="4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2" name="Freeform 552"/>
            <p:cNvSpPr>
              <a:spLocks noChangeAspect="1"/>
            </p:cNvSpPr>
            <p:nvPr/>
          </p:nvSpPr>
          <p:spPr bwMode="auto">
            <a:xfrm>
              <a:off x="8324850" y="4418013"/>
              <a:ext cx="15875" cy="14287"/>
            </a:xfrm>
            <a:custGeom>
              <a:avLst/>
              <a:gdLst>
                <a:gd name="T0" fmla="*/ 11906 w 8"/>
                <a:gd name="T1" fmla="*/ 1786 h 8"/>
                <a:gd name="T2" fmla="*/ 5953 w 8"/>
                <a:gd name="T3" fmla="*/ 1786 h 8"/>
                <a:gd name="T4" fmla="*/ 1984 w 8"/>
                <a:gd name="T5" fmla="*/ 8929 h 8"/>
                <a:gd name="T6" fmla="*/ 11906 w 8"/>
                <a:gd name="T7" fmla="*/ 14287 h 8"/>
                <a:gd name="T8" fmla="*/ 15875 w 8"/>
                <a:gd name="T9" fmla="*/ 12501 h 8"/>
                <a:gd name="T10" fmla="*/ 11906 w 8"/>
                <a:gd name="T11" fmla="*/ 5358 h 8"/>
                <a:gd name="T12" fmla="*/ 11906 w 8"/>
                <a:gd name="T13" fmla="*/ 1786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6" y="1"/>
                  </a:moveTo>
                  <a:cubicBezTo>
                    <a:pt x="5" y="0"/>
                    <a:pt x="4" y="0"/>
                    <a:pt x="3" y="1"/>
                  </a:cubicBezTo>
                  <a:cubicBezTo>
                    <a:pt x="2" y="2"/>
                    <a:pt x="0" y="4"/>
                    <a:pt x="1" y="5"/>
                  </a:cubicBezTo>
                  <a:cubicBezTo>
                    <a:pt x="1" y="7"/>
                    <a:pt x="4" y="7"/>
                    <a:pt x="6" y="8"/>
                  </a:cubicBezTo>
                  <a:cubicBezTo>
                    <a:pt x="6" y="8"/>
                    <a:pt x="8" y="8"/>
                    <a:pt x="8" y="7"/>
                  </a:cubicBezTo>
                  <a:cubicBezTo>
                    <a:pt x="8" y="6"/>
                    <a:pt x="6" y="5"/>
                    <a:pt x="6" y="3"/>
                  </a:cubicBezTo>
                  <a:cubicBezTo>
                    <a:pt x="6" y="3"/>
                    <a:pt x="6" y="1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3" name="Freeform 553"/>
            <p:cNvSpPr>
              <a:spLocks noChangeAspect="1"/>
            </p:cNvSpPr>
            <p:nvPr/>
          </p:nvSpPr>
          <p:spPr bwMode="auto">
            <a:xfrm>
              <a:off x="8382000" y="4457700"/>
              <a:ext cx="31750" cy="17463"/>
            </a:xfrm>
            <a:custGeom>
              <a:avLst/>
              <a:gdLst>
                <a:gd name="T0" fmla="*/ 5953 w 16"/>
                <a:gd name="T1" fmla="*/ 0 h 9"/>
                <a:gd name="T2" fmla="*/ 0 w 16"/>
                <a:gd name="T3" fmla="*/ 1940 h 9"/>
                <a:gd name="T4" fmla="*/ 1984 w 16"/>
                <a:gd name="T5" fmla="*/ 11642 h 9"/>
                <a:gd name="T6" fmla="*/ 21828 w 16"/>
                <a:gd name="T7" fmla="*/ 15523 h 9"/>
                <a:gd name="T8" fmla="*/ 29766 w 16"/>
                <a:gd name="T9" fmla="*/ 15523 h 9"/>
                <a:gd name="T10" fmla="*/ 27781 w 16"/>
                <a:gd name="T11" fmla="*/ 9702 h 9"/>
                <a:gd name="T12" fmla="*/ 21828 w 16"/>
                <a:gd name="T13" fmla="*/ 1940 h 9"/>
                <a:gd name="T14" fmla="*/ 11906 w 16"/>
                <a:gd name="T15" fmla="*/ 1940 h 9"/>
                <a:gd name="T16" fmla="*/ 5953 w 16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9"/>
                <a:gd name="T29" fmla="*/ 16 w 16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9">
                  <a:moveTo>
                    <a:pt x="3" y="0"/>
                  </a:move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5"/>
                    <a:pt x="1" y="6"/>
                  </a:cubicBezTo>
                  <a:cubicBezTo>
                    <a:pt x="4" y="8"/>
                    <a:pt x="7" y="7"/>
                    <a:pt x="11" y="8"/>
                  </a:cubicBezTo>
                  <a:cubicBezTo>
                    <a:pt x="12" y="8"/>
                    <a:pt x="14" y="9"/>
                    <a:pt x="15" y="8"/>
                  </a:cubicBezTo>
                  <a:cubicBezTo>
                    <a:pt x="16" y="8"/>
                    <a:pt x="15" y="6"/>
                    <a:pt x="14" y="5"/>
                  </a:cubicBezTo>
                  <a:cubicBezTo>
                    <a:pt x="13" y="4"/>
                    <a:pt x="12" y="2"/>
                    <a:pt x="11" y="1"/>
                  </a:cubicBezTo>
                  <a:cubicBezTo>
                    <a:pt x="9" y="0"/>
                    <a:pt x="8" y="1"/>
                    <a:pt x="6" y="1"/>
                  </a:cubicBezTo>
                  <a:cubicBezTo>
                    <a:pt x="5" y="1"/>
                    <a:pt x="4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4" name="Freeform 554"/>
            <p:cNvSpPr>
              <a:spLocks noChangeAspect="1"/>
            </p:cNvSpPr>
            <p:nvPr/>
          </p:nvSpPr>
          <p:spPr bwMode="auto">
            <a:xfrm>
              <a:off x="8385175" y="4521200"/>
              <a:ext cx="20638" cy="6350"/>
            </a:xfrm>
            <a:custGeom>
              <a:avLst/>
              <a:gdLst>
                <a:gd name="T0" fmla="*/ 3752 w 11"/>
                <a:gd name="T1" fmla="*/ 0 h 4"/>
                <a:gd name="T2" fmla="*/ 1876 w 11"/>
                <a:gd name="T3" fmla="*/ 3175 h 4"/>
                <a:gd name="T4" fmla="*/ 18762 w 11"/>
                <a:gd name="T5" fmla="*/ 6350 h 4"/>
                <a:gd name="T6" fmla="*/ 18762 w 11"/>
                <a:gd name="T7" fmla="*/ 3175 h 4"/>
                <a:gd name="T8" fmla="*/ 3752 w 11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4"/>
                <a:gd name="T17" fmla="*/ 11 w 11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4">
                  <a:moveTo>
                    <a:pt x="2" y="0"/>
                  </a:moveTo>
                  <a:cubicBezTo>
                    <a:pt x="1" y="0"/>
                    <a:pt x="0" y="2"/>
                    <a:pt x="1" y="2"/>
                  </a:cubicBezTo>
                  <a:cubicBezTo>
                    <a:pt x="4" y="3"/>
                    <a:pt x="7" y="4"/>
                    <a:pt x="10" y="4"/>
                  </a:cubicBezTo>
                  <a:cubicBezTo>
                    <a:pt x="11" y="4"/>
                    <a:pt x="11" y="2"/>
                    <a:pt x="10" y="2"/>
                  </a:cubicBezTo>
                  <a:cubicBezTo>
                    <a:pt x="7" y="0"/>
                    <a:pt x="5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5" name="Freeform 555"/>
            <p:cNvSpPr>
              <a:spLocks noChangeAspect="1"/>
            </p:cNvSpPr>
            <p:nvPr/>
          </p:nvSpPr>
          <p:spPr bwMode="auto">
            <a:xfrm>
              <a:off x="7408863" y="3684588"/>
              <a:ext cx="114300" cy="166687"/>
            </a:xfrm>
            <a:custGeom>
              <a:avLst/>
              <a:gdLst>
                <a:gd name="T0" fmla="*/ 55245 w 60"/>
                <a:gd name="T1" fmla="*/ 1894 h 88"/>
                <a:gd name="T2" fmla="*/ 60960 w 60"/>
                <a:gd name="T3" fmla="*/ 9471 h 88"/>
                <a:gd name="T4" fmla="*/ 55245 w 60"/>
                <a:gd name="T5" fmla="*/ 26518 h 88"/>
                <a:gd name="T6" fmla="*/ 66675 w 60"/>
                <a:gd name="T7" fmla="*/ 43566 h 88"/>
                <a:gd name="T8" fmla="*/ 60960 w 60"/>
                <a:gd name="T9" fmla="*/ 68190 h 88"/>
                <a:gd name="T10" fmla="*/ 45720 w 60"/>
                <a:gd name="T11" fmla="*/ 85238 h 88"/>
                <a:gd name="T12" fmla="*/ 45720 w 60"/>
                <a:gd name="T13" fmla="*/ 96603 h 88"/>
                <a:gd name="T14" fmla="*/ 53340 w 60"/>
                <a:gd name="T15" fmla="*/ 111756 h 88"/>
                <a:gd name="T16" fmla="*/ 45720 w 60"/>
                <a:gd name="T17" fmla="*/ 121227 h 88"/>
                <a:gd name="T18" fmla="*/ 68580 w 60"/>
                <a:gd name="T19" fmla="*/ 134486 h 88"/>
                <a:gd name="T20" fmla="*/ 76200 w 60"/>
                <a:gd name="T21" fmla="*/ 125015 h 88"/>
                <a:gd name="T22" fmla="*/ 91440 w 60"/>
                <a:gd name="T23" fmla="*/ 142063 h 88"/>
                <a:gd name="T24" fmla="*/ 95250 w 60"/>
                <a:gd name="T25" fmla="*/ 130698 h 88"/>
                <a:gd name="T26" fmla="*/ 112395 w 60"/>
                <a:gd name="T27" fmla="*/ 136380 h 88"/>
                <a:gd name="T28" fmla="*/ 99060 w 60"/>
                <a:gd name="T29" fmla="*/ 142063 h 88"/>
                <a:gd name="T30" fmla="*/ 110490 w 60"/>
                <a:gd name="T31" fmla="*/ 157216 h 88"/>
                <a:gd name="T32" fmla="*/ 110490 w 60"/>
                <a:gd name="T33" fmla="*/ 166687 h 88"/>
                <a:gd name="T34" fmla="*/ 97155 w 60"/>
                <a:gd name="T35" fmla="*/ 157216 h 88"/>
                <a:gd name="T36" fmla="*/ 81915 w 60"/>
                <a:gd name="T37" fmla="*/ 143957 h 88"/>
                <a:gd name="T38" fmla="*/ 74295 w 60"/>
                <a:gd name="T39" fmla="*/ 136380 h 88"/>
                <a:gd name="T40" fmla="*/ 72390 w 60"/>
                <a:gd name="T41" fmla="*/ 140169 h 88"/>
                <a:gd name="T42" fmla="*/ 74295 w 60"/>
                <a:gd name="T43" fmla="*/ 149639 h 88"/>
                <a:gd name="T44" fmla="*/ 64770 w 60"/>
                <a:gd name="T45" fmla="*/ 140169 h 88"/>
                <a:gd name="T46" fmla="*/ 49530 w 60"/>
                <a:gd name="T47" fmla="*/ 134486 h 88"/>
                <a:gd name="T48" fmla="*/ 47625 w 60"/>
                <a:gd name="T49" fmla="*/ 138274 h 88"/>
                <a:gd name="T50" fmla="*/ 30480 w 60"/>
                <a:gd name="T51" fmla="*/ 134486 h 88"/>
                <a:gd name="T52" fmla="*/ 24765 w 60"/>
                <a:gd name="T53" fmla="*/ 126909 h 88"/>
                <a:gd name="T54" fmla="*/ 32385 w 60"/>
                <a:gd name="T55" fmla="*/ 123121 h 88"/>
                <a:gd name="T56" fmla="*/ 43815 w 60"/>
                <a:gd name="T57" fmla="*/ 123121 h 88"/>
                <a:gd name="T58" fmla="*/ 30480 w 60"/>
                <a:gd name="T59" fmla="*/ 113650 h 88"/>
                <a:gd name="T60" fmla="*/ 22860 w 60"/>
                <a:gd name="T61" fmla="*/ 111756 h 88"/>
                <a:gd name="T62" fmla="*/ 22860 w 60"/>
                <a:gd name="T63" fmla="*/ 121227 h 88"/>
                <a:gd name="T64" fmla="*/ 13335 w 60"/>
                <a:gd name="T65" fmla="*/ 113650 h 88"/>
                <a:gd name="T66" fmla="*/ 9525 w 60"/>
                <a:gd name="T67" fmla="*/ 100391 h 88"/>
                <a:gd name="T68" fmla="*/ 5715 w 60"/>
                <a:gd name="T69" fmla="*/ 92814 h 88"/>
                <a:gd name="T70" fmla="*/ 7620 w 60"/>
                <a:gd name="T71" fmla="*/ 81449 h 88"/>
                <a:gd name="T72" fmla="*/ 0 w 60"/>
                <a:gd name="T73" fmla="*/ 71978 h 88"/>
                <a:gd name="T74" fmla="*/ 3810 w 60"/>
                <a:gd name="T75" fmla="*/ 62508 h 88"/>
                <a:gd name="T76" fmla="*/ 13335 w 60"/>
                <a:gd name="T77" fmla="*/ 73873 h 88"/>
                <a:gd name="T78" fmla="*/ 13335 w 60"/>
                <a:gd name="T79" fmla="*/ 53037 h 88"/>
                <a:gd name="T80" fmla="*/ 7620 w 60"/>
                <a:gd name="T81" fmla="*/ 30307 h 88"/>
                <a:gd name="T82" fmla="*/ 15240 w 60"/>
                <a:gd name="T83" fmla="*/ 3788 h 88"/>
                <a:gd name="T84" fmla="*/ 32385 w 60"/>
                <a:gd name="T85" fmla="*/ 5683 h 88"/>
                <a:gd name="T86" fmla="*/ 49530 w 60"/>
                <a:gd name="T87" fmla="*/ 11365 h 88"/>
                <a:gd name="T88" fmla="*/ 55245 w 60"/>
                <a:gd name="T89" fmla="*/ 1894 h 8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0"/>
                <a:gd name="T136" fmla="*/ 0 h 88"/>
                <a:gd name="T137" fmla="*/ 60 w 60"/>
                <a:gd name="T138" fmla="*/ 88 h 8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0" h="88">
                  <a:moveTo>
                    <a:pt x="29" y="1"/>
                  </a:moveTo>
                  <a:cubicBezTo>
                    <a:pt x="30" y="1"/>
                    <a:pt x="32" y="4"/>
                    <a:pt x="32" y="5"/>
                  </a:cubicBezTo>
                  <a:cubicBezTo>
                    <a:pt x="32" y="8"/>
                    <a:pt x="29" y="11"/>
                    <a:pt x="29" y="14"/>
                  </a:cubicBezTo>
                  <a:cubicBezTo>
                    <a:pt x="30" y="18"/>
                    <a:pt x="35" y="20"/>
                    <a:pt x="35" y="23"/>
                  </a:cubicBezTo>
                  <a:cubicBezTo>
                    <a:pt x="35" y="28"/>
                    <a:pt x="34" y="32"/>
                    <a:pt x="32" y="36"/>
                  </a:cubicBezTo>
                  <a:cubicBezTo>
                    <a:pt x="28" y="38"/>
                    <a:pt x="26" y="41"/>
                    <a:pt x="24" y="45"/>
                  </a:cubicBezTo>
                  <a:cubicBezTo>
                    <a:pt x="23" y="47"/>
                    <a:pt x="23" y="49"/>
                    <a:pt x="24" y="51"/>
                  </a:cubicBezTo>
                  <a:cubicBezTo>
                    <a:pt x="24" y="54"/>
                    <a:pt x="28" y="56"/>
                    <a:pt x="28" y="59"/>
                  </a:cubicBezTo>
                  <a:cubicBezTo>
                    <a:pt x="28" y="61"/>
                    <a:pt x="23" y="63"/>
                    <a:pt x="24" y="64"/>
                  </a:cubicBezTo>
                  <a:cubicBezTo>
                    <a:pt x="27" y="68"/>
                    <a:pt x="31" y="70"/>
                    <a:pt x="36" y="71"/>
                  </a:cubicBezTo>
                  <a:cubicBezTo>
                    <a:pt x="38" y="71"/>
                    <a:pt x="38" y="65"/>
                    <a:pt x="40" y="66"/>
                  </a:cubicBezTo>
                  <a:cubicBezTo>
                    <a:pt x="44" y="67"/>
                    <a:pt x="44" y="74"/>
                    <a:pt x="48" y="75"/>
                  </a:cubicBezTo>
                  <a:cubicBezTo>
                    <a:pt x="50" y="76"/>
                    <a:pt x="48" y="70"/>
                    <a:pt x="50" y="69"/>
                  </a:cubicBezTo>
                  <a:cubicBezTo>
                    <a:pt x="53" y="69"/>
                    <a:pt x="58" y="69"/>
                    <a:pt x="59" y="72"/>
                  </a:cubicBezTo>
                  <a:cubicBezTo>
                    <a:pt x="60" y="74"/>
                    <a:pt x="52" y="73"/>
                    <a:pt x="52" y="75"/>
                  </a:cubicBezTo>
                  <a:cubicBezTo>
                    <a:pt x="52" y="79"/>
                    <a:pt x="57" y="80"/>
                    <a:pt x="58" y="83"/>
                  </a:cubicBezTo>
                  <a:cubicBezTo>
                    <a:pt x="59" y="85"/>
                    <a:pt x="60" y="88"/>
                    <a:pt x="58" y="88"/>
                  </a:cubicBezTo>
                  <a:cubicBezTo>
                    <a:pt x="55" y="88"/>
                    <a:pt x="53" y="85"/>
                    <a:pt x="51" y="83"/>
                  </a:cubicBezTo>
                  <a:cubicBezTo>
                    <a:pt x="48" y="81"/>
                    <a:pt x="46" y="78"/>
                    <a:pt x="43" y="76"/>
                  </a:cubicBezTo>
                  <a:cubicBezTo>
                    <a:pt x="42" y="74"/>
                    <a:pt x="41" y="72"/>
                    <a:pt x="39" y="72"/>
                  </a:cubicBezTo>
                  <a:cubicBezTo>
                    <a:pt x="38" y="72"/>
                    <a:pt x="38" y="73"/>
                    <a:pt x="38" y="74"/>
                  </a:cubicBezTo>
                  <a:cubicBezTo>
                    <a:pt x="38" y="76"/>
                    <a:pt x="41" y="79"/>
                    <a:pt x="39" y="79"/>
                  </a:cubicBezTo>
                  <a:cubicBezTo>
                    <a:pt x="37" y="79"/>
                    <a:pt x="36" y="76"/>
                    <a:pt x="34" y="74"/>
                  </a:cubicBezTo>
                  <a:cubicBezTo>
                    <a:pt x="31" y="73"/>
                    <a:pt x="29" y="71"/>
                    <a:pt x="26" y="71"/>
                  </a:cubicBezTo>
                  <a:cubicBezTo>
                    <a:pt x="25" y="70"/>
                    <a:pt x="26" y="73"/>
                    <a:pt x="25" y="73"/>
                  </a:cubicBezTo>
                  <a:cubicBezTo>
                    <a:pt x="22" y="73"/>
                    <a:pt x="19" y="72"/>
                    <a:pt x="16" y="71"/>
                  </a:cubicBezTo>
                  <a:cubicBezTo>
                    <a:pt x="15" y="70"/>
                    <a:pt x="13" y="69"/>
                    <a:pt x="13" y="67"/>
                  </a:cubicBezTo>
                  <a:cubicBezTo>
                    <a:pt x="14" y="66"/>
                    <a:pt x="16" y="65"/>
                    <a:pt x="17" y="65"/>
                  </a:cubicBezTo>
                  <a:cubicBezTo>
                    <a:pt x="19" y="64"/>
                    <a:pt x="23" y="66"/>
                    <a:pt x="23" y="65"/>
                  </a:cubicBezTo>
                  <a:cubicBezTo>
                    <a:pt x="22" y="62"/>
                    <a:pt x="18" y="61"/>
                    <a:pt x="16" y="60"/>
                  </a:cubicBezTo>
                  <a:cubicBezTo>
                    <a:pt x="15" y="59"/>
                    <a:pt x="13" y="58"/>
                    <a:pt x="12" y="59"/>
                  </a:cubicBezTo>
                  <a:cubicBezTo>
                    <a:pt x="11" y="61"/>
                    <a:pt x="14" y="64"/>
                    <a:pt x="12" y="64"/>
                  </a:cubicBezTo>
                  <a:cubicBezTo>
                    <a:pt x="10" y="64"/>
                    <a:pt x="9" y="62"/>
                    <a:pt x="7" y="60"/>
                  </a:cubicBezTo>
                  <a:cubicBezTo>
                    <a:pt x="6" y="58"/>
                    <a:pt x="6" y="55"/>
                    <a:pt x="5" y="53"/>
                  </a:cubicBezTo>
                  <a:cubicBezTo>
                    <a:pt x="5" y="51"/>
                    <a:pt x="3" y="50"/>
                    <a:pt x="3" y="49"/>
                  </a:cubicBezTo>
                  <a:cubicBezTo>
                    <a:pt x="2" y="47"/>
                    <a:pt x="4" y="45"/>
                    <a:pt x="4" y="43"/>
                  </a:cubicBezTo>
                  <a:cubicBezTo>
                    <a:pt x="3" y="41"/>
                    <a:pt x="0" y="40"/>
                    <a:pt x="0" y="38"/>
                  </a:cubicBezTo>
                  <a:cubicBezTo>
                    <a:pt x="0" y="36"/>
                    <a:pt x="0" y="33"/>
                    <a:pt x="2" y="33"/>
                  </a:cubicBezTo>
                  <a:cubicBezTo>
                    <a:pt x="4" y="33"/>
                    <a:pt x="6" y="40"/>
                    <a:pt x="7" y="39"/>
                  </a:cubicBezTo>
                  <a:cubicBezTo>
                    <a:pt x="10" y="36"/>
                    <a:pt x="8" y="32"/>
                    <a:pt x="7" y="28"/>
                  </a:cubicBezTo>
                  <a:cubicBezTo>
                    <a:pt x="7" y="24"/>
                    <a:pt x="7" y="20"/>
                    <a:pt x="4" y="16"/>
                  </a:cubicBezTo>
                  <a:cubicBezTo>
                    <a:pt x="4" y="11"/>
                    <a:pt x="5" y="6"/>
                    <a:pt x="8" y="2"/>
                  </a:cubicBezTo>
                  <a:cubicBezTo>
                    <a:pt x="10" y="0"/>
                    <a:pt x="14" y="2"/>
                    <a:pt x="17" y="3"/>
                  </a:cubicBezTo>
                  <a:cubicBezTo>
                    <a:pt x="20" y="3"/>
                    <a:pt x="23" y="6"/>
                    <a:pt x="26" y="6"/>
                  </a:cubicBezTo>
                  <a:cubicBezTo>
                    <a:pt x="28" y="5"/>
                    <a:pt x="27" y="1"/>
                    <a:pt x="29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6" name="Freeform 556"/>
            <p:cNvSpPr>
              <a:spLocks noChangeAspect="1"/>
            </p:cNvSpPr>
            <p:nvPr/>
          </p:nvSpPr>
          <p:spPr bwMode="auto">
            <a:xfrm>
              <a:off x="7426325" y="3827463"/>
              <a:ext cx="39688" cy="39687"/>
            </a:xfrm>
            <a:custGeom>
              <a:avLst/>
              <a:gdLst>
                <a:gd name="T0" fmla="*/ 17009 w 21"/>
                <a:gd name="T1" fmla="*/ 1890 h 21"/>
                <a:gd name="T2" fmla="*/ 35908 w 21"/>
                <a:gd name="T3" fmla="*/ 9449 h 21"/>
                <a:gd name="T4" fmla="*/ 35908 w 21"/>
                <a:gd name="T5" fmla="*/ 15119 h 21"/>
                <a:gd name="T6" fmla="*/ 35908 w 21"/>
                <a:gd name="T7" fmla="*/ 35907 h 21"/>
                <a:gd name="T8" fmla="*/ 22679 w 21"/>
                <a:gd name="T9" fmla="*/ 35907 h 21"/>
                <a:gd name="T10" fmla="*/ 13229 w 21"/>
                <a:gd name="T11" fmla="*/ 13229 h 21"/>
                <a:gd name="T12" fmla="*/ 0 w 21"/>
                <a:gd name="T13" fmla="*/ 7559 h 21"/>
                <a:gd name="T14" fmla="*/ 5670 w 21"/>
                <a:gd name="T15" fmla="*/ 1890 h 21"/>
                <a:gd name="T16" fmla="*/ 17009 w 21"/>
                <a:gd name="T17" fmla="*/ 1890 h 2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21"/>
                <a:gd name="T29" fmla="*/ 21 w 21"/>
                <a:gd name="T30" fmla="*/ 21 h 2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21">
                  <a:moveTo>
                    <a:pt x="9" y="1"/>
                  </a:moveTo>
                  <a:cubicBezTo>
                    <a:pt x="12" y="2"/>
                    <a:pt x="16" y="3"/>
                    <a:pt x="19" y="5"/>
                  </a:cubicBezTo>
                  <a:cubicBezTo>
                    <a:pt x="20" y="5"/>
                    <a:pt x="19" y="7"/>
                    <a:pt x="19" y="8"/>
                  </a:cubicBezTo>
                  <a:cubicBezTo>
                    <a:pt x="19" y="12"/>
                    <a:pt x="21" y="16"/>
                    <a:pt x="19" y="19"/>
                  </a:cubicBezTo>
                  <a:cubicBezTo>
                    <a:pt x="18" y="21"/>
                    <a:pt x="14" y="20"/>
                    <a:pt x="12" y="19"/>
                  </a:cubicBezTo>
                  <a:cubicBezTo>
                    <a:pt x="9" y="16"/>
                    <a:pt x="9" y="11"/>
                    <a:pt x="7" y="7"/>
                  </a:cubicBezTo>
                  <a:cubicBezTo>
                    <a:pt x="5" y="5"/>
                    <a:pt x="2" y="6"/>
                    <a:pt x="0" y="4"/>
                  </a:cubicBezTo>
                  <a:cubicBezTo>
                    <a:pt x="0" y="3"/>
                    <a:pt x="2" y="1"/>
                    <a:pt x="3" y="1"/>
                  </a:cubicBezTo>
                  <a:cubicBezTo>
                    <a:pt x="5" y="0"/>
                    <a:pt x="7" y="1"/>
                    <a:pt x="9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7" name="Freeform 557"/>
            <p:cNvSpPr>
              <a:spLocks noChangeAspect="1"/>
            </p:cNvSpPr>
            <p:nvPr/>
          </p:nvSpPr>
          <p:spPr bwMode="auto">
            <a:xfrm>
              <a:off x="7526338" y="3856038"/>
              <a:ext cx="38100" cy="41275"/>
            </a:xfrm>
            <a:custGeom>
              <a:avLst/>
              <a:gdLst>
                <a:gd name="T0" fmla="*/ 3810 w 20"/>
                <a:gd name="T1" fmla="*/ 0 h 22"/>
                <a:gd name="T2" fmla="*/ 0 w 20"/>
                <a:gd name="T3" fmla="*/ 3752 h 22"/>
                <a:gd name="T4" fmla="*/ 9525 w 20"/>
                <a:gd name="T5" fmla="*/ 18761 h 22"/>
                <a:gd name="T6" fmla="*/ 15240 w 20"/>
                <a:gd name="T7" fmla="*/ 20638 h 22"/>
                <a:gd name="T8" fmla="*/ 17145 w 20"/>
                <a:gd name="T9" fmla="*/ 31894 h 22"/>
                <a:gd name="T10" fmla="*/ 28575 w 20"/>
                <a:gd name="T11" fmla="*/ 37523 h 22"/>
                <a:gd name="T12" fmla="*/ 36195 w 20"/>
                <a:gd name="T13" fmla="*/ 39399 h 22"/>
                <a:gd name="T14" fmla="*/ 32385 w 20"/>
                <a:gd name="T15" fmla="*/ 31894 h 22"/>
                <a:gd name="T16" fmla="*/ 36195 w 20"/>
                <a:gd name="T17" fmla="*/ 28142 h 22"/>
                <a:gd name="T18" fmla="*/ 30480 w 20"/>
                <a:gd name="T19" fmla="*/ 18761 h 22"/>
                <a:gd name="T20" fmla="*/ 30480 w 20"/>
                <a:gd name="T21" fmla="*/ 7505 h 22"/>
                <a:gd name="T22" fmla="*/ 22860 w 20"/>
                <a:gd name="T23" fmla="*/ 0 h 22"/>
                <a:gd name="T24" fmla="*/ 9525 w 20"/>
                <a:gd name="T25" fmla="*/ 0 h 22"/>
                <a:gd name="T26" fmla="*/ 3810 w 20"/>
                <a:gd name="T27" fmla="*/ 0 h 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"/>
                <a:gd name="T43" fmla="*/ 0 h 22"/>
                <a:gd name="T44" fmla="*/ 20 w 20"/>
                <a:gd name="T45" fmla="*/ 22 h 2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" h="22">
                  <a:moveTo>
                    <a:pt x="2" y="0"/>
                  </a:moveTo>
                  <a:cubicBezTo>
                    <a:pt x="1" y="1"/>
                    <a:pt x="0" y="1"/>
                    <a:pt x="0" y="2"/>
                  </a:cubicBezTo>
                  <a:cubicBezTo>
                    <a:pt x="1" y="5"/>
                    <a:pt x="3" y="8"/>
                    <a:pt x="5" y="10"/>
                  </a:cubicBezTo>
                  <a:cubicBezTo>
                    <a:pt x="6" y="11"/>
                    <a:pt x="8" y="10"/>
                    <a:pt x="8" y="11"/>
                  </a:cubicBezTo>
                  <a:cubicBezTo>
                    <a:pt x="9" y="13"/>
                    <a:pt x="8" y="15"/>
                    <a:pt x="9" y="17"/>
                  </a:cubicBezTo>
                  <a:cubicBezTo>
                    <a:pt x="10" y="19"/>
                    <a:pt x="12" y="19"/>
                    <a:pt x="15" y="20"/>
                  </a:cubicBezTo>
                  <a:cubicBezTo>
                    <a:pt x="16" y="21"/>
                    <a:pt x="18" y="22"/>
                    <a:pt x="19" y="21"/>
                  </a:cubicBezTo>
                  <a:cubicBezTo>
                    <a:pt x="20" y="20"/>
                    <a:pt x="17" y="19"/>
                    <a:pt x="17" y="17"/>
                  </a:cubicBezTo>
                  <a:cubicBezTo>
                    <a:pt x="17" y="16"/>
                    <a:pt x="19" y="16"/>
                    <a:pt x="19" y="15"/>
                  </a:cubicBezTo>
                  <a:cubicBezTo>
                    <a:pt x="18" y="13"/>
                    <a:pt x="16" y="12"/>
                    <a:pt x="16" y="10"/>
                  </a:cubicBezTo>
                  <a:cubicBezTo>
                    <a:pt x="16" y="8"/>
                    <a:pt x="17" y="6"/>
                    <a:pt x="16" y="4"/>
                  </a:cubicBezTo>
                  <a:cubicBezTo>
                    <a:pt x="15" y="2"/>
                    <a:pt x="14" y="1"/>
                    <a:pt x="12" y="0"/>
                  </a:cubicBezTo>
                  <a:cubicBezTo>
                    <a:pt x="10" y="0"/>
                    <a:pt x="8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8" name="Freeform 558"/>
            <p:cNvSpPr>
              <a:spLocks noChangeAspect="1"/>
            </p:cNvSpPr>
            <p:nvPr/>
          </p:nvSpPr>
          <p:spPr bwMode="auto">
            <a:xfrm>
              <a:off x="7467600" y="3870325"/>
              <a:ext cx="36513" cy="44450"/>
            </a:xfrm>
            <a:custGeom>
              <a:avLst/>
              <a:gdLst>
                <a:gd name="T0" fmla="*/ 5765 w 19"/>
                <a:gd name="T1" fmla="*/ 1933 h 23"/>
                <a:gd name="T2" fmla="*/ 1922 w 19"/>
                <a:gd name="T3" fmla="*/ 5798 h 23"/>
                <a:gd name="T4" fmla="*/ 11530 w 19"/>
                <a:gd name="T5" fmla="*/ 15461 h 23"/>
                <a:gd name="T6" fmla="*/ 3843 w 19"/>
                <a:gd name="T7" fmla="*/ 36720 h 23"/>
                <a:gd name="T8" fmla="*/ 3843 w 19"/>
                <a:gd name="T9" fmla="*/ 44450 h 23"/>
                <a:gd name="T10" fmla="*/ 13452 w 19"/>
                <a:gd name="T11" fmla="*/ 36720 h 23"/>
                <a:gd name="T12" fmla="*/ 23061 w 19"/>
                <a:gd name="T13" fmla="*/ 32854 h 23"/>
                <a:gd name="T14" fmla="*/ 24983 w 19"/>
                <a:gd name="T15" fmla="*/ 28989 h 23"/>
                <a:gd name="T16" fmla="*/ 34591 w 19"/>
                <a:gd name="T17" fmla="*/ 13528 h 23"/>
                <a:gd name="T18" fmla="*/ 30748 w 19"/>
                <a:gd name="T19" fmla="*/ 7730 h 23"/>
                <a:gd name="T20" fmla="*/ 23061 w 19"/>
                <a:gd name="T21" fmla="*/ 11596 h 23"/>
                <a:gd name="T22" fmla="*/ 13452 w 19"/>
                <a:gd name="T23" fmla="*/ 5798 h 23"/>
                <a:gd name="T24" fmla="*/ 5765 w 19"/>
                <a:gd name="T25" fmla="*/ 1933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23"/>
                <a:gd name="T41" fmla="*/ 19 w 19"/>
                <a:gd name="T42" fmla="*/ 23 h 2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23">
                  <a:moveTo>
                    <a:pt x="3" y="1"/>
                  </a:moveTo>
                  <a:cubicBezTo>
                    <a:pt x="2" y="1"/>
                    <a:pt x="1" y="2"/>
                    <a:pt x="1" y="3"/>
                  </a:cubicBezTo>
                  <a:cubicBezTo>
                    <a:pt x="2" y="6"/>
                    <a:pt x="6" y="6"/>
                    <a:pt x="6" y="8"/>
                  </a:cubicBezTo>
                  <a:cubicBezTo>
                    <a:pt x="6" y="12"/>
                    <a:pt x="3" y="15"/>
                    <a:pt x="2" y="19"/>
                  </a:cubicBezTo>
                  <a:cubicBezTo>
                    <a:pt x="2" y="20"/>
                    <a:pt x="0" y="23"/>
                    <a:pt x="2" y="23"/>
                  </a:cubicBezTo>
                  <a:cubicBezTo>
                    <a:pt x="4" y="23"/>
                    <a:pt x="5" y="20"/>
                    <a:pt x="7" y="19"/>
                  </a:cubicBezTo>
                  <a:cubicBezTo>
                    <a:pt x="9" y="18"/>
                    <a:pt x="11" y="18"/>
                    <a:pt x="12" y="17"/>
                  </a:cubicBezTo>
                  <a:cubicBezTo>
                    <a:pt x="13" y="17"/>
                    <a:pt x="12" y="15"/>
                    <a:pt x="13" y="15"/>
                  </a:cubicBezTo>
                  <a:cubicBezTo>
                    <a:pt x="14" y="12"/>
                    <a:pt x="17" y="10"/>
                    <a:pt x="18" y="7"/>
                  </a:cubicBezTo>
                  <a:cubicBezTo>
                    <a:pt x="19" y="6"/>
                    <a:pt x="17" y="4"/>
                    <a:pt x="16" y="4"/>
                  </a:cubicBezTo>
                  <a:cubicBezTo>
                    <a:pt x="15" y="3"/>
                    <a:pt x="13" y="6"/>
                    <a:pt x="12" y="6"/>
                  </a:cubicBezTo>
                  <a:cubicBezTo>
                    <a:pt x="10" y="6"/>
                    <a:pt x="9" y="3"/>
                    <a:pt x="7" y="3"/>
                  </a:cubicBezTo>
                  <a:cubicBezTo>
                    <a:pt x="6" y="2"/>
                    <a:pt x="4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59" name="Freeform 559"/>
            <p:cNvSpPr>
              <a:spLocks noChangeAspect="1"/>
            </p:cNvSpPr>
            <p:nvPr/>
          </p:nvSpPr>
          <p:spPr bwMode="auto">
            <a:xfrm>
              <a:off x="7496175" y="3859213"/>
              <a:ext cx="26988" cy="17462"/>
            </a:xfrm>
            <a:custGeom>
              <a:avLst/>
              <a:gdLst>
                <a:gd name="T0" fmla="*/ 7711 w 14"/>
                <a:gd name="T1" fmla="*/ 3880 h 9"/>
                <a:gd name="T2" fmla="*/ 7711 w 14"/>
                <a:gd name="T3" fmla="*/ 3880 h 9"/>
                <a:gd name="T4" fmla="*/ 13494 w 14"/>
                <a:gd name="T5" fmla="*/ 7761 h 9"/>
                <a:gd name="T6" fmla="*/ 25060 w 14"/>
                <a:gd name="T7" fmla="*/ 17462 h 9"/>
                <a:gd name="T8" fmla="*/ 26988 w 14"/>
                <a:gd name="T9" fmla="*/ 15522 h 9"/>
                <a:gd name="T10" fmla="*/ 23133 w 14"/>
                <a:gd name="T11" fmla="*/ 5821 h 9"/>
                <a:gd name="T12" fmla="*/ 11566 w 14"/>
                <a:gd name="T13" fmla="*/ 0 h 9"/>
                <a:gd name="T14" fmla="*/ 5783 w 14"/>
                <a:gd name="T15" fmla="*/ 1940 h 9"/>
                <a:gd name="T16" fmla="*/ 1928 w 14"/>
                <a:gd name="T17" fmla="*/ 5821 h 9"/>
                <a:gd name="T18" fmla="*/ 7711 w 14"/>
                <a:gd name="T19" fmla="*/ 388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9"/>
                <a:gd name="T32" fmla="*/ 14 w 1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9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3"/>
                    <a:pt x="7" y="4"/>
                  </a:cubicBezTo>
                  <a:cubicBezTo>
                    <a:pt x="9" y="6"/>
                    <a:pt x="10" y="8"/>
                    <a:pt x="13" y="9"/>
                  </a:cubicBezTo>
                  <a:cubicBezTo>
                    <a:pt x="13" y="9"/>
                    <a:pt x="14" y="8"/>
                    <a:pt x="14" y="8"/>
                  </a:cubicBezTo>
                  <a:cubicBezTo>
                    <a:pt x="13" y="6"/>
                    <a:pt x="13" y="5"/>
                    <a:pt x="12" y="3"/>
                  </a:cubicBezTo>
                  <a:cubicBezTo>
                    <a:pt x="10" y="2"/>
                    <a:pt x="8" y="1"/>
                    <a:pt x="6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0" y="2"/>
                    <a:pt x="1" y="3"/>
                  </a:cubicBezTo>
                  <a:cubicBezTo>
                    <a:pt x="1" y="4"/>
                    <a:pt x="3" y="3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0" name="Freeform 560"/>
            <p:cNvSpPr>
              <a:spLocks noChangeAspect="1"/>
            </p:cNvSpPr>
            <p:nvPr/>
          </p:nvSpPr>
          <p:spPr bwMode="auto">
            <a:xfrm>
              <a:off x="7483475" y="3897313"/>
              <a:ext cx="26988" cy="53975"/>
            </a:xfrm>
            <a:custGeom>
              <a:avLst/>
              <a:gdLst>
                <a:gd name="T0" fmla="*/ 25060 w 14"/>
                <a:gd name="T1" fmla="*/ 3855 h 28"/>
                <a:gd name="T2" fmla="*/ 19277 w 14"/>
                <a:gd name="T3" fmla="*/ 0 h 28"/>
                <a:gd name="T4" fmla="*/ 13494 w 14"/>
                <a:gd name="T5" fmla="*/ 5783 h 28"/>
                <a:gd name="T6" fmla="*/ 13494 w 14"/>
                <a:gd name="T7" fmla="*/ 26988 h 28"/>
                <a:gd name="T8" fmla="*/ 1928 w 14"/>
                <a:gd name="T9" fmla="*/ 30843 h 28"/>
                <a:gd name="T10" fmla="*/ 5783 w 14"/>
                <a:gd name="T11" fmla="*/ 44337 h 28"/>
                <a:gd name="T12" fmla="*/ 15422 w 14"/>
                <a:gd name="T13" fmla="*/ 53975 h 28"/>
                <a:gd name="T14" fmla="*/ 23133 w 14"/>
                <a:gd name="T15" fmla="*/ 48192 h 28"/>
                <a:gd name="T16" fmla="*/ 17349 w 14"/>
                <a:gd name="T17" fmla="*/ 34698 h 28"/>
                <a:gd name="T18" fmla="*/ 25060 w 14"/>
                <a:gd name="T19" fmla="*/ 7711 h 28"/>
                <a:gd name="T20" fmla="*/ 25060 w 14"/>
                <a:gd name="T21" fmla="*/ 3855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28"/>
                <a:gd name="T35" fmla="*/ 14 w 14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28">
                  <a:moveTo>
                    <a:pt x="13" y="2"/>
                  </a:moveTo>
                  <a:cubicBezTo>
                    <a:pt x="13" y="1"/>
                    <a:pt x="11" y="0"/>
                    <a:pt x="10" y="0"/>
                  </a:cubicBezTo>
                  <a:cubicBezTo>
                    <a:pt x="9" y="1"/>
                    <a:pt x="7" y="2"/>
                    <a:pt x="7" y="3"/>
                  </a:cubicBezTo>
                  <a:cubicBezTo>
                    <a:pt x="6" y="7"/>
                    <a:pt x="9" y="11"/>
                    <a:pt x="7" y="14"/>
                  </a:cubicBezTo>
                  <a:cubicBezTo>
                    <a:pt x="6" y="16"/>
                    <a:pt x="2" y="14"/>
                    <a:pt x="1" y="16"/>
                  </a:cubicBezTo>
                  <a:cubicBezTo>
                    <a:pt x="0" y="19"/>
                    <a:pt x="1" y="21"/>
                    <a:pt x="3" y="23"/>
                  </a:cubicBezTo>
                  <a:cubicBezTo>
                    <a:pt x="6" y="22"/>
                    <a:pt x="8" y="24"/>
                    <a:pt x="8" y="28"/>
                  </a:cubicBezTo>
                  <a:cubicBezTo>
                    <a:pt x="10" y="28"/>
                    <a:pt x="12" y="26"/>
                    <a:pt x="12" y="25"/>
                  </a:cubicBezTo>
                  <a:cubicBezTo>
                    <a:pt x="13" y="22"/>
                    <a:pt x="9" y="21"/>
                    <a:pt x="9" y="18"/>
                  </a:cubicBezTo>
                  <a:cubicBezTo>
                    <a:pt x="10" y="13"/>
                    <a:pt x="12" y="9"/>
                    <a:pt x="13" y="4"/>
                  </a:cubicBezTo>
                  <a:cubicBezTo>
                    <a:pt x="14" y="3"/>
                    <a:pt x="14" y="2"/>
                    <a:pt x="1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1" name="Freeform 561"/>
            <p:cNvSpPr>
              <a:spLocks noChangeAspect="1"/>
            </p:cNvSpPr>
            <p:nvPr/>
          </p:nvSpPr>
          <p:spPr bwMode="auto">
            <a:xfrm>
              <a:off x="7507288" y="3887788"/>
              <a:ext cx="17462" cy="53975"/>
            </a:xfrm>
            <a:custGeom>
              <a:avLst/>
              <a:gdLst>
                <a:gd name="T0" fmla="*/ 11641 w 9"/>
                <a:gd name="T1" fmla="*/ 1928 h 28"/>
                <a:gd name="T2" fmla="*/ 15522 w 9"/>
                <a:gd name="T3" fmla="*/ 3855 h 28"/>
                <a:gd name="T4" fmla="*/ 15522 w 9"/>
                <a:gd name="T5" fmla="*/ 28915 h 28"/>
                <a:gd name="T6" fmla="*/ 7761 w 9"/>
                <a:gd name="T7" fmla="*/ 36626 h 28"/>
                <a:gd name="T8" fmla="*/ 3880 w 9"/>
                <a:gd name="T9" fmla="*/ 52047 h 28"/>
                <a:gd name="T10" fmla="*/ 0 w 9"/>
                <a:gd name="T11" fmla="*/ 50120 h 28"/>
                <a:gd name="T12" fmla="*/ 9701 w 9"/>
                <a:gd name="T13" fmla="*/ 23132 h 28"/>
                <a:gd name="T14" fmla="*/ 11641 w 9"/>
                <a:gd name="T15" fmla="*/ 1928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28"/>
                <a:gd name="T26" fmla="*/ 9 w 9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28">
                  <a:moveTo>
                    <a:pt x="6" y="1"/>
                  </a:moveTo>
                  <a:cubicBezTo>
                    <a:pt x="6" y="0"/>
                    <a:pt x="8" y="1"/>
                    <a:pt x="8" y="2"/>
                  </a:cubicBezTo>
                  <a:cubicBezTo>
                    <a:pt x="9" y="6"/>
                    <a:pt x="9" y="11"/>
                    <a:pt x="8" y="15"/>
                  </a:cubicBezTo>
                  <a:cubicBezTo>
                    <a:pt x="8" y="17"/>
                    <a:pt x="5" y="18"/>
                    <a:pt x="4" y="19"/>
                  </a:cubicBezTo>
                  <a:cubicBezTo>
                    <a:pt x="3" y="22"/>
                    <a:pt x="3" y="25"/>
                    <a:pt x="2" y="27"/>
                  </a:cubicBezTo>
                  <a:cubicBezTo>
                    <a:pt x="2" y="28"/>
                    <a:pt x="0" y="27"/>
                    <a:pt x="0" y="26"/>
                  </a:cubicBezTo>
                  <a:cubicBezTo>
                    <a:pt x="1" y="21"/>
                    <a:pt x="3" y="17"/>
                    <a:pt x="5" y="12"/>
                  </a:cubicBezTo>
                  <a:cubicBezTo>
                    <a:pt x="5" y="8"/>
                    <a:pt x="5" y="4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2" name="Freeform 562"/>
            <p:cNvSpPr>
              <a:spLocks noChangeAspect="1"/>
            </p:cNvSpPr>
            <p:nvPr/>
          </p:nvSpPr>
          <p:spPr bwMode="auto">
            <a:xfrm>
              <a:off x="7526338" y="3886200"/>
              <a:ext cx="26987" cy="41275"/>
            </a:xfrm>
            <a:custGeom>
              <a:avLst/>
              <a:gdLst>
                <a:gd name="T0" fmla="*/ 3855 w 14"/>
                <a:gd name="T1" fmla="*/ 0 h 22"/>
                <a:gd name="T2" fmla="*/ 1928 w 14"/>
                <a:gd name="T3" fmla="*/ 1876 h 22"/>
                <a:gd name="T4" fmla="*/ 1928 w 14"/>
                <a:gd name="T5" fmla="*/ 15009 h 22"/>
                <a:gd name="T6" fmla="*/ 7711 w 14"/>
                <a:gd name="T7" fmla="*/ 16885 h 22"/>
                <a:gd name="T8" fmla="*/ 9638 w 14"/>
                <a:gd name="T9" fmla="*/ 11257 h 22"/>
                <a:gd name="T10" fmla="*/ 11566 w 14"/>
                <a:gd name="T11" fmla="*/ 15009 h 22"/>
                <a:gd name="T12" fmla="*/ 13494 w 14"/>
                <a:gd name="T13" fmla="*/ 33770 h 22"/>
                <a:gd name="T14" fmla="*/ 23132 w 14"/>
                <a:gd name="T15" fmla="*/ 39399 h 22"/>
                <a:gd name="T16" fmla="*/ 23132 w 14"/>
                <a:gd name="T17" fmla="*/ 30018 h 22"/>
                <a:gd name="T18" fmla="*/ 26987 w 14"/>
                <a:gd name="T19" fmla="*/ 28142 h 22"/>
                <a:gd name="T20" fmla="*/ 19276 w 14"/>
                <a:gd name="T21" fmla="*/ 18761 h 22"/>
                <a:gd name="T22" fmla="*/ 17349 w 14"/>
                <a:gd name="T23" fmla="*/ 5628 h 22"/>
                <a:gd name="T24" fmla="*/ 15421 w 14"/>
                <a:gd name="T25" fmla="*/ 0 h 22"/>
                <a:gd name="T26" fmla="*/ 3855 w 14"/>
                <a:gd name="T27" fmla="*/ 0 h 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"/>
                <a:gd name="T43" fmla="*/ 0 h 22"/>
                <a:gd name="T44" fmla="*/ 14 w 14"/>
                <a:gd name="T45" fmla="*/ 22 h 2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" h="22">
                  <a:moveTo>
                    <a:pt x="2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3"/>
                    <a:pt x="0" y="6"/>
                    <a:pt x="1" y="8"/>
                  </a:cubicBezTo>
                  <a:cubicBezTo>
                    <a:pt x="1" y="9"/>
                    <a:pt x="3" y="9"/>
                    <a:pt x="4" y="9"/>
                  </a:cubicBezTo>
                  <a:cubicBezTo>
                    <a:pt x="5" y="8"/>
                    <a:pt x="4" y="6"/>
                    <a:pt x="5" y="6"/>
                  </a:cubicBezTo>
                  <a:cubicBezTo>
                    <a:pt x="6" y="6"/>
                    <a:pt x="6" y="7"/>
                    <a:pt x="6" y="8"/>
                  </a:cubicBezTo>
                  <a:cubicBezTo>
                    <a:pt x="7" y="11"/>
                    <a:pt x="6" y="15"/>
                    <a:pt x="7" y="18"/>
                  </a:cubicBezTo>
                  <a:cubicBezTo>
                    <a:pt x="8" y="20"/>
                    <a:pt x="11" y="22"/>
                    <a:pt x="12" y="21"/>
                  </a:cubicBezTo>
                  <a:cubicBezTo>
                    <a:pt x="14" y="21"/>
                    <a:pt x="11" y="18"/>
                    <a:pt x="12" y="16"/>
                  </a:cubicBezTo>
                  <a:cubicBezTo>
                    <a:pt x="12" y="15"/>
                    <a:pt x="14" y="16"/>
                    <a:pt x="14" y="15"/>
                  </a:cubicBezTo>
                  <a:cubicBezTo>
                    <a:pt x="13" y="13"/>
                    <a:pt x="11" y="12"/>
                    <a:pt x="10" y="10"/>
                  </a:cubicBezTo>
                  <a:cubicBezTo>
                    <a:pt x="9" y="7"/>
                    <a:pt x="9" y="5"/>
                    <a:pt x="9" y="3"/>
                  </a:cubicBezTo>
                  <a:cubicBezTo>
                    <a:pt x="9" y="2"/>
                    <a:pt x="9" y="1"/>
                    <a:pt x="8" y="0"/>
                  </a:cubicBezTo>
                  <a:cubicBezTo>
                    <a:pt x="6" y="0"/>
                    <a:pt x="4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3" name="Freeform 563"/>
            <p:cNvSpPr>
              <a:spLocks noChangeAspect="1"/>
            </p:cNvSpPr>
            <p:nvPr/>
          </p:nvSpPr>
          <p:spPr bwMode="auto">
            <a:xfrm>
              <a:off x="7519988" y="3919538"/>
              <a:ext cx="15875" cy="17462"/>
            </a:xfrm>
            <a:custGeom>
              <a:avLst/>
              <a:gdLst>
                <a:gd name="T0" fmla="*/ 8819 w 9"/>
                <a:gd name="T1" fmla="*/ 1940 h 9"/>
                <a:gd name="T2" fmla="*/ 14111 w 9"/>
                <a:gd name="T3" fmla="*/ 3880 h 9"/>
                <a:gd name="T4" fmla="*/ 14111 w 9"/>
                <a:gd name="T5" fmla="*/ 13582 h 9"/>
                <a:gd name="T6" fmla="*/ 1764 w 9"/>
                <a:gd name="T7" fmla="*/ 17462 h 9"/>
                <a:gd name="T8" fmla="*/ 1764 w 9"/>
                <a:gd name="T9" fmla="*/ 13582 h 9"/>
                <a:gd name="T10" fmla="*/ 8819 w 9"/>
                <a:gd name="T11" fmla="*/ 194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5" y="1"/>
                  </a:moveTo>
                  <a:cubicBezTo>
                    <a:pt x="6" y="0"/>
                    <a:pt x="7" y="1"/>
                    <a:pt x="8" y="2"/>
                  </a:cubicBezTo>
                  <a:cubicBezTo>
                    <a:pt x="9" y="4"/>
                    <a:pt x="9" y="6"/>
                    <a:pt x="8" y="7"/>
                  </a:cubicBezTo>
                  <a:cubicBezTo>
                    <a:pt x="6" y="9"/>
                    <a:pt x="3" y="9"/>
                    <a:pt x="1" y="9"/>
                  </a:cubicBezTo>
                  <a:cubicBezTo>
                    <a:pt x="0" y="9"/>
                    <a:pt x="0" y="7"/>
                    <a:pt x="1" y="7"/>
                  </a:cubicBezTo>
                  <a:cubicBezTo>
                    <a:pt x="2" y="5"/>
                    <a:pt x="3" y="2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4" name="Freeform 564"/>
            <p:cNvSpPr>
              <a:spLocks noChangeAspect="1"/>
            </p:cNvSpPr>
            <p:nvPr/>
          </p:nvSpPr>
          <p:spPr bwMode="auto">
            <a:xfrm>
              <a:off x="7361238" y="3886200"/>
              <a:ext cx="58737" cy="85725"/>
            </a:xfrm>
            <a:custGeom>
              <a:avLst/>
              <a:gdLst>
                <a:gd name="T0" fmla="*/ 53053 w 31"/>
                <a:gd name="T1" fmla="*/ 1905 h 45"/>
                <a:gd name="T2" fmla="*/ 47369 w 31"/>
                <a:gd name="T3" fmla="*/ 1905 h 45"/>
                <a:gd name="T4" fmla="*/ 47369 w 31"/>
                <a:gd name="T5" fmla="*/ 11430 h 45"/>
                <a:gd name="T6" fmla="*/ 49263 w 31"/>
                <a:gd name="T7" fmla="*/ 20955 h 45"/>
                <a:gd name="T8" fmla="*/ 45474 w 31"/>
                <a:gd name="T9" fmla="*/ 19050 h 45"/>
                <a:gd name="T10" fmla="*/ 45474 w 31"/>
                <a:gd name="T11" fmla="*/ 24765 h 45"/>
                <a:gd name="T12" fmla="*/ 37895 w 31"/>
                <a:gd name="T13" fmla="*/ 32385 h 45"/>
                <a:gd name="T14" fmla="*/ 34105 w 31"/>
                <a:gd name="T15" fmla="*/ 36195 h 45"/>
                <a:gd name="T16" fmla="*/ 26526 w 31"/>
                <a:gd name="T17" fmla="*/ 49530 h 45"/>
                <a:gd name="T18" fmla="*/ 15158 w 31"/>
                <a:gd name="T19" fmla="*/ 60960 h 45"/>
                <a:gd name="T20" fmla="*/ 1895 w 31"/>
                <a:gd name="T21" fmla="*/ 78105 h 45"/>
                <a:gd name="T22" fmla="*/ 1895 w 31"/>
                <a:gd name="T23" fmla="*/ 83820 h 45"/>
                <a:gd name="T24" fmla="*/ 9474 w 31"/>
                <a:gd name="T25" fmla="*/ 80010 h 45"/>
                <a:gd name="T26" fmla="*/ 24632 w 31"/>
                <a:gd name="T27" fmla="*/ 64770 h 45"/>
                <a:gd name="T28" fmla="*/ 30316 w 31"/>
                <a:gd name="T29" fmla="*/ 51435 h 45"/>
                <a:gd name="T30" fmla="*/ 34105 w 31"/>
                <a:gd name="T31" fmla="*/ 43815 h 45"/>
                <a:gd name="T32" fmla="*/ 45474 w 31"/>
                <a:gd name="T33" fmla="*/ 38100 h 45"/>
                <a:gd name="T34" fmla="*/ 49263 w 31"/>
                <a:gd name="T35" fmla="*/ 32385 h 45"/>
                <a:gd name="T36" fmla="*/ 56842 w 31"/>
                <a:gd name="T37" fmla="*/ 32385 h 45"/>
                <a:gd name="T38" fmla="*/ 56842 w 31"/>
                <a:gd name="T39" fmla="*/ 24765 h 45"/>
                <a:gd name="T40" fmla="*/ 51158 w 31"/>
                <a:gd name="T41" fmla="*/ 15240 h 45"/>
                <a:gd name="T42" fmla="*/ 53053 w 31"/>
                <a:gd name="T43" fmla="*/ 7620 h 45"/>
                <a:gd name="T44" fmla="*/ 53053 w 31"/>
                <a:gd name="T45" fmla="*/ 1905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1"/>
                <a:gd name="T70" fmla="*/ 0 h 45"/>
                <a:gd name="T71" fmla="*/ 31 w 31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1" h="45">
                  <a:moveTo>
                    <a:pt x="28" y="1"/>
                  </a:moveTo>
                  <a:cubicBezTo>
                    <a:pt x="28" y="0"/>
                    <a:pt x="26" y="0"/>
                    <a:pt x="25" y="1"/>
                  </a:cubicBezTo>
                  <a:cubicBezTo>
                    <a:pt x="25" y="3"/>
                    <a:pt x="25" y="5"/>
                    <a:pt x="25" y="6"/>
                  </a:cubicBezTo>
                  <a:cubicBezTo>
                    <a:pt x="25" y="8"/>
                    <a:pt x="26" y="10"/>
                    <a:pt x="26" y="11"/>
                  </a:cubicBezTo>
                  <a:cubicBezTo>
                    <a:pt x="26" y="12"/>
                    <a:pt x="24" y="10"/>
                    <a:pt x="24" y="10"/>
                  </a:cubicBezTo>
                  <a:cubicBezTo>
                    <a:pt x="23" y="11"/>
                    <a:pt x="24" y="12"/>
                    <a:pt x="24" y="13"/>
                  </a:cubicBezTo>
                  <a:cubicBezTo>
                    <a:pt x="23" y="14"/>
                    <a:pt x="22" y="16"/>
                    <a:pt x="20" y="17"/>
                  </a:cubicBezTo>
                  <a:cubicBezTo>
                    <a:pt x="20" y="18"/>
                    <a:pt x="18" y="18"/>
                    <a:pt x="18" y="19"/>
                  </a:cubicBezTo>
                  <a:cubicBezTo>
                    <a:pt x="16" y="21"/>
                    <a:pt x="15" y="24"/>
                    <a:pt x="14" y="26"/>
                  </a:cubicBezTo>
                  <a:cubicBezTo>
                    <a:pt x="12" y="28"/>
                    <a:pt x="10" y="30"/>
                    <a:pt x="8" y="32"/>
                  </a:cubicBezTo>
                  <a:cubicBezTo>
                    <a:pt x="6" y="35"/>
                    <a:pt x="3" y="38"/>
                    <a:pt x="1" y="41"/>
                  </a:cubicBezTo>
                  <a:cubicBezTo>
                    <a:pt x="0" y="42"/>
                    <a:pt x="0" y="44"/>
                    <a:pt x="1" y="44"/>
                  </a:cubicBezTo>
                  <a:cubicBezTo>
                    <a:pt x="3" y="45"/>
                    <a:pt x="4" y="43"/>
                    <a:pt x="5" y="42"/>
                  </a:cubicBezTo>
                  <a:cubicBezTo>
                    <a:pt x="8" y="40"/>
                    <a:pt x="11" y="37"/>
                    <a:pt x="13" y="34"/>
                  </a:cubicBezTo>
                  <a:cubicBezTo>
                    <a:pt x="14" y="32"/>
                    <a:pt x="15" y="29"/>
                    <a:pt x="16" y="27"/>
                  </a:cubicBezTo>
                  <a:cubicBezTo>
                    <a:pt x="17" y="25"/>
                    <a:pt x="17" y="24"/>
                    <a:pt x="18" y="23"/>
                  </a:cubicBezTo>
                  <a:cubicBezTo>
                    <a:pt x="20" y="21"/>
                    <a:pt x="22" y="21"/>
                    <a:pt x="24" y="20"/>
                  </a:cubicBezTo>
                  <a:cubicBezTo>
                    <a:pt x="25" y="19"/>
                    <a:pt x="25" y="17"/>
                    <a:pt x="26" y="17"/>
                  </a:cubicBezTo>
                  <a:cubicBezTo>
                    <a:pt x="27" y="16"/>
                    <a:pt x="29" y="18"/>
                    <a:pt x="30" y="17"/>
                  </a:cubicBezTo>
                  <a:cubicBezTo>
                    <a:pt x="31" y="16"/>
                    <a:pt x="31" y="14"/>
                    <a:pt x="30" y="13"/>
                  </a:cubicBezTo>
                  <a:cubicBezTo>
                    <a:pt x="30" y="11"/>
                    <a:pt x="27" y="10"/>
                    <a:pt x="27" y="8"/>
                  </a:cubicBezTo>
                  <a:cubicBezTo>
                    <a:pt x="26" y="6"/>
                    <a:pt x="27" y="5"/>
                    <a:pt x="28" y="4"/>
                  </a:cubicBezTo>
                  <a:cubicBezTo>
                    <a:pt x="28" y="3"/>
                    <a:pt x="29" y="2"/>
                    <a:pt x="28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5" name="Freeform 565"/>
            <p:cNvSpPr>
              <a:spLocks noChangeAspect="1"/>
            </p:cNvSpPr>
            <p:nvPr/>
          </p:nvSpPr>
          <p:spPr bwMode="auto">
            <a:xfrm>
              <a:off x="7418388" y="3859213"/>
              <a:ext cx="15875" cy="12700"/>
            </a:xfrm>
            <a:custGeom>
              <a:avLst/>
              <a:gdLst>
                <a:gd name="T0" fmla="*/ 7938 w 8"/>
                <a:gd name="T1" fmla="*/ 3629 h 7"/>
                <a:gd name="T2" fmla="*/ 15875 w 8"/>
                <a:gd name="T3" fmla="*/ 10886 h 7"/>
                <a:gd name="T4" fmla="*/ 5953 w 8"/>
                <a:gd name="T5" fmla="*/ 10886 h 7"/>
                <a:gd name="T6" fmla="*/ 0 w 8"/>
                <a:gd name="T7" fmla="*/ 1814 h 7"/>
                <a:gd name="T8" fmla="*/ 7938 w 8"/>
                <a:gd name="T9" fmla="*/ 3629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7"/>
                <a:gd name="T17" fmla="*/ 8 w 8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7">
                  <a:moveTo>
                    <a:pt x="4" y="2"/>
                  </a:moveTo>
                  <a:cubicBezTo>
                    <a:pt x="5" y="3"/>
                    <a:pt x="8" y="4"/>
                    <a:pt x="8" y="6"/>
                  </a:cubicBezTo>
                  <a:cubicBezTo>
                    <a:pt x="7" y="7"/>
                    <a:pt x="4" y="7"/>
                    <a:pt x="3" y="6"/>
                  </a:cubicBezTo>
                  <a:cubicBezTo>
                    <a:pt x="2" y="5"/>
                    <a:pt x="0" y="3"/>
                    <a:pt x="0" y="1"/>
                  </a:cubicBezTo>
                  <a:cubicBezTo>
                    <a:pt x="0" y="0"/>
                    <a:pt x="3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6" name="Freeform 566"/>
            <p:cNvSpPr>
              <a:spLocks noChangeAspect="1"/>
            </p:cNvSpPr>
            <p:nvPr/>
          </p:nvSpPr>
          <p:spPr bwMode="auto">
            <a:xfrm>
              <a:off x="7464425" y="3784600"/>
              <a:ext cx="7938" cy="14288"/>
            </a:xfrm>
            <a:custGeom>
              <a:avLst/>
              <a:gdLst>
                <a:gd name="T0" fmla="*/ 1985 w 4"/>
                <a:gd name="T1" fmla="*/ 0 h 7"/>
                <a:gd name="T2" fmla="*/ 7938 w 4"/>
                <a:gd name="T3" fmla="*/ 4082 h 7"/>
                <a:gd name="T4" fmla="*/ 1985 w 4"/>
                <a:gd name="T5" fmla="*/ 8165 h 7"/>
                <a:gd name="T6" fmla="*/ 5953 w 4"/>
                <a:gd name="T7" fmla="*/ 12247 h 7"/>
                <a:gd name="T8" fmla="*/ 1985 w 4"/>
                <a:gd name="T9" fmla="*/ 14288 h 7"/>
                <a:gd name="T10" fmla="*/ 0 w 4"/>
                <a:gd name="T11" fmla="*/ 10206 h 7"/>
                <a:gd name="T12" fmla="*/ 1985 w 4"/>
                <a:gd name="T13" fmla="*/ 8165 h 7"/>
                <a:gd name="T14" fmla="*/ 0 w 4"/>
                <a:gd name="T15" fmla="*/ 4082 h 7"/>
                <a:gd name="T16" fmla="*/ 1985 w 4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"/>
                <a:gd name="T28" fmla="*/ 0 h 7"/>
                <a:gd name="T29" fmla="*/ 4 w 4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" h="7">
                  <a:moveTo>
                    <a:pt x="1" y="0"/>
                  </a:moveTo>
                  <a:cubicBezTo>
                    <a:pt x="2" y="0"/>
                    <a:pt x="3" y="0"/>
                    <a:pt x="4" y="2"/>
                  </a:cubicBezTo>
                  <a:cubicBezTo>
                    <a:pt x="4" y="3"/>
                    <a:pt x="2" y="3"/>
                    <a:pt x="1" y="4"/>
                  </a:cubicBezTo>
                  <a:cubicBezTo>
                    <a:pt x="1" y="5"/>
                    <a:pt x="3" y="5"/>
                    <a:pt x="3" y="6"/>
                  </a:cubicBezTo>
                  <a:cubicBezTo>
                    <a:pt x="3" y="7"/>
                    <a:pt x="2" y="7"/>
                    <a:pt x="1" y="7"/>
                  </a:cubicBezTo>
                  <a:cubicBezTo>
                    <a:pt x="0" y="7"/>
                    <a:pt x="0" y="6"/>
                    <a:pt x="0" y="5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7" name="Freeform 567"/>
            <p:cNvSpPr>
              <a:spLocks noChangeAspect="1"/>
            </p:cNvSpPr>
            <p:nvPr/>
          </p:nvSpPr>
          <p:spPr bwMode="auto">
            <a:xfrm>
              <a:off x="7521575" y="3811588"/>
              <a:ext cx="9525" cy="15875"/>
            </a:xfrm>
            <a:custGeom>
              <a:avLst/>
              <a:gdLst>
                <a:gd name="T0" fmla="*/ 1905 w 5"/>
                <a:gd name="T1" fmla="*/ 1984 h 8"/>
                <a:gd name="T2" fmla="*/ 5715 w 5"/>
                <a:gd name="T3" fmla="*/ 1984 h 8"/>
                <a:gd name="T4" fmla="*/ 7620 w 5"/>
                <a:gd name="T5" fmla="*/ 9922 h 8"/>
                <a:gd name="T6" fmla="*/ 1905 w 5"/>
                <a:gd name="T7" fmla="*/ 15875 h 8"/>
                <a:gd name="T8" fmla="*/ 1905 w 5"/>
                <a:gd name="T9" fmla="*/ 9922 h 8"/>
                <a:gd name="T10" fmla="*/ 1905 w 5"/>
                <a:gd name="T11" fmla="*/ 198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8"/>
                <a:gd name="T20" fmla="*/ 5 w 5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8">
                  <a:moveTo>
                    <a:pt x="1" y="1"/>
                  </a:moveTo>
                  <a:cubicBezTo>
                    <a:pt x="1" y="0"/>
                    <a:pt x="2" y="0"/>
                    <a:pt x="3" y="1"/>
                  </a:cubicBezTo>
                  <a:cubicBezTo>
                    <a:pt x="4" y="2"/>
                    <a:pt x="5" y="4"/>
                    <a:pt x="4" y="5"/>
                  </a:cubicBezTo>
                  <a:cubicBezTo>
                    <a:pt x="4" y="6"/>
                    <a:pt x="2" y="8"/>
                    <a:pt x="1" y="8"/>
                  </a:cubicBezTo>
                  <a:cubicBezTo>
                    <a:pt x="0" y="8"/>
                    <a:pt x="1" y="6"/>
                    <a:pt x="1" y="5"/>
                  </a:cubicBezTo>
                  <a:cubicBezTo>
                    <a:pt x="1" y="3"/>
                    <a:pt x="0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8" name="Freeform 568"/>
            <p:cNvSpPr>
              <a:spLocks noChangeAspect="1"/>
            </p:cNvSpPr>
            <p:nvPr/>
          </p:nvSpPr>
          <p:spPr bwMode="auto">
            <a:xfrm>
              <a:off x="7569200" y="3451225"/>
              <a:ext cx="14288" cy="25400"/>
            </a:xfrm>
            <a:custGeom>
              <a:avLst/>
              <a:gdLst>
                <a:gd name="T0" fmla="*/ 8930 w 8"/>
                <a:gd name="T1" fmla="*/ 1954 h 13"/>
                <a:gd name="T2" fmla="*/ 12502 w 8"/>
                <a:gd name="T3" fmla="*/ 3908 h 13"/>
                <a:gd name="T4" fmla="*/ 1786 w 8"/>
                <a:gd name="T5" fmla="*/ 23446 h 13"/>
                <a:gd name="T6" fmla="*/ 0 w 8"/>
                <a:gd name="T7" fmla="*/ 21492 h 13"/>
                <a:gd name="T8" fmla="*/ 8930 w 8"/>
                <a:gd name="T9" fmla="*/ 1954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3"/>
                <a:gd name="T17" fmla="*/ 8 w 8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3">
                  <a:moveTo>
                    <a:pt x="5" y="1"/>
                  </a:moveTo>
                  <a:cubicBezTo>
                    <a:pt x="6" y="0"/>
                    <a:pt x="8" y="1"/>
                    <a:pt x="7" y="2"/>
                  </a:cubicBezTo>
                  <a:cubicBezTo>
                    <a:pt x="6" y="5"/>
                    <a:pt x="4" y="9"/>
                    <a:pt x="1" y="12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1" y="7"/>
                    <a:pt x="3" y="4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69" name="Freeform 569"/>
            <p:cNvSpPr>
              <a:spLocks noChangeAspect="1"/>
            </p:cNvSpPr>
            <p:nvPr/>
          </p:nvSpPr>
          <p:spPr bwMode="auto">
            <a:xfrm>
              <a:off x="7599363" y="3402013"/>
              <a:ext cx="15875" cy="12700"/>
            </a:xfrm>
            <a:custGeom>
              <a:avLst/>
              <a:gdLst>
                <a:gd name="T0" fmla="*/ 11906 w 8"/>
                <a:gd name="T1" fmla="*/ 0 h 7"/>
                <a:gd name="T2" fmla="*/ 13891 w 8"/>
                <a:gd name="T3" fmla="*/ 1814 h 7"/>
                <a:gd name="T4" fmla="*/ 5953 w 8"/>
                <a:gd name="T5" fmla="*/ 7257 h 7"/>
                <a:gd name="T6" fmla="*/ 7938 w 8"/>
                <a:gd name="T7" fmla="*/ 12700 h 7"/>
                <a:gd name="T8" fmla="*/ 0 w 8"/>
                <a:gd name="T9" fmla="*/ 7257 h 7"/>
                <a:gd name="T10" fmla="*/ 7938 w 8"/>
                <a:gd name="T11" fmla="*/ 1814 h 7"/>
                <a:gd name="T12" fmla="*/ 11906 w 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7"/>
                <a:gd name="T23" fmla="*/ 8 w 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7">
                  <a:moveTo>
                    <a:pt x="6" y="0"/>
                  </a:moveTo>
                  <a:cubicBezTo>
                    <a:pt x="7" y="0"/>
                    <a:pt x="8" y="1"/>
                    <a:pt x="7" y="1"/>
                  </a:cubicBezTo>
                  <a:cubicBezTo>
                    <a:pt x="6" y="3"/>
                    <a:pt x="4" y="3"/>
                    <a:pt x="3" y="4"/>
                  </a:cubicBezTo>
                  <a:cubicBezTo>
                    <a:pt x="3" y="5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3" y="2"/>
                    <a:pt x="4" y="1"/>
                  </a:cubicBezTo>
                  <a:cubicBezTo>
                    <a:pt x="5" y="0"/>
                    <a:pt x="5" y="0"/>
                    <a:pt x="6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0" name="Freeform 570"/>
            <p:cNvSpPr>
              <a:spLocks noChangeAspect="1"/>
            </p:cNvSpPr>
            <p:nvPr/>
          </p:nvSpPr>
          <p:spPr bwMode="auto">
            <a:xfrm>
              <a:off x="8782050" y="4679950"/>
              <a:ext cx="38100" cy="26988"/>
            </a:xfrm>
            <a:custGeom>
              <a:avLst/>
              <a:gdLst>
                <a:gd name="T0" fmla="*/ 28575 w 20"/>
                <a:gd name="T1" fmla="*/ 1928 h 14"/>
                <a:gd name="T2" fmla="*/ 19050 w 20"/>
                <a:gd name="T3" fmla="*/ 1928 h 14"/>
                <a:gd name="T4" fmla="*/ 7620 w 20"/>
                <a:gd name="T5" fmla="*/ 9639 h 14"/>
                <a:gd name="T6" fmla="*/ 7620 w 20"/>
                <a:gd name="T7" fmla="*/ 11566 h 14"/>
                <a:gd name="T8" fmla="*/ 1905 w 20"/>
                <a:gd name="T9" fmla="*/ 19277 h 14"/>
                <a:gd name="T10" fmla="*/ 5715 w 20"/>
                <a:gd name="T11" fmla="*/ 25060 h 14"/>
                <a:gd name="T12" fmla="*/ 30480 w 20"/>
                <a:gd name="T13" fmla="*/ 25060 h 14"/>
                <a:gd name="T14" fmla="*/ 38100 w 20"/>
                <a:gd name="T15" fmla="*/ 19277 h 14"/>
                <a:gd name="T16" fmla="*/ 34290 w 20"/>
                <a:gd name="T17" fmla="*/ 3855 h 14"/>
                <a:gd name="T18" fmla="*/ 28575 w 20"/>
                <a:gd name="T19" fmla="*/ 1928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4"/>
                <a:gd name="T32" fmla="*/ 20 w 20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4">
                  <a:moveTo>
                    <a:pt x="15" y="1"/>
                  </a:moveTo>
                  <a:cubicBezTo>
                    <a:pt x="13" y="0"/>
                    <a:pt x="11" y="0"/>
                    <a:pt x="10" y="1"/>
                  </a:cubicBezTo>
                  <a:cubicBezTo>
                    <a:pt x="8" y="2"/>
                    <a:pt x="6" y="3"/>
                    <a:pt x="4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3" y="8"/>
                    <a:pt x="1" y="9"/>
                    <a:pt x="1" y="10"/>
                  </a:cubicBezTo>
                  <a:cubicBezTo>
                    <a:pt x="0" y="11"/>
                    <a:pt x="2" y="13"/>
                    <a:pt x="3" y="13"/>
                  </a:cubicBezTo>
                  <a:cubicBezTo>
                    <a:pt x="7" y="14"/>
                    <a:pt x="12" y="14"/>
                    <a:pt x="16" y="13"/>
                  </a:cubicBezTo>
                  <a:cubicBezTo>
                    <a:pt x="18" y="13"/>
                    <a:pt x="19" y="11"/>
                    <a:pt x="20" y="10"/>
                  </a:cubicBezTo>
                  <a:cubicBezTo>
                    <a:pt x="20" y="7"/>
                    <a:pt x="19" y="5"/>
                    <a:pt x="18" y="2"/>
                  </a:cubicBezTo>
                  <a:cubicBezTo>
                    <a:pt x="17" y="1"/>
                    <a:pt x="16" y="1"/>
                    <a:pt x="1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1" name="Freeform 571"/>
            <p:cNvSpPr>
              <a:spLocks noChangeAspect="1"/>
            </p:cNvSpPr>
            <p:nvPr/>
          </p:nvSpPr>
          <p:spPr bwMode="auto">
            <a:xfrm>
              <a:off x="8820150" y="4648200"/>
              <a:ext cx="33338" cy="20638"/>
            </a:xfrm>
            <a:custGeom>
              <a:avLst/>
              <a:gdLst>
                <a:gd name="T0" fmla="*/ 27455 w 17"/>
                <a:gd name="T1" fmla="*/ 0 h 11"/>
                <a:gd name="T2" fmla="*/ 19611 w 17"/>
                <a:gd name="T3" fmla="*/ 7505 h 11"/>
                <a:gd name="T4" fmla="*/ 1961 w 17"/>
                <a:gd name="T5" fmla="*/ 13133 h 11"/>
                <a:gd name="T6" fmla="*/ 5883 w 17"/>
                <a:gd name="T7" fmla="*/ 20638 h 11"/>
                <a:gd name="T8" fmla="*/ 17650 w 17"/>
                <a:gd name="T9" fmla="*/ 16886 h 11"/>
                <a:gd name="T10" fmla="*/ 25494 w 17"/>
                <a:gd name="T11" fmla="*/ 16886 h 11"/>
                <a:gd name="T12" fmla="*/ 33338 w 17"/>
                <a:gd name="T13" fmla="*/ 3752 h 11"/>
                <a:gd name="T14" fmla="*/ 27455 w 17"/>
                <a:gd name="T15" fmla="*/ 0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1"/>
                <a:gd name="T26" fmla="*/ 17 w 17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1">
                  <a:moveTo>
                    <a:pt x="14" y="0"/>
                  </a:moveTo>
                  <a:cubicBezTo>
                    <a:pt x="12" y="0"/>
                    <a:pt x="12" y="3"/>
                    <a:pt x="10" y="4"/>
                  </a:cubicBezTo>
                  <a:cubicBezTo>
                    <a:pt x="7" y="5"/>
                    <a:pt x="3" y="5"/>
                    <a:pt x="1" y="7"/>
                  </a:cubicBezTo>
                  <a:cubicBezTo>
                    <a:pt x="0" y="8"/>
                    <a:pt x="1" y="11"/>
                    <a:pt x="3" y="11"/>
                  </a:cubicBezTo>
                  <a:cubicBezTo>
                    <a:pt x="5" y="11"/>
                    <a:pt x="7" y="9"/>
                    <a:pt x="9" y="9"/>
                  </a:cubicBezTo>
                  <a:cubicBezTo>
                    <a:pt x="10" y="8"/>
                    <a:pt x="12" y="9"/>
                    <a:pt x="13" y="9"/>
                  </a:cubicBezTo>
                  <a:cubicBezTo>
                    <a:pt x="13" y="5"/>
                    <a:pt x="15" y="3"/>
                    <a:pt x="17" y="2"/>
                  </a:cubicBezTo>
                  <a:cubicBezTo>
                    <a:pt x="17" y="1"/>
                    <a:pt x="15" y="0"/>
                    <a:pt x="1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2" name="Freeform 572"/>
            <p:cNvSpPr>
              <a:spLocks noChangeAspect="1"/>
            </p:cNvSpPr>
            <p:nvPr/>
          </p:nvSpPr>
          <p:spPr bwMode="auto">
            <a:xfrm>
              <a:off x="8537575" y="4603750"/>
              <a:ext cx="15875" cy="33338"/>
            </a:xfrm>
            <a:custGeom>
              <a:avLst/>
              <a:gdLst>
                <a:gd name="T0" fmla="*/ 0 w 9"/>
                <a:gd name="T1" fmla="*/ 1961 h 17"/>
                <a:gd name="T2" fmla="*/ 3528 w 9"/>
                <a:gd name="T3" fmla="*/ 1961 h 17"/>
                <a:gd name="T4" fmla="*/ 5292 w 9"/>
                <a:gd name="T5" fmla="*/ 15688 h 17"/>
                <a:gd name="T6" fmla="*/ 8819 w 9"/>
                <a:gd name="T7" fmla="*/ 13727 h 17"/>
                <a:gd name="T8" fmla="*/ 10583 w 9"/>
                <a:gd name="T9" fmla="*/ 5883 h 17"/>
                <a:gd name="T10" fmla="*/ 15875 w 9"/>
                <a:gd name="T11" fmla="*/ 7844 h 17"/>
                <a:gd name="T12" fmla="*/ 15875 w 9"/>
                <a:gd name="T13" fmla="*/ 19611 h 17"/>
                <a:gd name="T14" fmla="*/ 15875 w 9"/>
                <a:gd name="T15" fmla="*/ 27455 h 17"/>
                <a:gd name="T16" fmla="*/ 8819 w 9"/>
                <a:gd name="T17" fmla="*/ 29416 h 17"/>
                <a:gd name="T18" fmla="*/ 1764 w 9"/>
                <a:gd name="T19" fmla="*/ 31377 h 17"/>
                <a:gd name="T20" fmla="*/ 0 w 9"/>
                <a:gd name="T21" fmla="*/ 23533 h 17"/>
                <a:gd name="T22" fmla="*/ 0 w 9"/>
                <a:gd name="T23" fmla="*/ 1961 h 1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17"/>
                <a:gd name="T38" fmla="*/ 9 w 9"/>
                <a:gd name="T39" fmla="*/ 17 h 1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17">
                  <a:moveTo>
                    <a:pt x="0" y="1"/>
                  </a:moveTo>
                  <a:cubicBezTo>
                    <a:pt x="1" y="0"/>
                    <a:pt x="2" y="0"/>
                    <a:pt x="2" y="1"/>
                  </a:cubicBezTo>
                  <a:cubicBezTo>
                    <a:pt x="3" y="3"/>
                    <a:pt x="2" y="6"/>
                    <a:pt x="3" y="8"/>
                  </a:cubicBezTo>
                  <a:cubicBezTo>
                    <a:pt x="3" y="9"/>
                    <a:pt x="5" y="8"/>
                    <a:pt x="5" y="7"/>
                  </a:cubicBezTo>
                  <a:cubicBezTo>
                    <a:pt x="6" y="6"/>
                    <a:pt x="5" y="4"/>
                    <a:pt x="6" y="3"/>
                  </a:cubicBezTo>
                  <a:cubicBezTo>
                    <a:pt x="7" y="2"/>
                    <a:pt x="8" y="3"/>
                    <a:pt x="9" y="4"/>
                  </a:cubicBezTo>
                  <a:cubicBezTo>
                    <a:pt x="9" y="6"/>
                    <a:pt x="9" y="8"/>
                    <a:pt x="9" y="10"/>
                  </a:cubicBezTo>
                  <a:cubicBezTo>
                    <a:pt x="9" y="11"/>
                    <a:pt x="9" y="13"/>
                    <a:pt x="9" y="14"/>
                  </a:cubicBezTo>
                  <a:cubicBezTo>
                    <a:pt x="8" y="15"/>
                    <a:pt x="7" y="15"/>
                    <a:pt x="5" y="15"/>
                  </a:cubicBezTo>
                  <a:cubicBezTo>
                    <a:pt x="4" y="16"/>
                    <a:pt x="2" y="17"/>
                    <a:pt x="1" y="16"/>
                  </a:cubicBezTo>
                  <a:cubicBezTo>
                    <a:pt x="0" y="15"/>
                    <a:pt x="0" y="13"/>
                    <a:pt x="0" y="12"/>
                  </a:cubicBezTo>
                  <a:cubicBezTo>
                    <a:pt x="0" y="8"/>
                    <a:pt x="0" y="5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3" name="Freeform 573"/>
            <p:cNvSpPr>
              <a:spLocks noChangeAspect="1"/>
            </p:cNvSpPr>
            <p:nvPr/>
          </p:nvSpPr>
          <p:spPr bwMode="auto">
            <a:xfrm>
              <a:off x="8548688" y="4640263"/>
              <a:ext cx="14287" cy="19050"/>
            </a:xfrm>
            <a:custGeom>
              <a:avLst/>
              <a:gdLst>
                <a:gd name="T0" fmla="*/ 5358 w 8"/>
                <a:gd name="T1" fmla="*/ 1905 h 10"/>
                <a:gd name="T2" fmla="*/ 14287 w 8"/>
                <a:gd name="T3" fmla="*/ 17145 h 10"/>
                <a:gd name="T4" fmla="*/ 5358 w 8"/>
                <a:gd name="T5" fmla="*/ 19050 h 10"/>
                <a:gd name="T6" fmla="*/ 3572 w 8"/>
                <a:gd name="T7" fmla="*/ 13335 h 10"/>
                <a:gd name="T8" fmla="*/ 0 w 8"/>
                <a:gd name="T9" fmla="*/ 3810 h 10"/>
                <a:gd name="T10" fmla="*/ 5358 w 8"/>
                <a:gd name="T11" fmla="*/ 1905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0"/>
                <a:gd name="T20" fmla="*/ 8 w 8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0">
                  <a:moveTo>
                    <a:pt x="3" y="1"/>
                  </a:moveTo>
                  <a:cubicBezTo>
                    <a:pt x="5" y="3"/>
                    <a:pt x="8" y="6"/>
                    <a:pt x="8" y="9"/>
                  </a:cubicBezTo>
                  <a:cubicBezTo>
                    <a:pt x="8" y="10"/>
                    <a:pt x="4" y="10"/>
                    <a:pt x="3" y="10"/>
                  </a:cubicBezTo>
                  <a:cubicBezTo>
                    <a:pt x="2" y="9"/>
                    <a:pt x="3" y="8"/>
                    <a:pt x="2" y="7"/>
                  </a:cubicBezTo>
                  <a:cubicBezTo>
                    <a:pt x="2" y="5"/>
                    <a:pt x="0" y="4"/>
                    <a:pt x="0" y="2"/>
                  </a:cubicBezTo>
                  <a:cubicBezTo>
                    <a:pt x="0" y="1"/>
                    <a:pt x="2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4" name="Freeform 574"/>
            <p:cNvSpPr>
              <a:spLocks noChangeAspect="1"/>
            </p:cNvSpPr>
            <p:nvPr/>
          </p:nvSpPr>
          <p:spPr bwMode="auto">
            <a:xfrm>
              <a:off x="8461375" y="4759325"/>
              <a:ext cx="63500" cy="66675"/>
            </a:xfrm>
            <a:custGeom>
              <a:avLst/>
              <a:gdLst>
                <a:gd name="T0" fmla="*/ 1868 w 34"/>
                <a:gd name="T1" fmla="*/ 0 h 35"/>
                <a:gd name="T2" fmla="*/ 0 w 34"/>
                <a:gd name="T3" fmla="*/ 3810 h 35"/>
                <a:gd name="T4" fmla="*/ 3735 w 34"/>
                <a:gd name="T5" fmla="*/ 15240 h 35"/>
                <a:gd name="T6" fmla="*/ 11206 w 34"/>
                <a:gd name="T7" fmla="*/ 22860 h 35"/>
                <a:gd name="T8" fmla="*/ 16809 w 34"/>
                <a:gd name="T9" fmla="*/ 34290 h 35"/>
                <a:gd name="T10" fmla="*/ 31750 w 34"/>
                <a:gd name="T11" fmla="*/ 47625 h 35"/>
                <a:gd name="T12" fmla="*/ 42956 w 34"/>
                <a:gd name="T13" fmla="*/ 51435 h 35"/>
                <a:gd name="T14" fmla="*/ 44824 w 34"/>
                <a:gd name="T15" fmla="*/ 62865 h 35"/>
                <a:gd name="T16" fmla="*/ 59765 w 34"/>
                <a:gd name="T17" fmla="*/ 64770 h 35"/>
                <a:gd name="T18" fmla="*/ 59765 w 34"/>
                <a:gd name="T19" fmla="*/ 53340 h 35"/>
                <a:gd name="T20" fmla="*/ 41088 w 34"/>
                <a:gd name="T21" fmla="*/ 40005 h 35"/>
                <a:gd name="T22" fmla="*/ 29882 w 34"/>
                <a:gd name="T23" fmla="*/ 22860 h 35"/>
                <a:gd name="T24" fmla="*/ 14941 w 34"/>
                <a:gd name="T25" fmla="*/ 7620 h 35"/>
                <a:gd name="T26" fmla="*/ 1868 w 34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4"/>
                <a:gd name="T43" fmla="*/ 0 h 35"/>
                <a:gd name="T44" fmla="*/ 34 w 34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4" h="35">
                  <a:moveTo>
                    <a:pt x="1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6"/>
                    <a:pt x="2" y="8"/>
                  </a:cubicBezTo>
                  <a:cubicBezTo>
                    <a:pt x="3" y="9"/>
                    <a:pt x="5" y="10"/>
                    <a:pt x="6" y="12"/>
                  </a:cubicBezTo>
                  <a:cubicBezTo>
                    <a:pt x="8" y="14"/>
                    <a:pt x="8" y="16"/>
                    <a:pt x="9" y="18"/>
                  </a:cubicBezTo>
                  <a:cubicBezTo>
                    <a:pt x="11" y="21"/>
                    <a:pt x="14" y="23"/>
                    <a:pt x="17" y="25"/>
                  </a:cubicBezTo>
                  <a:cubicBezTo>
                    <a:pt x="19" y="26"/>
                    <a:pt x="22" y="26"/>
                    <a:pt x="23" y="27"/>
                  </a:cubicBezTo>
                  <a:cubicBezTo>
                    <a:pt x="25" y="29"/>
                    <a:pt x="23" y="32"/>
                    <a:pt x="24" y="33"/>
                  </a:cubicBezTo>
                  <a:cubicBezTo>
                    <a:pt x="26" y="34"/>
                    <a:pt x="30" y="35"/>
                    <a:pt x="32" y="34"/>
                  </a:cubicBezTo>
                  <a:cubicBezTo>
                    <a:pt x="34" y="33"/>
                    <a:pt x="33" y="29"/>
                    <a:pt x="32" y="28"/>
                  </a:cubicBezTo>
                  <a:cubicBezTo>
                    <a:pt x="30" y="24"/>
                    <a:pt x="25" y="24"/>
                    <a:pt x="22" y="21"/>
                  </a:cubicBezTo>
                  <a:cubicBezTo>
                    <a:pt x="20" y="18"/>
                    <a:pt x="19" y="14"/>
                    <a:pt x="16" y="12"/>
                  </a:cubicBezTo>
                  <a:cubicBezTo>
                    <a:pt x="14" y="9"/>
                    <a:pt x="10" y="7"/>
                    <a:pt x="8" y="4"/>
                  </a:cubicBezTo>
                  <a:cubicBezTo>
                    <a:pt x="6" y="3"/>
                    <a:pt x="4" y="1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5" name="Freeform 575"/>
            <p:cNvSpPr>
              <a:spLocks noChangeAspect="1"/>
            </p:cNvSpPr>
            <p:nvPr/>
          </p:nvSpPr>
          <p:spPr bwMode="auto">
            <a:xfrm>
              <a:off x="8529638" y="4773613"/>
              <a:ext cx="11112" cy="17462"/>
            </a:xfrm>
            <a:custGeom>
              <a:avLst/>
              <a:gdLst>
                <a:gd name="T0" fmla="*/ 7408 w 6"/>
                <a:gd name="T1" fmla="*/ 1940 h 9"/>
                <a:gd name="T2" fmla="*/ 9260 w 6"/>
                <a:gd name="T3" fmla="*/ 11641 h 9"/>
                <a:gd name="T4" fmla="*/ 9260 w 6"/>
                <a:gd name="T5" fmla="*/ 17462 h 9"/>
                <a:gd name="T6" fmla="*/ 1852 w 6"/>
                <a:gd name="T7" fmla="*/ 11641 h 9"/>
                <a:gd name="T8" fmla="*/ 3704 w 6"/>
                <a:gd name="T9" fmla="*/ 3880 h 9"/>
                <a:gd name="T10" fmla="*/ 7408 w 6"/>
                <a:gd name="T11" fmla="*/ 194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4" y="1"/>
                  </a:moveTo>
                  <a:cubicBezTo>
                    <a:pt x="5" y="2"/>
                    <a:pt x="5" y="4"/>
                    <a:pt x="5" y="6"/>
                  </a:cubicBezTo>
                  <a:cubicBezTo>
                    <a:pt x="5" y="7"/>
                    <a:pt x="6" y="9"/>
                    <a:pt x="5" y="9"/>
                  </a:cubicBezTo>
                  <a:cubicBezTo>
                    <a:pt x="3" y="9"/>
                    <a:pt x="2" y="8"/>
                    <a:pt x="1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2" y="1"/>
                    <a:pt x="3" y="0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6" name="Freeform 576"/>
            <p:cNvSpPr>
              <a:spLocks noChangeAspect="1"/>
            </p:cNvSpPr>
            <p:nvPr/>
          </p:nvSpPr>
          <p:spPr bwMode="auto">
            <a:xfrm>
              <a:off x="8547100" y="4792663"/>
              <a:ext cx="9525" cy="11112"/>
            </a:xfrm>
            <a:custGeom>
              <a:avLst/>
              <a:gdLst>
                <a:gd name="T0" fmla="*/ 3810 w 5"/>
                <a:gd name="T1" fmla="*/ 1852 h 6"/>
                <a:gd name="T2" fmla="*/ 9525 w 5"/>
                <a:gd name="T3" fmla="*/ 5556 h 6"/>
                <a:gd name="T4" fmla="*/ 3810 w 5"/>
                <a:gd name="T5" fmla="*/ 11112 h 6"/>
                <a:gd name="T6" fmla="*/ 0 w 5"/>
                <a:gd name="T7" fmla="*/ 9260 h 6"/>
                <a:gd name="T8" fmla="*/ 3810 w 5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2" y="1"/>
                  </a:moveTo>
                  <a:cubicBezTo>
                    <a:pt x="3" y="0"/>
                    <a:pt x="5" y="2"/>
                    <a:pt x="5" y="3"/>
                  </a:cubicBezTo>
                  <a:cubicBezTo>
                    <a:pt x="5" y="5"/>
                    <a:pt x="3" y="6"/>
                    <a:pt x="2" y="6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0" y="3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7" name="Freeform 577"/>
            <p:cNvSpPr>
              <a:spLocks noChangeAspect="1"/>
            </p:cNvSpPr>
            <p:nvPr/>
          </p:nvSpPr>
          <p:spPr bwMode="auto">
            <a:xfrm>
              <a:off x="7234238" y="4497388"/>
              <a:ext cx="944562" cy="814387"/>
            </a:xfrm>
            <a:custGeom>
              <a:avLst/>
              <a:gdLst>
                <a:gd name="T0" fmla="*/ 137114 w 496"/>
                <a:gd name="T1" fmla="*/ 268919 h 427"/>
                <a:gd name="T2" fmla="*/ 205671 w 496"/>
                <a:gd name="T3" fmla="*/ 246033 h 427"/>
                <a:gd name="T4" fmla="*/ 236141 w 496"/>
                <a:gd name="T5" fmla="*/ 198352 h 427"/>
                <a:gd name="T6" fmla="*/ 258993 w 496"/>
                <a:gd name="T7" fmla="*/ 156393 h 427"/>
                <a:gd name="T8" fmla="*/ 272323 w 496"/>
                <a:gd name="T9" fmla="*/ 164022 h 427"/>
                <a:gd name="T10" fmla="*/ 300889 w 496"/>
                <a:gd name="T11" fmla="*/ 152578 h 427"/>
                <a:gd name="T12" fmla="*/ 297080 w 496"/>
                <a:gd name="T13" fmla="*/ 127784 h 427"/>
                <a:gd name="T14" fmla="*/ 312315 w 496"/>
                <a:gd name="T15" fmla="*/ 106805 h 427"/>
                <a:gd name="T16" fmla="*/ 344689 w 496"/>
                <a:gd name="T17" fmla="*/ 89640 h 427"/>
                <a:gd name="T18" fmla="*/ 382776 w 496"/>
                <a:gd name="T19" fmla="*/ 114434 h 427"/>
                <a:gd name="T20" fmla="*/ 403724 w 496"/>
                <a:gd name="T21" fmla="*/ 122063 h 427"/>
                <a:gd name="T22" fmla="*/ 432289 w 496"/>
                <a:gd name="T23" fmla="*/ 133506 h 427"/>
                <a:gd name="T24" fmla="*/ 415150 w 496"/>
                <a:gd name="T25" fmla="*/ 101083 h 427"/>
                <a:gd name="T26" fmla="*/ 457046 w 496"/>
                <a:gd name="T27" fmla="*/ 51495 h 427"/>
                <a:gd name="T28" fmla="*/ 500846 w 496"/>
                <a:gd name="T29" fmla="*/ 38145 h 427"/>
                <a:gd name="T30" fmla="*/ 491325 w 496"/>
                <a:gd name="T31" fmla="*/ 17165 h 427"/>
                <a:gd name="T32" fmla="*/ 533221 w 496"/>
                <a:gd name="T33" fmla="*/ 36237 h 427"/>
                <a:gd name="T34" fmla="*/ 578925 w 496"/>
                <a:gd name="T35" fmla="*/ 47681 h 427"/>
                <a:gd name="T36" fmla="*/ 567499 w 496"/>
                <a:gd name="T37" fmla="*/ 78196 h 427"/>
                <a:gd name="T38" fmla="*/ 609395 w 496"/>
                <a:gd name="T39" fmla="*/ 152578 h 427"/>
                <a:gd name="T40" fmla="*/ 679856 w 496"/>
                <a:gd name="T41" fmla="*/ 192630 h 427"/>
                <a:gd name="T42" fmla="*/ 710326 w 496"/>
                <a:gd name="T43" fmla="*/ 61031 h 427"/>
                <a:gd name="T44" fmla="*/ 735083 w 496"/>
                <a:gd name="T45" fmla="*/ 1907 h 427"/>
                <a:gd name="T46" fmla="*/ 750317 w 496"/>
                <a:gd name="T47" fmla="*/ 47681 h 427"/>
                <a:gd name="T48" fmla="*/ 778883 w 496"/>
                <a:gd name="T49" fmla="*/ 93454 h 427"/>
                <a:gd name="T50" fmla="*/ 803639 w 496"/>
                <a:gd name="T51" fmla="*/ 173558 h 427"/>
                <a:gd name="T52" fmla="*/ 824587 w 496"/>
                <a:gd name="T53" fmla="*/ 242218 h 427"/>
                <a:gd name="T54" fmla="*/ 858866 w 496"/>
                <a:gd name="T55" fmla="*/ 265105 h 427"/>
                <a:gd name="T56" fmla="*/ 874101 w 496"/>
                <a:gd name="T57" fmla="*/ 324229 h 427"/>
                <a:gd name="T58" fmla="*/ 902666 w 496"/>
                <a:gd name="T59" fmla="*/ 328043 h 427"/>
                <a:gd name="T60" fmla="*/ 925518 w 496"/>
                <a:gd name="T61" fmla="*/ 383353 h 427"/>
                <a:gd name="T62" fmla="*/ 944562 w 496"/>
                <a:gd name="T63" fmla="*/ 440570 h 427"/>
                <a:gd name="T64" fmla="*/ 927423 w 496"/>
                <a:gd name="T65" fmla="*/ 551189 h 427"/>
                <a:gd name="T66" fmla="*/ 868388 w 496"/>
                <a:gd name="T67" fmla="*/ 650365 h 427"/>
                <a:gd name="T68" fmla="*/ 830300 w 496"/>
                <a:gd name="T69" fmla="*/ 707582 h 427"/>
                <a:gd name="T70" fmla="*/ 757935 w 496"/>
                <a:gd name="T71" fmla="*/ 783871 h 427"/>
                <a:gd name="T72" fmla="*/ 696995 w 496"/>
                <a:gd name="T73" fmla="*/ 797222 h 427"/>
                <a:gd name="T74" fmla="*/ 670334 w 496"/>
                <a:gd name="T75" fmla="*/ 801036 h 427"/>
                <a:gd name="T76" fmla="*/ 611299 w 496"/>
                <a:gd name="T77" fmla="*/ 795315 h 427"/>
                <a:gd name="T78" fmla="*/ 578925 w 496"/>
                <a:gd name="T79" fmla="*/ 745727 h 427"/>
                <a:gd name="T80" fmla="*/ 546551 w 496"/>
                <a:gd name="T81" fmla="*/ 715211 h 427"/>
                <a:gd name="T82" fmla="*/ 546551 w 496"/>
                <a:gd name="T83" fmla="*/ 673252 h 427"/>
                <a:gd name="T84" fmla="*/ 523699 w 496"/>
                <a:gd name="T85" fmla="*/ 690417 h 427"/>
                <a:gd name="T86" fmla="*/ 552264 w 496"/>
                <a:gd name="T87" fmla="*/ 629386 h 427"/>
                <a:gd name="T88" fmla="*/ 498942 w 496"/>
                <a:gd name="T89" fmla="*/ 686603 h 427"/>
                <a:gd name="T90" fmla="*/ 476090 w 496"/>
                <a:gd name="T91" fmla="*/ 644644 h 427"/>
                <a:gd name="T92" fmla="*/ 428481 w 496"/>
                <a:gd name="T93" fmla="*/ 608406 h 427"/>
                <a:gd name="T94" fmla="*/ 281845 w 496"/>
                <a:gd name="T95" fmla="*/ 612221 h 427"/>
                <a:gd name="T96" fmla="*/ 177105 w 496"/>
                <a:gd name="T97" fmla="*/ 659901 h 427"/>
                <a:gd name="T98" fmla="*/ 79983 w 496"/>
                <a:gd name="T99" fmla="*/ 696139 h 427"/>
                <a:gd name="T100" fmla="*/ 13331 w 496"/>
                <a:gd name="T101" fmla="*/ 652273 h 427"/>
                <a:gd name="T102" fmla="*/ 28565 w 496"/>
                <a:gd name="T103" fmla="*/ 579798 h 427"/>
                <a:gd name="T104" fmla="*/ 0 w 496"/>
                <a:gd name="T105" fmla="*/ 440570 h 427"/>
                <a:gd name="T106" fmla="*/ 22852 w 496"/>
                <a:gd name="T107" fmla="*/ 444384 h 427"/>
                <a:gd name="T108" fmla="*/ 20948 w 496"/>
                <a:gd name="T109" fmla="*/ 343301 h 427"/>
                <a:gd name="T110" fmla="*/ 32374 w 496"/>
                <a:gd name="T111" fmla="*/ 326136 h 427"/>
                <a:gd name="T112" fmla="*/ 87601 w 496"/>
                <a:gd name="T113" fmla="*/ 282270 h 42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96"/>
                <a:gd name="T172" fmla="*/ 0 h 427"/>
                <a:gd name="T173" fmla="*/ 496 w 496"/>
                <a:gd name="T174" fmla="*/ 427 h 42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96" h="427">
                  <a:moveTo>
                    <a:pt x="50" y="145"/>
                  </a:moveTo>
                  <a:cubicBezTo>
                    <a:pt x="52" y="145"/>
                    <a:pt x="54" y="144"/>
                    <a:pt x="56" y="144"/>
                  </a:cubicBezTo>
                  <a:cubicBezTo>
                    <a:pt x="59" y="144"/>
                    <a:pt x="62" y="147"/>
                    <a:pt x="64" y="145"/>
                  </a:cubicBezTo>
                  <a:cubicBezTo>
                    <a:pt x="66" y="143"/>
                    <a:pt x="68" y="139"/>
                    <a:pt x="72" y="141"/>
                  </a:cubicBezTo>
                  <a:cubicBezTo>
                    <a:pt x="74" y="141"/>
                    <a:pt x="77" y="140"/>
                    <a:pt x="79" y="139"/>
                  </a:cubicBezTo>
                  <a:cubicBezTo>
                    <a:pt x="81" y="138"/>
                    <a:pt x="81" y="135"/>
                    <a:pt x="83" y="134"/>
                  </a:cubicBezTo>
                  <a:cubicBezTo>
                    <a:pt x="85" y="134"/>
                    <a:pt x="89" y="135"/>
                    <a:pt x="91" y="135"/>
                  </a:cubicBezTo>
                  <a:cubicBezTo>
                    <a:pt x="97" y="133"/>
                    <a:pt x="104" y="133"/>
                    <a:pt x="108" y="129"/>
                  </a:cubicBezTo>
                  <a:cubicBezTo>
                    <a:pt x="113" y="126"/>
                    <a:pt x="114" y="121"/>
                    <a:pt x="116" y="116"/>
                  </a:cubicBezTo>
                  <a:cubicBezTo>
                    <a:pt x="117" y="115"/>
                    <a:pt x="115" y="113"/>
                    <a:pt x="116" y="112"/>
                  </a:cubicBezTo>
                  <a:cubicBezTo>
                    <a:pt x="118" y="110"/>
                    <a:pt x="122" y="111"/>
                    <a:pt x="124" y="109"/>
                  </a:cubicBezTo>
                  <a:cubicBezTo>
                    <a:pt x="125" y="108"/>
                    <a:pt x="124" y="106"/>
                    <a:pt x="124" y="104"/>
                  </a:cubicBezTo>
                  <a:cubicBezTo>
                    <a:pt x="124" y="103"/>
                    <a:pt x="122" y="101"/>
                    <a:pt x="123" y="100"/>
                  </a:cubicBezTo>
                  <a:cubicBezTo>
                    <a:pt x="124" y="95"/>
                    <a:pt x="125" y="91"/>
                    <a:pt x="128" y="87"/>
                  </a:cubicBezTo>
                  <a:cubicBezTo>
                    <a:pt x="129" y="84"/>
                    <a:pt x="132" y="82"/>
                    <a:pt x="135" y="80"/>
                  </a:cubicBezTo>
                  <a:cubicBezTo>
                    <a:pt x="135" y="79"/>
                    <a:pt x="136" y="81"/>
                    <a:pt x="136" y="82"/>
                  </a:cubicBezTo>
                  <a:cubicBezTo>
                    <a:pt x="136" y="84"/>
                    <a:pt x="135" y="85"/>
                    <a:pt x="135" y="86"/>
                  </a:cubicBezTo>
                  <a:cubicBezTo>
                    <a:pt x="136" y="90"/>
                    <a:pt x="136" y="95"/>
                    <a:pt x="139" y="97"/>
                  </a:cubicBezTo>
                  <a:cubicBezTo>
                    <a:pt x="142" y="98"/>
                    <a:pt x="145" y="94"/>
                    <a:pt x="145" y="92"/>
                  </a:cubicBezTo>
                  <a:cubicBezTo>
                    <a:pt x="146" y="90"/>
                    <a:pt x="143" y="88"/>
                    <a:pt x="143" y="86"/>
                  </a:cubicBezTo>
                  <a:cubicBezTo>
                    <a:pt x="142" y="85"/>
                    <a:pt x="142" y="83"/>
                    <a:pt x="143" y="82"/>
                  </a:cubicBezTo>
                  <a:cubicBezTo>
                    <a:pt x="143" y="81"/>
                    <a:pt x="145" y="80"/>
                    <a:pt x="146" y="80"/>
                  </a:cubicBezTo>
                  <a:cubicBezTo>
                    <a:pt x="150" y="80"/>
                    <a:pt x="154" y="83"/>
                    <a:pt x="158" y="83"/>
                  </a:cubicBezTo>
                  <a:cubicBezTo>
                    <a:pt x="158" y="83"/>
                    <a:pt x="159" y="81"/>
                    <a:pt x="158" y="80"/>
                  </a:cubicBezTo>
                  <a:cubicBezTo>
                    <a:pt x="158" y="79"/>
                    <a:pt x="156" y="80"/>
                    <a:pt x="155" y="79"/>
                  </a:cubicBezTo>
                  <a:cubicBezTo>
                    <a:pt x="155" y="78"/>
                    <a:pt x="156" y="75"/>
                    <a:pt x="155" y="74"/>
                  </a:cubicBezTo>
                  <a:cubicBezTo>
                    <a:pt x="155" y="73"/>
                    <a:pt x="153" y="73"/>
                    <a:pt x="153" y="72"/>
                  </a:cubicBezTo>
                  <a:cubicBezTo>
                    <a:pt x="153" y="70"/>
                    <a:pt x="155" y="67"/>
                    <a:pt x="156" y="67"/>
                  </a:cubicBezTo>
                  <a:cubicBezTo>
                    <a:pt x="159" y="67"/>
                    <a:pt x="160" y="72"/>
                    <a:pt x="162" y="71"/>
                  </a:cubicBezTo>
                  <a:cubicBezTo>
                    <a:pt x="165" y="70"/>
                    <a:pt x="161" y="66"/>
                    <a:pt x="162" y="64"/>
                  </a:cubicBezTo>
                  <a:cubicBezTo>
                    <a:pt x="163" y="63"/>
                    <a:pt x="167" y="66"/>
                    <a:pt x="167" y="64"/>
                  </a:cubicBezTo>
                  <a:cubicBezTo>
                    <a:pt x="168" y="61"/>
                    <a:pt x="164" y="59"/>
                    <a:pt x="164" y="56"/>
                  </a:cubicBezTo>
                  <a:cubicBezTo>
                    <a:pt x="164" y="54"/>
                    <a:pt x="167" y="51"/>
                    <a:pt x="169" y="51"/>
                  </a:cubicBezTo>
                  <a:cubicBezTo>
                    <a:pt x="172" y="51"/>
                    <a:pt x="171" y="56"/>
                    <a:pt x="173" y="56"/>
                  </a:cubicBezTo>
                  <a:cubicBezTo>
                    <a:pt x="176" y="56"/>
                    <a:pt x="175" y="51"/>
                    <a:pt x="177" y="50"/>
                  </a:cubicBezTo>
                  <a:cubicBezTo>
                    <a:pt x="178" y="48"/>
                    <a:pt x="180" y="48"/>
                    <a:pt x="181" y="47"/>
                  </a:cubicBezTo>
                  <a:cubicBezTo>
                    <a:pt x="183" y="47"/>
                    <a:pt x="184" y="49"/>
                    <a:pt x="185" y="48"/>
                  </a:cubicBezTo>
                  <a:cubicBezTo>
                    <a:pt x="186" y="47"/>
                    <a:pt x="185" y="44"/>
                    <a:pt x="186" y="43"/>
                  </a:cubicBezTo>
                  <a:cubicBezTo>
                    <a:pt x="189" y="43"/>
                    <a:pt x="191" y="46"/>
                    <a:pt x="193" y="48"/>
                  </a:cubicBezTo>
                  <a:cubicBezTo>
                    <a:pt x="196" y="51"/>
                    <a:pt x="200" y="55"/>
                    <a:pt x="201" y="60"/>
                  </a:cubicBezTo>
                  <a:cubicBezTo>
                    <a:pt x="202" y="62"/>
                    <a:pt x="197" y="68"/>
                    <a:pt x="199" y="68"/>
                  </a:cubicBezTo>
                  <a:cubicBezTo>
                    <a:pt x="203" y="69"/>
                    <a:pt x="202" y="62"/>
                    <a:pt x="205" y="61"/>
                  </a:cubicBezTo>
                  <a:cubicBezTo>
                    <a:pt x="207" y="59"/>
                    <a:pt x="209" y="59"/>
                    <a:pt x="212" y="60"/>
                  </a:cubicBezTo>
                  <a:cubicBezTo>
                    <a:pt x="213" y="61"/>
                    <a:pt x="211" y="64"/>
                    <a:pt x="212" y="64"/>
                  </a:cubicBezTo>
                  <a:cubicBezTo>
                    <a:pt x="214" y="64"/>
                    <a:pt x="213" y="60"/>
                    <a:pt x="214" y="60"/>
                  </a:cubicBezTo>
                  <a:cubicBezTo>
                    <a:pt x="216" y="60"/>
                    <a:pt x="218" y="61"/>
                    <a:pt x="219" y="63"/>
                  </a:cubicBezTo>
                  <a:cubicBezTo>
                    <a:pt x="220" y="64"/>
                    <a:pt x="220" y="66"/>
                    <a:pt x="221" y="67"/>
                  </a:cubicBezTo>
                  <a:cubicBezTo>
                    <a:pt x="222" y="69"/>
                    <a:pt x="225" y="71"/>
                    <a:pt x="227" y="70"/>
                  </a:cubicBezTo>
                  <a:cubicBezTo>
                    <a:pt x="229" y="70"/>
                    <a:pt x="223" y="68"/>
                    <a:pt x="223" y="66"/>
                  </a:cubicBezTo>
                  <a:cubicBezTo>
                    <a:pt x="222" y="65"/>
                    <a:pt x="222" y="63"/>
                    <a:pt x="222" y="61"/>
                  </a:cubicBezTo>
                  <a:cubicBezTo>
                    <a:pt x="222" y="60"/>
                    <a:pt x="224" y="59"/>
                    <a:pt x="224" y="58"/>
                  </a:cubicBezTo>
                  <a:cubicBezTo>
                    <a:pt x="222" y="56"/>
                    <a:pt x="218" y="56"/>
                    <a:pt x="218" y="53"/>
                  </a:cubicBezTo>
                  <a:cubicBezTo>
                    <a:pt x="218" y="49"/>
                    <a:pt x="221" y="45"/>
                    <a:pt x="224" y="41"/>
                  </a:cubicBezTo>
                  <a:cubicBezTo>
                    <a:pt x="225" y="39"/>
                    <a:pt x="228" y="39"/>
                    <a:pt x="230" y="37"/>
                  </a:cubicBezTo>
                  <a:cubicBezTo>
                    <a:pt x="232" y="33"/>
                    <a:pt x="231" y="28"/>
                    <a:pt x="234" y="25"/>
                  </a:cubicBezTo>
                  <a:cubicBezTo>
                    <a:pt x="235" y="24"/>
                    <a:pt x="238" y="28"/>
                    <a:pt x="240" y="27"/>
                  </a:cubicBezTo>
                  <a:cubicBezTo>
                    <a:pt x="242" y="26"/>
                    <a:pt x="241" y="21"/>
                    <a:pt x="243" y="20"/>
                  </a:cubicBezTo>
                  <a:cubicBezTo>
                    <a:pt x="247" y="19"/>
                    <a:pt x="252" y="20"/>
                    <a:pt x="257" y="20"/>
                  </a:cubicBezTo>
                  <a:cubicBezTo>
                    <a:pt x="257" y="21"/>
                    <a:pt x="257" y="23"/>
                    <a:pt x="258" y="23"/>
                  </a:cubicBezTo>
                  <a:cubicBezTo>
                    <a:pt x="259" y="23"/>
                    <a:pt x="262" y="22"/>
                    <a:pt x="263" y="20"/>
                  </a:cubicBezTo>
                  <a:cubicBezTo>
                    <a:pt x="263" y="19"/>
                    <a:pt x="263" y="17"/>
                    <a:pt x="262" y="15"/>
                  </a:cubicBezTo>
                  <a:cubicBezTo>
                    <a:pt x="260" y="13"/>
                    <a:pt x="257" y="14"/>
                    <a:pt x="255" y="12"/>
                  </a:cubicBezTo>
                  <a:cubicBezTo>
                    <a:pt x="253" y="11"/>
                    <a:pt x="250" y="9"/>
                    <a:pt x="252" y="7"/>
                  </a:cubicBezTo>
                  <a:cubicBezTo>
                    <a:pt x="253" y="6"/>
                    <a:pt x="256" y="8"/>
                    <a:pt x="258" y="9"/>
                  </a:cubicBezTo>
                  <a:cubicBezTo>
                    <a:pt x="260" y="9"/>
                    <a:pt x="263" y="10"/>
                    <a:pt x="264" y="11"/>
                  </a:cubicBezTo>
                  <a:cubicBezTo>
                    <a:pt x="266" y="12"/>
                    <a:pt x="267" y="14"/>
                    <a:pt x="269" y="15"/>
                  </a:cubicBezTo>
                  <a:cubicBezTo>
                    <a:pt x="271" y="15"/>
                    <a:pt x="273" y="14"/>
                    <a:pt x="275" y="15"/>
                  </a:cubicBezTo>
                  <a:cubicBezTo>
                    <a:pt x="277" y="15"/>
                    <a:pt x="278" y="18"/>
                    <a:pt x="280" y="19"/>
                  </a:cubicBezTo>
                  <a:cubicBezTo>
                    <a:pt x="281" y="19"/>
                    <a:pt x="282" y="16"/>
                    <a:pt x="284" y="17"/>
                  </a:cubicBezTo>
                  <a:cubicBezTo>
                    <a:pt x="287" y="17"/>
                    <a:pt x="289" y="22"/>
                    <a:pt x="292" y="22"/>
                  </a:cubicBezTo>
                  <a:cubicBezTo>
                    <a:pt x="295" y="23"/>
                    <a:pt x="298" y="20"/>
                    <a:pt x="301" y="20"/>
                  </a:cubicBezTo>
                  <a:cubicBezTo>
                    <a:pt x="302" y="21"/>
                    <a:pt x="302" y="26"/>
                    <a:pt x="304" y="25"/>
                  </a:cubicBezTo>
                  <a:cubicBezTo>
                    <a:pt x="306" y="24"/>
                    <a:pt x="305" y="19"/>
                    <a:pt x="307" y="18"/>
                  </a:cubicBezTo>
                  <a:cubicBezTo>
                    <a:pt x="310" y="18"/>
                    <a:pt x="315" y="20"/>
                    <a:pt x="315" y="23"/>
                  </a:cubicBezTo>
                  <a:cubicBezTo>
                    <a:pt x="315" y="28"/>
                    <a:pt x="310" y="31"/>
                    <a:pt x="306" y="35"/>
                  </a:cubicBezTo>
                  <a:cubicBezTo>
                    <a:pt x="304" y="37"/>
                    <a:pt x="299" y="38"/>
                    <a:pt x="298" y="41"/>
                  </a:cubicBezTo>
                  <a:cubicBezTo>
                    <a:pt x="297" y="44"/>
                    <a:pt x="300" y="48"/>
                    <a:pt x="299" y="51"/>
                  </a:cubicBezTo>
                  <a:cubicBezTo>
                    <a:pt x="298" y="56"/>
                    <a:pt x="293" y="60"/>
                    <a:pt x="294" y="65"/>
                  </a:cubicBezTo>
                  <a:cubicBezTo>
                    <a:pt x="296" y="70"/>
                    <a:pt x="303" y="72"/>
                    <a:pt x="307" y="75"/>
                  </a:cubicBezTo>
                  <a:cubicBezTo>
                    <a:pt x="311" y="77"/>
                    <a:pt x="316" y="78"/>
                    <a:pt x="320" y="80"/>
                  </a:cubicBezTo>
                  <a:cubicBezTo>
                    <a:pt x="323" y="82"/>
                    <a:pt x="327" y="84"/>
                    <a:pt x="330" y="87"/>
                  </a:cubicBezTo>
                  <a:cubicBezTo>
                    <a:pt x="332" y="88"/>
                    <a:pt x="334" y="90"/>
                    <a:pt x="336" y="91"/>
                  </a:cubicBezTo>
                  <a:cubicBezTo>
                    <a:pt x="339" y="94"/>
                    <a:pt x="342" y="98"/>
                    <a:pt x="345" y="100"/>
                  </a:cubicBezTo>
                  <a:cubicBezTo>
                    <a:pt x="349" y="101"/>
                    <a:pt x="354" y="104"/>
                    <a:pt x="357" y="101"/>
                  </a:cubicBezTo>
                  <a:cubicBezTo>
                    <a:pt x="362" y="97"/>
                    <a:pt x="363" y="89"/>
                    <a:pt x="366" y="83"/>
                  </a:cubicBezTo>
                  <a:cubicBezTo>
                    <a:pt x="368" y="77"/>
                    <a:pt x="371" y="71"/>
                    <a:pt x="372" y="65"/>
                  </a:cubicBezTo>
                  <a:cubicBezTo>
                    <a:pt x="374" y="57"/>
                    <a:pt x="372" y="49"/>
                    <a:pt x="372" y="40"/>
                  </a:cubicBezTo>
                  <a:cubicBezTo>
                    <a:pt x="372" y="38"/>
                    <a:pt x="372" y="34"/>
                    <a:pt x="373" y="32"/>
                  </a:cubicBezTo>
                  <a:cubicBezTo>
                    <a:pt x="374" y="29"/>
                    <a:pt x="376" y="28"/>
                    <a:pt x="377" y="26"/>
                  </a:cubicBezTo>
                  <a:cubicBezTo>
                    <a:pt x="378" y="24"/>
                    <a:pt x="377" y="22"/>
                    <a:pt x="377" y="20"/>
                  </a:cubicBezTo>
                  <a:cubicBezTo>
                    <a:pt x="379" y="14"/>
                    <a:pt x="381" y="8"/>
                    <a:pt x="383" y="3"/>
                  </a:cubicBezTo>
                  <a:cubicBezTo>
                    <a:pt x="383" y="1"/>
                    <a:pt x="385" y="0"/>
                    <a:pt x="386" y="1"/>
                  </a:cubicBezTo>
                  <a:cubicBezTo>
                    <a:pt x="387" y="1"/>
                    <a:pt x="387" y="3"/>
                    <a:pt x="388" y="5"/>
                  </a:cubicBezTo>
                  <a:cubicBezTo>
                    <a:pt x="389" y="8"/>
                    <a:pt x="389" y="11"/>
                    <a:pt x="390" y="14"/>
                  </a:cubicBezTo>
                  <a:cubicBezTo>
                    <a:pt x="392" y="16"/>
                    <a:pt x="396" y="16"/>
                    <a:pt x="397" y="18"/>
                  </a:cubicBezTo>
                  <a:cubicBezTo>
                    <a:pt x="397" y="20"/>
                    <a:pt x="394" y="23"/>
                    <a:pt x="394" y="25"/>
                  </a:cubicBezTo>
                  <a:cubicBezTo>
                    <a:pt x="395" y="31"/>
                    <a:pt x="398" y="36"/>
                    <a:pt x="400" y="42"/>
                  </a:cubicBezTo>
                  <a:cubicBezTo>
                    <a:pt x="400" y="45"/>
                    <a:pt x="399" y="49"/>
                    <a:pt x="400" y="53"/>
                  </a:cubicBezTo>
                  <a:cubicBezTo>
                    <a:pt x="401" y="54"/>
                    <a:pt x="403" y="53"/>
                    <a:pt x="404" y="53"/>
                  </a:cubicBezTo>
                  <a:cubicBezTo>
                    <a:pt x="406" y="52"/>
                    <a:pt x="407" y="49"/>
                    <a:pt x="409" y="49"/>
                  </a:cubicBezTo>
                  <a:cubicBezTo>
                    <a:pt x="411" y="49"/>
                    <a:pt x="410" y="52"/>
                    <a:pt x="411" y="53"/>
                  </a:cubicBezTo>
                  <a:cubicBezTo>
                    <a:pt x="413" y="56"/>
                    <a:pt x="417" y="58"/>
                    <a:pt x="417" y="62"/>
                  </a:cubicBezTo>
                  <a:cubicBezTo>
                    <a:pt x="419" y="67"/>
                    <a:pt x="416" y="72"/>
                    <a:pt x="417" y="78"/>
                  </a:cubicBezTo>
                  <a:cubicBezTo>
                    <a:pt x="417" y="82"/>
                    <a:pt x="420" y="86"/>
                    <a:pt x="422" y="91"/>
                  </a:cubicBezTo>
                  <a:cubicBezTo>
                    <a:pt x="423" y="93"/>
                    <a:pt x="425" y="96"/>
                    <a:pt x="425" y="98"/>
                  </a:cubicBezTo>
                  <a:cubicBezTo>
                    <a:pt x="425" y="102"/>
                    <a:pt x="422" y="105"/>
                    <a:pt x="422" y="109"/>
                  </a:cubicBezTo>
                  <a:cubicBezTo>
                    <a:pt x="422" y="113"/>
                    <a:pt x="422" y="118"/>
                    <a:pt x="425" y="121"/>
                  </a:cubicBezTo>
                  <a:cubicBezTo>
                    <a:pt x="426" y="124"/>
                    <a:pt x="430" y="126"/>
                    <a:pt x="433" y="127"/>
                  </a:cubicBezTo>
                  <a:cubicBezTo>
                    <a:pt x="434" y="128"/>
                    <a:pt x="437" y="126"/>
                    <a:pt x="438" y="127"/>
                  </a:cubicBezTo>
                  <a:cubicBezTo>
                    <a:pt x="439" y="128"/>
                    <a:pt x="438" y="131"/>
                    <a:pt x="439" y="133"/>
                  </a:cubicBezTo>
                  <a:cubicBezTo>
                    <a:pt x="440" y="134"/>
                    <a:pt x="442" y="134"/>
                    <a:pt x="444" y="135"/>
                  </a:cubicBezTo>
                  <a:cubicBezTo>
                    <a:pt x="446" y="136"/>
                    <a:pt x="449" y="137"/>
                    <a:pt x="451" y="139"/>
                  </a:cubicBezTo>
                  <a:cubicBezTo>
                    <a:pt x="452" y="140"/>
                    <a:pt x="453" y="141"/>
                    <a:pt x="453" y="143"/>
                  </a:cubicBezTo>
                  <a:cubicBezTo>
                    <a:pt x="453" y="144"/>
                    <a:pt x="451" y="145"/>
                    <a:pt x="452" y="146"/>
                  </a:cubicBezTo>
                  <a:cubicBezTo>
                    <a:pt x="453" y="149"/>
                    <a:pt x="457" y="150"/>
                    <a:pt x="458" y="153"/>
                  </a:cubicBezTo>
                  <a:cubicBezTo>
                    <a:pt x="460" y="159"/>
                    <a:pt x="457" y="165"/>
                    <a:pt x="459" y="170"/>
                  </a:cubicBezTo>
                  <a:cubicBezTo>
                    <a:pt x="459" y="172"/>
                    <a:pt x="461" y="174"/>
                    <a:pt x="463" y="173"/>
                  </a:cubicBezTo>
                  <a:cubicBezTo>
                    <a:pt x="465" y="173"/>
                    <a:pt x="465" y="170"/>
                    <a:pt x="466" y="170"/>
                  </a:cubicBezTo>
                  <a:cubicBezTo>
                    <a:pt x="468" y="169"/>
                    <a:pt x="469" y="171"/>
                    <a:pt x="471" y="172"/>
                  </a:cubicBezTo>
                  <a:cubicBezTo>
                    <a:pt x="472" y="172"/>
                    <a:pt x="473" y="171"/>
                    <a:pt x="474" y="172"/>
                  </a:cubicBezTo>
                  <a:cubicBezTo>
                    <a:pt x="475" y="175"/>
                    <a:pt x="475" y="179"/>
                    <a:pt x="474" y="183"/>
                  </a:cubicBezTo>
                  <a:cubicBezTo>
                    <a:pt x="474" y="185"/>
                    <a:pt x="469" y="186"/>
                    <a:pt x="470" y="188"/>
                  </a:cubicBezTo>
                  <a:cubicBezTo>
                    <a:pt x="472" y="190"/>
                    <a:pt x="476" y="188"/>
                    <a:pt x="478" y="190"/>
                  </a:cubicBezTo>
                  <a:cubicBezTo>
                    <a:pt x="482" y="193"/>
                    <a:pt x="483" y="198"/>
                    <a:pt x="486" y="201"/>
                  </a:cubicBezTo>
                  <a:cubicBezTo>
                    <a:pt x="488" y="204"/>
                    <a:pt x="490" y="206"/>
                    <a:pt x="491" y="209"/>
                  </a:cubicBezTo>
                  <a:cubicBezTo>
                    <a:pt x="493" y="211"/>
                    <a:pt x="494" y="213"/>
                    <a:pt x="494" y="215"/>
                  </a:cubicBezTo>
                  <a:cubicBezTo>
                    <a:pt x="495" y="218"/>
                    <a:pt x="493" y="220"/>
                    <a:pt x="494" y="222"/>
                  </a:cubicBezTo>
                  <a:cubicBezTo>
                    <a:pt x="494" y="225"/>
                    <a:pt x="496" y="228"/>
                    <a:pt x="496" y="231"/>
                  </a:cubicBezTo>
                  <a:cubicBezTo>
                    <a:pt x="496" y="236"/>
                    <a:pt x="492" y="241"/>
                    <a:pt x="492" y="246"/>
                  </a:cubicBezTo>
                  <a:cubicBezTo>
                    <a:pt x="492" y="251"/>
                    <a:pt x="494" y="256"/>
                    <a:pt x="494" y="262"/>
                  </a:cubicBezTo>
                  <a:cubicBezTo>
                    <a:pt x="494" y="266"/>
                    <a:pt x="494" y="271"/>
                    <a:pt x="493" y="275"/>
                  </a:cubicBezTo>
                  <a:cubicBezTo>
                    <a:pt x="491" y="280"/>
                    <a:pt x="489" y="284"/>
                    <a:pt x="487" y="289"/>
                  </a:cubicBezTo>
                  <a:cubicBezTo>
                    <a:pt x="484" y="296"/>
                    <a:pt x="483" y="303"/>
                    <a:pt x="480" y="310"/>
                  </a:cubicBezTo>
                  <a:cubicBezTo>
                    <a:pt x="478" y="315"/>
                    <a:pt x="476" y="320"/>
                    <a:pt x="472" y="324"/>
                  </a:cubicBezTo>
                  <a:cubicBezTo>
                    <a:pt x="469" y="328"/>
                    <a:pt x="464" y="329"/>
                    <a:pt x="461" y="332"/>
                  </a:cubicBezTo>
                  <a:cubicBezTo>
                    <a:pt x="458" y="335"/>
                    <a:pt x="457" y="338"/>
                    <a:pt x="456" y="341"/>
                  </a:cubicBezTo>
                  <a:cubicBezTo>
                    <a:pt x="454" y="343"/>
                    <a:pt x="453" y="346"/>
                    <a:pt x="451" y="348"/>
                  </a:cubicBezTo>
                  <a:cubicBezTo>
                    <a:pt x="449" y="351"/>
                    <a:pt x="447" y="354"/>
                    <a:pt x="445" y="358"/>
                  </a:cubicBezTo>
                  <a:cubicBezTo>
                    <a:pt x="444" y="360"/>
                    <a:pt x="444" y="364"/>
                    <a:pt x="443" y="366"/>
                  </a:cubicBezTo>
                  <a:cubicBezTo>
                    <a:pt x="441" y="368"/>
                    <a:pt x="437" y="369"/>
                    <a:pt x="436" y="371"/>
                  </a:cubicBezTo>
                  <a:cubicBezTo>
                    <a:pt x="433" y="376"/>
                    <a:pt x="431" y="381"/>
                    <a:pt x="429" y="387"/>
                  </a:cubicBezTo>
                  <a:cubicBezTo>
                    <a:pt x="427" y="392"/>
                    <a:pt x="428" y="397"/>
                    <a:pt x="426" y="402"/>
                  </a:cubicBezTo>
                  <a:cubicBezTo>
                    <a:pt x="424" y="405"/>
                    <a:pt x="421" y="408"/>
                    <a:pt x="418" y="409"/>
                  </a:cubicBezTo>
                  <a:cubicBezTo>
                    <a:pt x="412" y="411"/>
                    <a:pt x="405" y="409"/>
                    <a:pt x="398" y="411"/>
                  </a:cubicBezTo>
                  <a:cubicBezTo>
                    <a:pt x="394" y="413"/>
                    <a:pt x="391" y="417"/>
                    <a:pt x="388" y="420"/>
                  </a:cubicBezTo>
                  <a:cubicBezTo>
                    <a:pt x="384" y="422"/>
                    <a:pt x="380" y="425"/>
                    <a:pt x="375" y="426"/>
                  </a:cubicBezTo>
                  <a:cubicBezTo>
                    <a:pt x="373" y="426"/>
                    <a:pt x="371" y="424"/>
                    <a:pt x="369" y="423"/>
                  </a:cubicBezTo>
                  <a:cubicBezTo>
                    <a:pt x="368" y="422"/>
                    <a:pt x="368" y="419"/>
                    <a:pt x="366" y="418"/>
                  </a:cubicBezTo>
                  <a:cubicBezTo>
                    <a:pt x="365" y="417"/>
                    <a:pt x="362" y="421"/>
                    <a:pt x="361" y="419"/>
                  </a:cubicBezTo>
                  <a:cubicBezTo>
                    <a:pt x="359" y="417"/>
                    <a:pt x="364" y="415"/>
                    <a:pt x="363" y="413"/>
                  </a:cubicBezTo>
                  <a:cubicBezTo>
                    <a:pt x="362" y="411"/>
                    <a:pt x="360" y="414"/>
                    <a:pt x="358" y="414"/>
                  </a:cubicBezTo>
                  <a:cubicBezTo>
                    <a:pt x="356" y="416"/>
                    <a:pt x="354" y="419"/>
                    <a:pt x="352" y="420"/>
                  </a:cubicBezTo>
                  <a:cubicBezTo>
                    <a:pt x="349" y="423"/>
                    <a:pt x="346" y="425"/>
                    <a:pt x="342" y="427"/>
                  </a:cubicBezTo>
                  <a:cubicBezTo>
                    <a:pt x="340" y="427"/>
                    <a:pt x="339" y="426"/>
                    <a:pt x="338" y="425"/>
                  </a:cubicBezTo>
                  <a:cubicBezTo>
                    <a:pt x="335" y="422"/>
                    <a:pt x="333" y="418"/>
                    <a:pt x="330" y="417"/>
                  </a:cubicBezTo>
                  <a:cubicBezTo>
                    <a:pt x="328" y="415"/>
                    <a:pt x="324" y="418"/>
                    <a:pt x="321" y="417"/>
                  </a:cubicBezTo>
                  <a:cubicBezTo>
                    <a:pt x="319" y="416"/>
                    <a:pt x="316" y="414"/>
                    <a:pt x="314" y="413"/>
                  </a:cubicBezTo>
                  <a:cubicBezTo>
                    <a:pt x="311" y="412"/>
                    <a:pt x="308" y="412"/>
                    <a:pt x="307" y="411"/>
                  </a:cubicBezTo>
                  <a:cubicBezTo>
                    <a:pt x="304" y="408"/>
                    <a:pt x="301" y="404"/>
                    <a:pt x="301" y="400"/>
                  </a:cubicBezTo>
                  <a:cubicBezTo>
                    <a:pt x="300" y="397"/>
                    <a:pt x="304" y="394"/>
                    <a:pt x="304" y="391"/>
                  </a:cubicBezTo>
                  <a:cubicBezTo>
                    <a:pt x="304" y="386"/>
                    <a:pt x="302" y="381"/>
                    <a:pt x="301" y="377"/>
                  </a:cubicBezTo>
                  <a:cubicBezTo>
                    <a:pt x="301" y="375"/>
                    <a:pt x="303" y="371"/>
                    <a:pt x="301" y="370"/>
                  </a:cubicBezTo>
                  <a:cubicBezTo>
                    <a:pt x="299" y="370"/>
                    <a:pt x="297" y="374"/>
                    <a:pt x="294" y="375"/>
                  </a:cubicBezTo>
                  <a:cubicBezTo>
                    <a:pt x="292" y="375"/>
                    <a:pt x="289" y="376"/>
                    <a:pt x="287" y="375"/>
                  </a:cubicBezTo>
                  <a:cubicBezTo>
                    <a:pt x="285" y="374"/>
                    <a:pt x="286" y="372"/>
                    <a:pt x="287" y="371"/>
                  </a:cubicBezTo>
                  <a:cubicBezTo>
                    <a:pt x="288" y="368"/>
                    <a:pt x="293" y="366"/>
                    <a:pt x="293" y="362"/>
                  </a:cubicBezTo>
                  <a:cubicBezTo>
                    <a:pt x="294" y="358"/>
                    <a:pt x="291" y="355"/>
                    <a:pt x="289" y="352"/>
                  </a:cubicBezTo>
                  <a:cubicBezTo>
                    <a:pt x="288" y="351"/>
                    <a:pt x="287" y="352"/>
                    <a:pt x="287" y="353"/>
                  </a:cubicBezTo>
                  <a:cubicBezTo>
                    <a:pt x="285" y="357"/>
                    <a:pt x="285" y="362"/>
                    <a:pt x="283" y="366"/>
                  </a:cubicBezTo>
                  <a:cubicBezTo>
                    <a:pt x="282" y="367"/>
                    <a:pt x="280" y="368"/>
                    <a:pt x="278" y="368"/>
                  </a:cubicBezTo>
                  <a:cubicBezTo>
                    <a:pt x="275" y="369"/>
                    <a:pt x="271" y="371"/>
                    <a:pt x="270" y="368"/>
                  </a:cubicBezTo>
                  <a:cubicBezTo>
                    <a:pt x="269" y="366"/>
                    <a:pt x="273" y="363"/>
                    <a:pt x="275" y="362"/>
                  </a:cubicBezTo>
                  <a:cubicBezTo>
                    <a:pt x="277" y="361"/>
                    <a:pt x="279" y="364"/>
                    <a:pt x="280" y="362"/>
                  </a:cubicBezTo>
                  <a:cubicBezTo>
                    <a:pt x="283" y="357"/>
                    <a:pt x="284" y="350"/>
                    <a:pt x="286" y="344"/>
                  </a:cubicBezTo>
                  <a:cubicBezTo>
                    <a:pt x="288" y="340"/>
                    <a:pt x="289" y="337"/>
                    <a:pt x="290" y="334"/>
                  </a:cubicBezTo>
                  <a:cubicBezTo>
                    <a:pt x="291" y="332"/>
                    <a:pt x="292" y="329"/>
                    <a:pt x="290" y="330"/>
                  </a:cubicBezTo>
                  <a:cubicBezTo>
                    <a:pt x="287" y="332"/>
                    <a:pt x="285" y="336"/>
                    <a:pt x="282" y="339"/>
                  </a:cubicBezTo>
                  <a:cubicBezTo>
                    <a:pt x="279" y="342"/>
                    <a:pt x="275" y="344"/>
                    <a:pt x="272" y="347"/>
                  </a:cubicBezTo>
                  <a:cubicBezTo>
                    <a:pt x="268" y="350"/>
                    <a:pt x="264" y="353"/>
                    <a:pt x="260" y="357"/>
                  </a:cubicBezTo>
                  <a:cubicBezTo>
                    <a:pt x="260" y="358"/>
                    <a:pt x="262" y="359"/>
                    <a:pt x="262" y="360"/>
                  </a:cubicBezTo>
                  <a:cubicBezTo>
                    <a:pt x="262" y="362"/>
                    <a:pt x="263" y="365"/>
                    <a:pt x="261" y="365"/>
                  </a:cubicBezTo>
                  <a:cubicBezTo>
                    <a:pt x="258" y="364"/>
                    <a:pt x="255" y="362"/>
                    <a:pt x="253" y="359"/>
                  </a:cubicBezTo>
                  <a:cubicBezTo>
                    <a:pt x="253" y="357"/>
                    <a:pt x="255" y="355"/>
                    <a:pt x="255" y="354"/>
                  </a:cubicBezTo>
                  <a:cubicBezTo>
                    <a:pt x="254" y="348"/>
                    <a:pt x="253" y="343"/>
                    <a:pt x="250" y="338"/>
                  </a:cubicBezTo>
                  <a:cubicBezTo>
                    <a:pt x="249" y="336"/>
                    <a:pt x="245" y="336"/>
                    <a:pt x="244" y="334"/>
                  </a:cubicBezTo>
                  <a:cubicBezTo>
                    <a:pt x="243" y="332"/>
                    <a:pt x="247" y="329"/>
                    <a:pt x="246" y="327"/>
                  </a:cubicBezTo>
                  <a:cubicBezTo>
                    <a:pt x="243" y="323"/>
                    <a:pt x="238" y="322"/>
                    <a:pt x="234" y="320"/>
                  </a:cubicBezTo>
                  <a:cubicBezTo>
                    <a:pt x="231" y="319"/>
                    <a:pt x="228" y="321"/>
                    <a:pt x="225" y="319"/>
                  </a:cubicBezTo>
                  <a:cubicBezTo>
                    <a:pt x="221" y="318"/>
                    <a:pt x="219" y="312"/>
                    <a:pt x="214" y="311"/>
                  </a:cubicBezTo>
                  <a:cubicBezTo>
                    <a:pt x="204" y="310"/>
                    <a:pt x="193" y="311"/>
                    <a:pt x="183" y="314"/>
                  </a:cubicBezTo>
                  <a:cubicBezTo>
                    <a:pt x="177" y="315"/>
                    <a:pt x="172" y="321"/>
                    <a:pt x="166" y="323"/>
                  </a:cubicBezTo>
                  <a:cubicBezTo>
                    <a:pt x="160" y="324"/>
                    <a:pt x="154" y="320"/>
                    <a:pt x="148" y="321"/>
                  </a:cubicBezTo>
                  <a:cubicBezTo>
                    <a:pt x="141" y="323"/>
                    <a:pt x="135" y="327"/>
                    <a:pt x="128" y="330"/>
                  </a:cubicBezTo>
                  <a:cubicBezTo>
                    <a:pt x="125" y="332"/>
                    <a:pt x="121" y="333"/>
                    <a:pt x="119" y="336"/>
                  </a:cubicBezTo>
                  <a:cubicBezTo>
                    <a:pt x="116" y="338"/>
                    <a:pt x="115" y="344"/>
                    <a:pt x="111" y="346"/>
                  </a:cubicBezTo>
                  <a:cubicBezTo>
                    <a:pt x="106" y="348"/>
                    <a:pt x="99" y="346"/>
                    <a:pt x="93" y="346"/>
                  </a:cubicBezTo>
                  <a:cubicBezTo>
                    <a:pt x="85" y="347"/>
                    <a:pt x="76" y="345"/>
                    <a:pt x="67" y="348"/>
                  </a:cubicBezTo>
                  <a:cubicBezTo>
                    <a:pt x="63" y="349"/>
                    <a:pt x="62" y="354"/>
                    <a:pt x="58" y="356"/>
                  </a:cubicBezTo>
                  <a:cubicBezTo>
                    <a:pt x="56" y="357"/>
                    <a:pt x="54" y="356"/>
                    <a:pt x="52" y="357"/>
                  </a:cubicBezTo>
                  <a:cubicBezTo>
                    <a:pt x="48" y="359"/>
                    <a:pt x="46" y="364"/>
                    <a:pt x="42" y="365"/>
                  </a:cubicBezTo>
                  <a:cubicBezTo>
                    <a:pt x="37" y="367"/>
                    <a:pt x="32" y="365"/>
                    <a:pt x="27" y="366"/>
                  </a:cubicBezTo>
                  <a:cubicBezTo>
                    <a:pt x="22" y="365"/>
                    <a:pt x="19" y="361"/>
                    <a:pt x="15" y="358"/>
                  </a:cubicBezTo>
                  <a:cubicBezTo>
                    <a:pt x="12" y="355"/>
                    <a:pt x="8" y="353"/>
                    <a:pt x="7" y="349"/>
                  </a:cubicBezTo>
                  <a:cubicBezTo>
                    <a:pt x="5" y="347"/>
                    <a:pt x="6" y="344"/>
                    <a:pt x="7" y="342"/>
                  </a:cubicBezTo>
                  <a:cubicBezTo>
                    <a:pt x="9" y="340"/>
                    <a:pt x="13" y="344"/>
                    <a:pt x="14" y="342"/>
                  </a:cubicBezTo>
                  <a:cubicBezTo>
                    <a:pt x="17" y="338"/>
                    <a:pt x="17" y="333"/>
                    <a:pt x="18" y="328"/>
                  </a:cubicBezTo>
                  <a:cubicBezTo>
                    <a:pt x="19" y="324"/>
                    <a:pt x="20" y="320"/>
                    <a:pt x="19" y="316"/>
                  </a:cubicBezTo>
                  <a:cubicBezTo>
                    <a:pt x="19" y="312"/>
                    <a:pt x="16" y="308"/>
                    <a:pt x="15" y="304"/>
                  </a:cubicBezTo>
                  <a:cubicBezTo>
                    <a:pt x="14" y="296"/>
                    <a:pt x="17" y="288"/>
                    <a:pt x="16" y="280"/>
                  </a:cubicBezTo>
                  <a:cubicBezTo>
                    <a:pt x="15" y="272"/>
                    <a:pt x="11" y="265"/>
                    <a:pt x="10" y="257"/>
                  </a:cubicBezTo>
                  <a:cubicBezTo>
                    <a:pt x="9" y="254"/>
                    <a:pt x="10" y="250"/>
                    <a:pt x="9" y="247"/>
                  </a:cubicBezTo>
                  <a:cubicBezTo>
                    <a:pt x="7" y="241"/>
                    <a:pt x="2" y="237"/>
                    <a:pt x="0" y="231"/>
                  </a:cubicBezTo>
                  <a:cubicBezTo>
                    <a:pt x="0" y="229"/>
                    <a:pt x="2" y="227"/>
                    <a:pt x="3" y="228"/>
                  </a:cubicBezTo>
                  <a:cubicBezTo>
                    <a:pt x="5" y="228"/>
                    <a:pt x="4" y="233"/>
                    <a:pt x="6" y="234"/>
                  </a:cubicBezTo>
                  <a:cubicBezTo>
                    <a:pt x="7" y="233"/>
                    <a:pt x="6" y="228"/>
                    <a:pt x="8" y="228"/>
                  </a:cubicBezTo>
                  <a:cubicBezTo>
                    <a:pt x="10" y="229"/>
                    <a:pt x="10" y="234"/>
                    <a:pt x="12" y="233"/>
                  </a:cubicBezTo>
                  <a:cubicBezTo>
                    <a:pt x="14" y="230"/>
                    <a:pt x="14" y="226"/>
                    <a:pt x="13" y="222"/>
                  </a:cubicBezTo>
                  <a:cubicBezTo>
                    <a:pt x="12" y="216"/>
                    <a:pt x="6" y="212"/>
                    <a:pt x="5" y="206"/>
                  </a:cubicBezTo>
                  <a:cubicBezTo>
                    <a:pt x="4" y="202"/>
                    <a:pt x="6" y="197"/>
                    <a:pt x="7" y="193"/>
                  </a:cubicBezTo>
                  <a:cubicBezTo>
                    <a:pt x="7" y="189"/>
                    <a:pt x="10" y="185"/>
                    <a:pt x="11" y="180"/>
                  </a:cubicBezTo>
                  <a:cubicBezTo>
                    <a:pt x="11" y="177"/>
                    <a:pt x="11" y="173"/>
                    <a:pt x="11" y="169"/>
                  </a:cubicBezTo>
                  <a:cubicBezTo>
                    <a:pt x="12" y="166"/>
                    <a:pt x="13" y="164"/>
                    <a:pt x="15" y="162"/>
                  </a:cubicBezTo>
                  <a:cubicBezTo>
                    <a:pt x="16" y="161"/>
                    <a:pt x="18" y="162"/>
                    <a:pt x="18" y="162"/>
                  </a:cubicBezTo>
                  <a:cubicBezTo>
                    <a:pt x="18" y="165"/>
                    <a:pt x="15" y="169"/>
                    <a:pt x="17" y="171"/>
                  </a:cubicBezTo>
                  <a:cubicBezTo>
                    <a:pt x="17" y="172"/>
                    <a:pt x="19" y="168"/>
                    <a:pt x="20" y="167"/>
                  </a:cubicBezTo>
                  <a:cubicBezTo>
                    <a:pt x="22" y="165"/>
                    <a:pt x="24" y="163"/>
                    <a:pt x="26" y="162"/>
                  </a:cubicBezTo>
                  <a:cubicBezTo>
                    <a:pt x="30" y="159"/>
                    <a:pt x="34" y="157"/>
                    <a:pt x="37" y="155"/>
                  </a:cubicBezTo>
                  <a:cubicBezTo>
                    <a:pt x="40" y="153"/>
                    <a:pt x="43" y="150"/>
                    <a:pt x="46" y="148"/>
                  </a:cubicBezTo>
                  <a:cubicBezTo>
                    <a:pt x="47" y="147"/>
                    <a:pt x="48" y="146"/>
                    <a:pt x="50" y="14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8" name="Freeform 578"/>
            <p:cNvSpPr>
              <a:spLocks noChangeAspect="1"/>
            </p:cNvSpPr>
            <p:nvPr/>
          </p:nvSpPr>
          <p:spPr bwMode="auto">
            <a:xfrm>
              <a:off x="7678738" y="4511675"/>
              <a:ext cx="26987" cy="14288"/>
            </a:xfrm>
            <a:custGeom>
              <a:avLst/>
              <a:gdLst>
                <a:gd name="T0" fmla="*/ 1928 w 14"/>
                <a:gd name="T1" fmla="*/ 0 h 8"/>
                <a:gd name="T2" fmla="*/ 7711 w 14"/>
                <a:gd name="T3" fmla="*/ 7144 h 8"/>
                <a:gd name="T4" fmla="*/ 21204 w 14"/>
                <a:gd name="T5" fmla="*/ 1786 h 8"/>
                <a:gd name="T6" fmla="*/ 25059 w 14"/>
                <a:gd name="T7" fmla="*/ 7144 h 8"/>
                <a:gd name="T8" fmla="*/ 11566 w 14"/>
                <a:gd name="T9" fmla="*/ 14288 h 8"/>
                <a:gd name="T10" fmla="*/ 1928 w 14"/>
                <a:gd name="T11" fmla="*/ 10716 h 8"/>
                <a:gd name="T12" fmla="*/ 0 w 14"/>
                <a:gd name="T13" fmla="*/ 1786 h 8"/>
                <a:gd name="T14" fmla="*/ 1928 w 14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8"/>
                <a:gd name="T26" fmla="*/ 14 w 14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8">
                  <a:moveTo>
                    <a:pt x="1" y="0"/>
                  </a:moveTo>
                  <a:cubicBezTo>
                    <a:pt x="2" y="1"/>
                    <a:pt x="2" y="4"/>
                    <a:pt x="4" y="4"/>
                  </a:cubicBezTo>
                  <a:cubicBezTo>
                    <a:pt x="6" y="4"/>
                    <a:pt x="8" y="1"/>
                    <a:pt x="11" y="1"/>
                  </a:cubicBezTo>
                  <a:cubicBezTo>
                    <a:pt x="12" y="1"/>
                    <a:pt x="14" y="3"/>
                    <a:pt x="13" y="4"/>
                  </a:cubicBezTo>
                  <a:cubicBezTo>
                    <a:pt x="11" y="6"/>
                    <a:pt x="9" y="8"/>
                    <a:pt x="6" y="8"/>
                  </a:cubicBezTo>
                  <a:cubicBezTo>
                    <a:pt x="4" y="8"/>
                    <a:pt x="2" y="7"/>
                    <a:pt x="1" y="6"/>
                  </a:cubicBezTo>
                  <a:cubicBezTo>
                    <a:pt x="0" y="4"/>
                    <a:pt x="0" y="3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79" name="Freeform 579"/>
            <p:cNvSpPr>
              <a:spLocks noChangeAspect="1"/>
            </p:cNvSpPr>
            <p:nvPr/>
          </p:nvSpPr>
          <p:spPr bwMode="auto">
            <a:xfrm>
              <a:off x="7669213" y="4514850"/>
              <a:ext cx="9525" cy="11113"/>
            </a:xfrm>
            <a:custGeom>
              <a:avLst/>
              <a:gdLst>
                <a:gd name="T0" fmla="*/ 5715 w 5"/>
                <a:gd name="T1" fmla="*/ 0 h 6"/>
                <a:gd name="T2" fmla="*/ 0 w 5"/>
                <a:gd name="T3" fmla="*/ 9261 h 6"/>
                <a:gd name="T4" fmla="*/ 9525 w 5"/>
                <a:gd name="T5" fmla="*/ 9261 h 6"/>
                <a:gd name="T6" fmla="*/ 5715 w 5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3" y="0"/>
                  </a:moveTo>
                  <a:cubicBezTo>
                    <a:pt x="3" y="0"/>
                    <a:pt x="2" y="4"/>
                    <a:pt x="0" y="5"/>
                  </a:cubicBezTo>
                  <a:cubicBezTo>
                    <a:pt x="1" y="6"/>
                    <a:pt x="5" y="6"/>
                    <a:pt x="5" y="5"/>
                  </a:cubicBezTo>
                  <a:cubicBezTo>
                    <a:pt x="5" y="4"/>
                    <a:pt x="4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0" name="Freeform 580"/>
            <p:cNvSpPr>
              <a:spLocks noChangeAspect="1"/>
            </p:cNvSpPr>
            <p:nvPr/>
          </p:nvSpPr>
          <p:spPr bwMode="auto">
            <a:xfrm>
              <a:off x="7810500" y="4581525"/>
              <a:ext cx="19050" cy="15875"/>
            </a:xfrm>
            <a:custGeom>
              <a:avLst/>
              <a:gdLst>
                <a:gd name="T0" fmla="*/ 3810 w 10"/>
                <a:gd name="T1" fmla="*/ 1984 h 8"/>
                <a:gd name="T2" fmla="*/ 3810 w 10"/>
                <a:gd name="T3" fmla="*/ 11906 h 8"/>
                <a:gd name="T4" fmla="*/ 17145 w 10"/>
                <a:gd name="T5" fmla="*/ 13891 h 8"/>
                <a:gd name="T6" fmla="*/ 15240 w 10"/>
                <a:gd name="T7" fmla="*/ 7938 h 8"/>
                <a:gd name="T8" fmla="*/ 17145 w 10"/>
                <a:gd name="T9" fmla="*/ 1984 h 8"/>
                <a:gd name="T10" fmla="*/ 11430 w 10"/>
                <a:gd name="T11" fmla="*/ 3969 h 8"/>
                <a:gd name="T12" fmla="*/ 7620 w 10"/>
                <a:gd name="T13" fmla="*/ 0 h 8"/>
                <a:gd name="T14" fmla="*/ 7620 w 10"/>
                <a:gd name="T15" fmla="*/ 3969 h 8"/>
                <a:gd name="T16" fmla="*/ 3810 w 10"/>
                <a:gd name="T17" fmla="*/ 1984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8"/>
                <a:gd name="T29" fmla="*/ 10 w 1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8">
                  <a:moveTo>
                    <a:pt x="2" y="1"/>
                  </a:moveTo>
                  <a:cubicBezTo>
                    <a:pt x="1" y="2"/>
                    <a:pt x="0" y="5"/>
                    <a:pt x="2" y="6"/>
                  </a:cubicBezTo>
                  <a:cubicBezTo>
                    <a:pt x="3" y="8"/>
                    <a:pt x="6" y="8"/>
                    <a:pt x="9" y="7"/>
                  </a:cubicBezTo>
                  <a:cubicBezTo>
                    <a:pt x="10" y="7"/>
                    <a:pt x="8" y="5"/>
                    <a:pt x="8" y="4"/>
                  </a:cubicBezTo>
                  <a:cubicBezTo>
                    <a:pt x="8" y="3"/>
                    <a:pt x="10" y="2"/>
                    <a:pt x="9" y="1"/>
                  </a:cubicBezTo>
                  <a:cubicBezTo>
                    <a:pt x="8" y="0"/>
                    <a:pt x="7" y="2"/>
                    <a:pt x="6" y="2"/>
                  </a:cubicBezTo>
                  <a:cubicBezTo>
                    <a:pt x="5" y="2"/>
                    <a:pt x="5" y="0"/>
                    <a:pt x="4" y="0"/>
                  </a:cubicBezTo>
                  <a:cubicBezTo>
                    <a:pt x="4" y="0"/>
                    <a:pt x="4" y="2"/>
                    <a:pt x="4" y="2"/>
                  </a:cubicBezTo>
                  <a:cubicBezTo>
                    <a:pt x="3" y="2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1" name="Freeform 581"/>
            <p:cNvSpPr>
              <a:spLocks noChangeAspect="1"/>
            </p:cNvSpPr>
            <p:nvPr/>
          </p:nvSpPr>
          <p:spPr bwMode="auto">
            <a:xfrm>
              <a:off x="7826375" y="4627563"/>
              <a:ext cx="7938" cy="11112"/>
            </a:xfrm>
            <a:custGeom>
              <a:avLst/>
              <a:gdLst>
                <a:gd name="T0" fmla="*/ 5953 w 4"/>
                <a:gd name="T1" fmla="*/ 1852 h 6"/>
                <a:gd name="T2" fmla="*/ 5953 w 4"/>
                <a:gd name="T3" fmla="*/ 11112 h 6"/>
                <a:gd name="T4" fmla="*/ 0 w 4"/>
                <a:gd name="T5" fmla="*/ 9260 h 6"/>
                <a:gd name="T6" fmla="*/ 0 w 4"/>
                <a:gd name="T7" fmla="*/ 3704 h 6"/>
                <a:gd name="T8" fmla="*/ 5953 w 4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3" y="1"/>
                  </a:moveTo>
                  <a:cubicBezTo>
                    <a:pt x="3" y="2"/>
                    <a:pt x="4" y="4"/>
                    <a:pt x="3" y="6"/>
                  </a:cubicBezTo>
                  <a:cubicBezTo>
                    <a:pt x="3" y="6"/>
                    <a:pt x="1" y="6"/>
                    <a:pt x="0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2" name="Freeform 582"/>
            <p:cNvSpPr>
              <a:spLocks noChangeAspect="1"/>
            </p:cNvSpPr>
            <p:nvPr/>
          </p:nvSpPr>
          <p:spPr bwMode="auto">
            <a:xfrm>
              <a:off x="8178800" y="4895850"/>
              <a:ext cx="11113" cy="22225"/>
            </a:xfrm>
            <a:custGeom>
              <a:avLst/>
              <a:gdLst>
                <a:gd name="T0" fmla="*/ 9261 w 6"/>
                <a:gd name="T1" fmla="*/ 0 h 12"/>
                <a:gd name="T2" fmla="*/ 11113 w 6"/>
                <a:gd name="T3" fmla="*/ 3704 h 12"/>
                <a:gd name="T4" fmla="*/ 3704 w 6"/>
                <a:gd name="T5" fmla="*/ 22225 h 12"/>
                <a:gd name="T6" fmla="*/ 0 w 6"/>
                <a:gd name="T7" fmla="*/ 18521 h 12"/>
                <a:gd name="T8" fmla="*/ 1852 w 6"/>
                <a:gd name="T9" fmla="*/ 7408 h 12"/>
                <a:gd name="T10" fmla="*/ 9261 w 6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2"/>
                <a:gd name="T20" fmla="*/ 6 w 6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2">
                  <a:moveTo>
                    <a:pt x="5" y="0"/>
                  </a:moveTo>
                  <a:cubicBezTo>
                    <a:pt x="5" y="0"/>
                    <a:pt x="6" y="1"/>
                    <a:pt x="6" y="2"/>
                  </a:cubicBezTo>
                  <a:cubicBezTo>
                    <a:pt x="5" y="5"/>
                    <a:pt x="4" y="9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8"/>
                    <a:pt x="0" y="6"/>
                    <a:pt x="1" y="4"/>
                  </a:cubicBezTo>
                  <a:cubicBezTo>
                    <a:pt x="2" y="2"/>
                    <a:pt x="3" y="1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3" name="Freeform 583"/>
            <p:cNvSpPr>
              <a:spLocks noChangeAspect="1"/>
            </p:cNvSpPr>
            <p:nvPr/>
          </p:nvSpPr>
          <p:spPr bwMode="auto">
            <a:xfrm>
              <a:off x="7978775" y="5335588"/>
              <a:ext cx="9525" cy="19050"/>
            </a:xfrm>
            <a:custGeom>
              <a:avLst/>
              <a:gdLst>
                <a:gd name="T0" fmla="*/ 0 w 5"/>
                <a:gd name="T1" fmla="*/ 3810 h 10"/>
                <a:gd name="T2" fmla="*/ 5715 w 5"/>
                <a:gd name="T3" fmla="*/ 1905 h 10"/>
                <a:gd name="T4" fmla="*/ 9525 w 5"/>
                <a:gd name="T5" fmla="*/ 11430 h 10"/>
                <a:gd name="T6" fmla="*/ 7620 w 5"/>
                <a:gd name="T7" fmla="*/ 19050 h 10"/>
                <a:gd name="T8" fmla="*/ 1905 w 5"/>
                <a:gd name="T9" fmla="*/ 13335 h 10"/>
                <a:gd name="T10" fmla="*/ 0 w 5"/>
                <a:gd name="T11" fmla="*/ 381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0"/>
                <a:gd name="T20" fmla="*/ 5 w 5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0">
                  <a:moveTo>
                    <a:pt x="0" y="2"/>
                  </a:moveTo>
                  <a:cubicBezTo>
                    <a:pt x="0" y="1"/>
                    <a:pt x="2" y="0"/>
                    <a:pt x="3" y="1"/>
                  </a:cubicBezTo>
                  <a:cubicBezTo>
                    <a:pt x="4" y="2"/>
                    <a:pt x="5" y="4"/>
                    <a:pt x="5" y="6"/>
                  </a:cubicBezTo>
                  <a:cubicBezTo>
                    <a:pt x="5" y="7"/>
                    <a:pt x="5" y="10"/>
                    <a:pt x="4" y="10"/>
                  </a:cubicBezTo>
                  <a:cubicBezTo>
                    <a:pt x="2" y="10"/>
                    <a:pt x="2" y="8"/>
                    <a:pt x="1" y="7"/>
                  </a:cubicBezTo>
                  <a:cubicBezTo>
                    <a:pt x="0" y="5"/>
                    <a:pt x="0" y="4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4" name="Freeform 584"/>
            <p:cNvSpPr>
              <a:spLocks noChangeAspect="1"/>
            </p:cNvSpPr>
            <p:nvPr/>
          </p:nvSpPr>
          <p:spPr bwMode="auto">
            <a:xfrm>
              <a:off x="7897813" y="5364163"/>
              <a:ext cx="80962" cy="95250"/>
            </a:xfrm>
            <a:custGeom>
              <a:avLst/>
              <a:gdLst>
                <a:gd name="T0" fmla="*/ 30843 w 42"/>
                <a:gd name="T1" fmla="*/ 15240 h 50"/>
                <a:gd name="T2" fmla="*/ 46264 w 42"/>
                <a:gd name="T3" fmla="*/ 15240 h 50"/>
                <a:gd name="T4" fmla="*/ 63613 w 42"/>
                <a:gd name="T5" fmla="*/ 11430 h 50"/>
                <a:gd name="T6" fmla="*/ 77107 w 42"/>
                <a:gd name="T7" fmla="*/ 7620 h 50"/>
                <a:gd name="T8" fmla="*/ 80962 w 42"/>
                <a:gd name="T9" fmla="*/ 15240 h 50"/>
                <a:gd name="T10" fmla="*/ 75179 w 42"/>
                <a:gd name="T11" fmla="*/ 43815 h 50"/>
                <a:gd name="T12" fmla="*/ 69396 w 42"/>
                <a:gd name="T13" fmla="*/ 51435 h 50"/>
                <a:gd name="T14" fmla="*/ 61685 w 42"/>
                <a:gd name="T15" fmla="*/ 68580 h 50"/>
                <a:gd name="T16" fmla="*/ 59758 w 42"/>
                <a:gd name="T17" fmla="*/ 81915 h 50"/>
                <a:gd name="T18" fmla="*/ 55902 w 42"/>
                <a:gd name="T19" fmla="*/ 81915 h 50"/>
                <a:gd name="T20" fmla="*/ 53975 w 42"/>
                <a:gd name="T21" fmla="*/ 72390 h 50"/>
                <a:gd name="T22" fmla="*/ 48192 w 42"/>
                <a:gd name="T23" fmla="*/ 76200 h 50"/>
                <a:gd name="T24" fmla="*/ 44336 w 42"/>
                <a:gd name="T25" fmla="*/ 80010 h 50"/>
                <a:gd name="T26" fmla="*/ 36626 w 42"/>
                <a:gd name="T27" fmla="*/ 83820 h 50"/>
                <a:gd name="T28" fmla="*/ 28915 w 42"/>
                <a:gd name="T29" fmla="*/ 93345 h 50"/>
                <a:gd name="T30" fmla="*/ 25060 w 42"/>
                <a:gd name="T31" fmla="*/ 89535 h 50"/>
                <a:gd name="T32" fmla="*/ 15421 w 42"/>
                <a:gd name="T33" fmla="*/ 91440 h 50"/>
                <a:gd name="T34" fmla="*/ 9638 w 42"/>
                <a:gd name="T35" fmla="*/ 81915 h 50"/>
                <a:gd name="T36" fmla="*/ 3855 w 42"/>
                <a:gd name="T37" fmla="*/ 68580 h 50"/>
                <a:gd name="T38" fmla="*/ 3855 w 42"/>
                <a:gd name="T39" fmla="*/ 53340 h 50"/>
                <a:gd name="T40" fmla="*/ 9638 w 42"/>
                <a:gd name="T41" fmla="*/ 53340 h 50"/>
                <a:gd name="T42" fmla="*/ 0 w 42"/>
                <a:gd name="T43" fmla="*/ 28575 h 50"/>
                <a:gd name="T44" fmla="*/ 0 w 42"/>
                <a:gd name="T45" fmla="*/ 11430 h 50"/>
                <a:gd name="T46" fmla="*/ 5783 w 42"/>
                <a:gd name="T47" fmla="*/ 1905 h 50"/>
                <a:gd name="T48" fmla="*/ 15421 w 42"/>
                <a:gd name="T49" fmla="*/ 7620 h 50"/>
                <a:gd name="T50" fmla="*/ 30843 w 42"/>
                <a:gd name="T51" fmla="*/ 15240 h 5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2"/>
                <a:gd name="T79" fmla="*/ 0 h 50"/>
                <a:gd name="T80" fmla="*/ 42 w 42"/>
                <a:gd name="T81" fmla="*/ 50 h 5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2" h="50">
                  <a:moveTo>
                    <a:pt x="16" y="8"/>
                  </a:moveTo>
                  <a:cubicBezTo>
                    <a:pt x="19" y="9"/>
                    <a:pt x="22" y="8"/>
                    <a:pt x="24" y="8"/>
                  </a:cubicBezTo>
                  <a:cubicBezTo>
                    <a:pt x="27" y="7"/>
                    <a:pt x="30" y="6"/>
                    <a:pt x="33" y="6"/>
                  </a:cubicBezTo>
                  <a:cubicBezTo>
                    <a:pt x="35" y="5"/>
                    <a:pt x="37" y="4"/>
                    <a:pt x="40" y="4"/>
                  </a:cubicBezTo>
                  <a:cubicBezTo>
                    <a:pt x="41" y="4"/>
                    <a:pt x="42" y="6"/>
                    <a:pt x="42" y="8"/>
                  </a:cubicBezTo>
                  <a:cubicBezTo>
                    <a:pt x="42" y="13"/>
                    <a:pt x="41" y="18"/>
                    <a:pt x="39" y="23"/>
                  </a:cubicBezTo>
                  <a:cubicBezTo>
                    <a:pt x="39" y="25"/>
                    <a:pt x="37" y="26"/>
                    <a:pt x="36" y="27"/>
                  </a:cubicBezTo>
                  <a:cubicBezTo>
                    <a:pt x="34" y="30"/>
                    <a:pt x="32" y="33"/>
                    <a:pt x="32" y="36"/>
                  </a:cubicBezTo>
                  <a:cubicBezTo>
                    <a:pt x="31" y="38"/>
                    <a:pt x="32" y="41"/>
                    <a:pt x="31" y="43"/>
                  </a:cubicBezTo>
                  <a:cubicBezTo>
                    <a:pt x="31" y="44"/>
                    <a:pt x="29" y="43"/>
                    <a:pt x="29" y="43"/>
                  </a:cubicBezTo>
                  <a:cubicBezTo>
                    <a:pt x="28" y="41"/>
                    <a:pt x="29" y="39"/>
                    <a:pt x="28" y="38"/>
                  </a:cubicBezTo>
                  <a:cubicBezTo>
                    <a:pt x="27" y="37"/>
                    <a:pt x="26" y="39"/>
                    <a:pt x="25" y="40"/>
                  </a:cubicBezTo>
                  <a:cubicBezTo>
                    <a:pt x="24" y="41"/>
                    <a:pt x="23" y="41"/>
                    <a:pt x="23" y="42"/>
                  </a:cubicBezTo>
                  <a:cubicBezTo>
                    <a:pt x="21" y="43"/>
                    <a:pt x="20" y="44"/>
                    <a:pt x="19" y="44"/>
                  </a:cubicBezTo>
                  <a:cubicBezTo>
                    <a:pt x="18" y="46"/>
                    <a:pt x="17" y="48"/>
                    <a:pt x="15" y="49"/>
                  </a:cubicBezTo>
                  <a:cubicBezTo>
                    <a:pt x="14" y="50"/>
                    <a:pt x="14" y="47"/>
                    <a:pt x="13" y="47"/>
                  </a:cubicBezTo>
                  <a:cubicBezTo>
                    <a:pt x="11" y="47"/>
                    <a:pt x="9" y="49"/>
                    <a:pt x="8" y="48"/>
                  </a:cubicBezTo>
                  <a:cubicBezTo>
                    <a:pt x="6" y="47"/>
                    <a:pt x="5" y="45"/>
                    <a:pt x="5" y="43"/>
                  </a:cubicBezTo>
                  <a:cubicBezTo>
                    <a:pt x="4" y="41"/>
                    <a:pt x="3" y="38"/>
                    <a:pt x="2" y="36"/>
                  </a:cubicBezTo>
                  <a:cubicBezTo>
                    <a:pt x="2" y="33"/>
                    <a:pt x="1" y="31"/>
                    <a:pt x="2" y="28"/>
                  </a:cubicBezTo>
                  <a:cubicBezTo>
                    <a:pt x="2" y="27"/>
                    <a:pt x="5" y="29"/>
                    <a:pt x="5" y="28"/>
                  </a:cubicBezTo>
                  <a:cubicBezTo>
                    <a:pt x="4" y="24"/>
                    <a:pt x="1" y="20"/>
                    <a:pt x="0" y="15"/>
                  </a:cubicBezTo>
                  <a:cubicBezTo>
                    <a:pt x="0" y="12"/>
                    <a:pt x="0" y="9"/>
                    <a:pt x="0" y="6"/>
                  </a:cubicBezTo>
                  <a:cubicBezTo>
                    <a:pt x="1" y="4"/>
                    <a:pt x="1" y="1"/>
                    <a:pt x="3" y="1"/>
                  </a:cubicBezTo>
                  <a:cubicBezTo>
                    <a:pt x="5" y="0"/>
                    <a:pt x="6" y="3"/>
                    <a:pt x="8" y="4"/>
                  </a:cubicBezTo>
                  <a:cubicBezTo>
                    <a:pt x="11" y="5"/>
                    <a:pt x="13" y="7"/>
                    <a:pt x="16" y="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5" name="Freeform 585"/>
            <p:cNvSpPr>
              <a:spLocks noChangeAspect="1"/>
            </p:cNvSpPr>
            <p:nvPr/>
          </p:nvSpPr>
          <p:spPr bwMode="auto">
            <a:xfrm>
              <a:off x="7740650" y="5210175"/>
              <a:ext cx="36513" cy="17463"/>
            </a:xfrm>
            <a:custGeom>
              <a:avLst/>
              <a:gdLst>
                <a:gd name="T0" fmla="*/ 1922 w 19"/>
                <a:gd name="T1" fmla="*/ 3881 h 9"/>
                <a:gd name="T2" fmla="*/ 0 w 19"/>
                <a:gd name="T3" fmla="*/ 9702 h 9"/>
                <a:gd name="T4" fmla="*/ 9609 w 19"/>
                <a:gd name="T5" fmla="*/ 15523 h 9"/>
                <a:gd name="T6" fmla="*/ 15374 w 19"/>
                <a:gd name="T7" fmla="*/ 13582 h 9"/>
                <a:gd name="T8" fmla="*/ 21139 w 19"/>
                <a:gd name="T9" fmla="*/ 15523 h 9"/>
                <a:gd name="T10" fmla="*/ 28826 w 19"/>
                <a:gd name="T11" fmla="*/ 7761 h 9"/>
                <a:gd name="T12" fmla="*/ 34591 w 19"/>
                <a:gd name="T13" fmla="*/ 9702 h 9"/>
                <a:gd name="T14" fmla="*/ 36513 w 19"/>
                <a:gd name="T15" fmla="*/ 5821 h 9"/>
                <a:gd name="T16" fmla="*/ 32670 w 19"/>
                <a:gd name="T17" fmla="*/ 5821 h 9"/>
                <a:gd name="T18" fmla="*/ 26904 w 19"/>
                <a:gd name="T19" fmla="*/ 5821 h 9"/>
                <a:gd name="T20" fmla="*/ 24983 w 19"/>
                <a:gd name="T21" fmla="*/ 3881 h 9"/>
                <a:gd name="T22" fmla="*/ 24983 w 19"/>
                <a:gd name="T23" fmla="*/ 0 h 9"/>
                <a:gd name="T24" fmla="*/ 1922 w 19"/>
                <a:gd name="T25" fmla="*/ 3881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9"/>
                <a:gd name="T40" fmla="*/ 0 h 9"/>
                <a:gd name="T41" fmla="*/ 19 w 19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9" h="9">
                  <a:moveTo>
                    <a:pt x="1" y="2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1" y="7"/>
                    <a:pt x="3" y="8"/>
                    <a:pt x="5" y="8"/>
                  </a:cubicBezTo>
                  <a:cubicBezTo>
                    <a:pt x="6" y="8"/>
                    <a:pt x="7" y="7"/>
                    <a:pt x="8" y="7"/>
                  </a:cubicBezTo>
                  <a:cubicBezTo>
                    <a:pt x="10" y="7"/>
                    <a:pt x="10" y="9"/>
                    <a:pt x="11" y="8"/>
                  </a:cubicBezTo>
                  <a:cubicBezTo>
                    <a:pt x="13" y="8"/>
                    <a:pt x="14" y="5"/>
                    <a:pt x="15" y="4"/>
                  </a:cubicBezTo>
                  <a:cubicBezTo>
                    <a:pt x="16" y="4"/>
                    <a:pt x="17" y="5"/>
                    <a:pt x="18" y="5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8" y="3"/>
                    <a:pt x="17" y="3"/>
                    <a:pt x="17" y="3"/>
                  </a:cubicBezTo>
                  <a:cubicBezTo>
                    <a:pt x="16" y="3"/>
                    <a:pt x="15" y="3"/>
                    <a:pt x="14" y="3"/>
                  </a:cubicBezTo>
                  <a:cubicBezTo>
                    <a:pt x="14" y="3"/>
                    <a:pt x="13" y="3"/>
                    <a:pt x="13" y="2"/>
                  </a:cubicBezTo>
                  <a:cubicBezTo>
                    <a:pt x="13" y="1"/>
                    <a:pt x="14" y="0"/>
                    <a:pt x="13" y="0"/>
                  </a:cubicBezTo>
                  <a:cubicBezTo>
                    <a:pt x="9" y="0"/>
                    <a:pt x="4" y="0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6" name="Freeform 586"/>
            <p:cNvSpPr>
              <a:spLocks noChangeAspect="1"/>
            </p:cNvSpPr>
            <p:nvPr/>
          </p:nvSpPr>
          <p:spPr bwMode="auto">
            <a:xfrm>
              <a:off x="7567613" y="4584700"/>
              <a:ext cx="3175" cy="4763"/>
            </a:xfrm>
            <a:custGeom>
              <a:avLst/>
              <a:gdLst>
                <a:gd name="T0" fmla="*/ 3175 w 2"/>
                <a:gd name="T1" fmla="*/ 2382 h 2"/>
                <a:gd name="T2" fmla="*/ 1588 w 2"/>
                <a:gd name="T3" fmla="*/ 4763 h 2"/>
                <a:gd name="T4" fmla="*/ 0 w 2"/>
                <a:gd name="T5" fmla="*/ 2382 h 2"/>
                <a:gd name="T6" fmla="*/ 1588 w 2"/>
                <a:gd name="T7" fmla="*/ 0 h 2"/>
                <a:gd name="T8" fmla="*/ 3175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7" name="Freeform 587"/>
            <p:cNvSpPr>
              <a:spLocks noChangeAspect="1"/>
            </p:cNvSpPr>
            <p:nvPr/>
          </p:nvSpPr>
          <p:spPr bwMode="auto">
            <a:xfrm>
              <a:off x="5070475" y="1606550"/>
              <a:ext cx="4763" cy="9525"/>
            </a:xfrm>
            <a:custGeom>
              <a:avLst/>
              <a:gdLst>
                <a:gd name="T0" fmla="*/ 4763 w 2"/>
                <a:gd name="T1" fmla="*/ 5715 h 5"/>
                <a:gd name="T2" fmla="*/ 2382 w 2"/>
                <a:gd name="T3" fmla="*/ 9525 h 5"/>
                <a:gd name="T4" fmla="*/ 0 w 2"/>
                <a:gd name="T5" fmla="*/ 5715 h 5"/>
                <a:gd name="T6" fmla="*/ 2382 w 2"/>
                <a:gd name="T7" fmla="*/ 1905 h 5"/>
                <a:gd name="T8" fmla="*/ 4763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2" y="5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8" name="Freeform 588"/>
            <p:cNvSpPr>
              <a:spLocks noChangeAspect="1"/>
            </p:cNvSpPr>
            <p:nvPr/>
          </p:nvSpPr>
          <p:spPr bwMode="auto">
            <a:xfrm>
              <a:off x="4941888" y="1589088"/>
              <a:ext cx="6350" cy="4762"/>
            </a:xfrm>
            <a:custGeom>
              <a:avLst/>
              <a:gdLst>
                <a:gd name="T0" fmla="*/ 1588 w 4"/>
                <a:gd name="T1" fmla="*/ 4762 h 2"/>
                <a:gd name="T2" fmla="*/ 0 w 4"/>
                <a:gd name="T3" fmla="*/ 2381 h 2"/>
                <a:gd name="T4" fmla="*/ 3175 w 4"/>
                <a:gd name="T5" fmla="*/ 0 h 2"/>
                <a:gd name="T6" fmla="*/ 6350 w 4"/>
                <a:gd name="T7" fmla="*/ 2381 h 2"/>
                <a:gd name="T8" fmla="*/ 1588 w 4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4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89" name="Freeform 589"/>
            <p:cNvSpPr>
              <a:spLocks noChangeAspect="1"/>
            </p:cNvSpPr>
            <p:nvPr/>
          </p:nvSpPr>
          <p:spPr bwMode="auto">
            <a:xfrm>
              <a:off x="8769350" y="5459413"/>
              <a:ext cx="6350" cy="9525"/>
            </a:xfrm>
            <a:custGeom>
              <a:avLst/>
              <a:gdLst>
                <a:gd name="T0" fmla="*/ 6350 w 3"/>
                <a:gd name="T1" fmla="*/ 5715 h 5"/>
                <a:gd name="T2" fmla="*/ 2117 w 3"/>
                <a:gd name="T3" fmla="*/ 7620 h 5"/>
                <a:gd name="T4" fmla="*/ 0 w 3"/>
                <a:gd name="T5" fmla="*/ 3810 h 5"/>
                <a:gd name="T6" fmla="*/ 2117 w 3"/>
                <a:gd name="T7" fmla="*/ 0 h 5"/>
                <a:gd name="T8" fmla="*/ 6350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3"/>
                  </a:moveTo>
                  <a:cubicBezTo>
                    <a:pt x="3" y="3"/>
                    <a:pt x="2" y="5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" y="0"/>
                    <a:pt x="3" y="2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0" name="Freeform 590"/>
            <p:cNvSpPr>
              <a:spLocks noChangeAspect="1"/>
            </p:cNvSpPr>
            <p:nvPr/>
          </p:nvSpPr>
          <p:spPr bwMode="auto">
            <a:xfrm>
              <a:off x="5675313" y="2033588"/>
              <a:ext cx="14287" cy="1587"/>
            </a:xfrm>
            <a:custGeom>
              <a:avLst/>
              <a:gdLst>
                <a:gd name="T0" fmla="*/ 5358 w 8"/>
                <a:gd name="T1" fmla="*/ 1587 h 1"/>
                <a:gd name="T2" fmla="*/ 0 w 8"/>
                <a:gd name="T3" fmla="*/ 0 h 1"/>
                <a:gd name="T4" fmla="*/ 7144 w 8"/>
                <a:gd name="T5" fmla="*/ 0 h 1"/>
                <a:gd name="T6" fmla="*/ 12501 w 8"/>
                <a:gd name="T7" fmla="*/ 1587 h 1"/>
                <a:gd name="T8" fmla="*/ 5358 w 8"/>
                <a:gd name="T9" fmla="*/ 1587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"/>
                <a:gd name="T17" fmla="*/ 8 w 8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">
                  <a:moveTo>
                    <a:pt x="3" y="1"/>
                  </a:moveTo>
                  <a:cubicBezTo>
                    <a:pt x="2" y="1"/>
                    <a:pt x="0" y="1"/>
                    <a:pt x="0" y="0"/>
                  </a:cubicBezTo>
                  <a:cubicBezTo>
                    <a:pt x="1" y="0"/>
                    <a:pt x="2" y="0"/>
                    <a:pt x="4" y="0"/>
                  </a:cubicBezTo>
                  <a:cubicBezTo>
                    <a:pt x="5" y="0"/>
                    <a:pt x="8" y="0"/>
                    <a:pt x="7" y="1"/>
                  </a:cubicBezTo>
                  <a:cubicBezTo>
                    <a:pt x="7" y="1"/>
                    <a:pt x="4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1" name="Freeform 591"/>
            <p:cNvSpPr>
              <a:spLocks noChangeAspect="1"/>
            </p:cNvSpPr>
            <p:nvPr/>
          </p:nvSpPr>
          <p:spPr bwMode="auto">
            <a:xfrm>
              <a:off x="5743575" y="2039938"/>
              <a:ext cx="12700" cy="4762"/>
            </a:xfrm>
            <a:custGeom>
              <a:avLst/>
              <a:gdLst>
                <a:gd name="T0" fmla="*/ 3629 w 7"/>
                <a:gd name="T1" fmla="*/ 3175 h 3"/>
                <a:gd name="T2" fmla="*/ 0 w 7"/>
                <a:gd name="T3" fmla="*/ 3175 h 3"/>
                <a:gd name="T4" fmla="*/ 5443 w 7"/>
                <a:gd name="T5" fmla="*/ 1587 h 3"/>
                <a:gd name="T6" fmla="*/ 10886 w 7"/>
                <a:gd name="T7" fmla="*/ 1587 h 3"/>
                <a:gd name="T8" fmla="*/ 3629 w 7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"/>
                <a:gd name="T17" fmla="*/ 7 w 7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">
                  <a:moveTo>
                    <a:pt x="2" y="2"/>
                  </a:moveTo>
                  <a:cubicBezTo>
                    <a:pt x="2" y="3"/>
                    <a:pt x="0" y="3"/>
                    <a:pt x="0" y="2"/>
                  </a:cubicBezTo>
                  <a:cubicBezTo>
                    <a:pt x="0" y="2"/>
                    <a:pt x="2" y="1"/>
                    <a:pt x="3" y="1"/>
                  </a:cubicBezTo>
                  <a:cubicBezTo>
                    <a:pt x="4" y="0"/>
                    <a:pt x="7" y="0"/>
                    <a:pt x="6" y="1"/>
                  </a:cubicBezTo>
                  <a:cubicBezTo>
                    <a:pt x="6" y="1"/>
                    <a:pt x="4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2" name="Freeform 592"/>
            <p:cNvSpPr>
              <a:spLocks noChangeAspect="1"/>
            </p:cNvSpPr>
            <p:nvPr/>
          </p:nvSpPr>
          <p:spPr bwMode="auto">
            <a:xfrm>
              <a:off x="5775325" y="2012950"/>
              <a:ext cx="14288" cy="12700"/>
            </a:xfrm>
            <a:custGeom>
              <a:avLst/>
              <a:gdLst>
                <a:gd name="T0" fmla="*/ 4082 w 7"/>
                <a:gd name="T1" fmla="*/ 5443 h 7"/>
                <a:gd name="T2" fmla="*/ 0 w 7"/>
                <a:gd name="T3" fmla="*/ 0 h 7"/>
                <a:gd name="T4" fmla="*/ 8165 w 7"/>
                <a:gd name="T5" fmla="*/ 5443 h 7"/>
                <a:gd name="T6" fmla="*/ 12247 w 7"/>
                <a:gd name="T7" fmla="*/ 12700 h 7"/>
                <a:gd name="T8" fmla="*/ 4082 w 7"/>
                <a:gd name="T9" fmla="*/ 5443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2" y="3"/>
                  </a:move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3" y="2"/>
                    <a:pt x="4" y="3"/>
                  </a:cubicBezTo>
                  <a:cubicBezTo>
                    <a:pt x="5" y="4"/>
                    <a:pt x="7" y="7"/>
                    <a:pt x="6" y="7"/>
                  </a:cubicBezTo>
                  <a:cubicBezTo>
                    <a:pt x="5" y="7"/>
                    <a:pt x="3" y="5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3" name="Freeform 593"/>
            <p:cNvSpPr>
              <a:spLocks noChangeAspect="1"/>
            </p:cNvSpPr>
            <p:nvPr/>
          </p:nvSpPr>
          <p:spPr bwMode="auto">
            <a:xfrm>
              <a:off x="5440363" y="2117725"/>
              <a:ext cx="7937" cy="6350"/>
            </a:xfrm>
            <a:custGeom>
              <a:avLst/>
              <a:gdLst>
                <a:gd name="T0" fmla="*/ 5953 w 4"/>
                <a:gd name="T1" fmla="*/ 2117 h 3"/>
                <a:gd name="T2" fmla="*/ 5953 w 4"/>
                <a:gd name="T3" fmla="*/ 4233 h 3"/>
                <a:gd name="T4" fmla="*/ 3969 w 4"/>
                <a:gd name="T5" fmla="*/ 4233 h 3"/>
                <a:gd name="T6" fmla="*/ 1984 w 4"/>
                <a:gd name="T7" fmla="*/ 0 h 3"/>
                <a:gd name="T8" fmla="*/ 5953 w 4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1"/>
                  </a:moveTo>
                  <a:cubicBezTo>
                    <a:pt x="4" y="1"/>
                    <a:pt x="4" y="2"/>
                    <a:pt x="3" y="2"/>
                  </a:cubicBezTo>
                  <a:cubicBezTo>
                    <a:pt x="3" y="3"/>
                    <a:pt x="2" y="3"/>
                    <a:pt x="2" y="2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4" name="Freeform 594"/>
            <p:cNvSpPr>
              <a:spLocks noChangeAspect="1"/>
            </p:cNvSpPr>
            <p:nvPr/>
          </p:nvSpPr>
          <p:spPr bwMode="auto">
            <a:xfrm>
              <a:off x="5303838" y="2181225"/>
              <a:ext cx="3175" cy="4763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3 h 3"/>
                <a:gd name="T4" fmla="*/ 0 w 2"/>
                <a:gd name="T5" fmla="*/ 3175 h 3"/>
                <a:gd name="T6" fmla="*/ 1588 w 2"/>
                <a:gd name="T7" fmla="*/ 0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5" name="Freeform 595"/>
            <p:cNvSpPr>
              <a:spLocks noChangeAspect="1"/>
            </p:cNvSpPr>
            <p:nvPr/>
          </p:nvSpPr>
          <p:spPr bwMode="auto">
            <a:xfrm>
              <a:off x="4924425" y="1793875"/>
              <a:ext cx="7938" cy="4763"/>
            </a:xfrm>
            <a:custGeom>
              <a:avLst/>
              <a:gdLst>
                <a:gd name="T0" fmla="*/ 7938 w 4"/>
                <a:gd name="T1" fmla="*/ 3175 h 3"/>
                <a:gd name="T2" fmla="*/ 5953 w 4"/>
                <a:gd name="T3" fmla="*/ 4763 h 3"/>
                <a:gd name="T4" fmla="*/ 1985 w 4"/>
                <a:gd name="T5" fmla="*/ 3175 h 3"/>
                <a:gd name="T6" fmla="*/ 3969 w 4"/>
                <a:gd name="T7" fmla="*/ 0 h 3"/>
                <a:gd name="T8" fmla="*/ 7938 w 4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2"/>
                  </a:moveTo>
                  <a:cubicBezTo>
                    <a:pt x="4" y="2"/>
                    <a:pt x="4" y="3"/>
                    <a:pt x="3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1"/>
                    <a:pt x="0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6" name="Freeform 596"/>
            <p:cNvSpPr>
              <a:spLocks noChangeAspect="1"/>
            </p:cNvSpPr>
            <p:nvPr/>
          </p:nvSpPr>
          <p:spPr bwMode="auto">
            <a:xfrm>
              <a:off x="6194425" y="5764213"/>
              <a:ext cx="12700" cy="9525"/>
            </a:xfrm>
            <a:custGeom>
              <a:avLst/>
              <a:gdLst>
                <a:gd name="T0" fmla="*/ 4233 w 6"/>
                <a:gd name="T1" fmla="*/ 7620 h 5"/>
                <a:gd name="T2" fmla="*/ 2117 w 6"/>
                <a:gd name="T3" fmla="*/ 3810 h 5"/>
                <a:gd name="T4" fmla="*/ 6350 w 6"/>
                <a:gd name="T5" fmla="*/ 1905 h 5"/>
                <a:gd name="T6" fmla="*/ 12700 w 6"/>
                <a:gd name="T7" fmla="*/ 5715 h 5"/>
                <a:gd name="T8" fmla="*/ 4233 w 6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2" y="4"/>
                  </a:moveTo>
                  <a:cubicBezTo>
                    <a:pt x="1" y="3"/>
                    <a:pt x="0" y="3"/>
                    <a:pt x="1" y="2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4" y="1"/>
                    <a:pt x="6" y="2"/>
                    <a:pt x="6" y="3"/>
                  </a:cubicBezTo>
                  <a:cubicBezTo>
                    <a:pt x="5" y="5"/>
                    <a:pt x="3" y="4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7" name="Freeform 597"/>
            <p:cNvSpPr>
              <a:spLocks noChangeAspect="1"/>
            </p:cNvSpPr>
            <p:nvPr/>
          </p:nvSpPr>
          <p:spPr bwMode="auto">
            <a:xfrm>
              <a:off x="8643938" y="5237163"/>
              <a:ext cx="3175" cy="7937"/>
            </a:xfrm>
            <a:custGeom>
              <a:avLst/>
              <a:gdLst>
                <a:gd name="T0" fmla="*/ 3175 w 2"/>
                <a:gd name="T1" fmla="*/ 3969 h 4"/>
                <a:gd name="T2" fmla="*/ 1588 w 2"/>
                <a:gd name="T3" fmla="*/ 7937 h 4"/>
                <a:gd name="T4" fmla="*/ 0 w 2"/>
                <a:gd name="T5" fmla="*/ 3969 h 4"/>
                <a:gd name="T6" fmla="*/ 1588 w 2"/>
                <a:gd name="T7" fmla="*/ 0 h 4"/>
                <a:gd name="T8" fmla="*/ 3175 w 2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2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1" y="3"/>
                    <a:pt x="0" y="3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8" name="Freeform 598"/>
            <p:cNvSpPr>
              <a:spLocks noChangeAspect="1"/>
            </p:cNvSpPr>
            <p:nvPr/>
          </p:nvSpPr>
          <p:spPr bwMode="auto">
            <a:xfrm>
              <a:off x="8645525" y="5222875"/>
              <a:ext cx="3175" cy="7938"/>
            </a:xfrm>
            <a:custGeom>
              <a:avLst/>
              <a:gdLst>
                <a:gd name="T0" fmla="*/ 3175 w 2"/>
                <a:gd name="T1" fmla="*/ 5953 h 4"/>
                <a:gd name="T2" fmla="*/ 1588 w 2"/>
                <a:gd name="T3" fmla="*/ 7938 h 4"/>
                <a:gd name="T4" fmla="*/ 0 w 2"/>
                <a:gd name="T5" fmla="*/ 3969 h 4"/>
                <a:gd name="T6" fmla="*/ 1588 w 2"/>
                <a:gd name="T7" fmla="*/ 1985 h 4"/>
                <a:gd name="T8" fmla="*/ 3175 w 2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3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599" name="Freeform 599"/>
            <p:cNvSpPr>
              <a:spLocks noChangeAspect="1"/>
            </p:cNvSpPr>
            <p:nvPr/>
          </p:nvSpPr>
          <p:spPr bwMode="auto">
            <a:xfrm>
              <a:off x="5737225" y="1736725"/>
              <a:ext cx="6350" cy="4763"/>
            </a:xfrm>
            <a:custGeom>
              <a:avLst/>
              <a:gdLst>
                <a:gd name="T0" fmla="*/ 2117 w 3"/>
                <a:gd name="T1" fmla="*/ 3175 h 3"/>
                <a:gd name="T2" fmla="*/ 0 w 3"/>
                <a:gd name="T3" fmla="*/ 3175 h 3"/>
                <a:gd name="T4" fmla="*/ 2117 w 3"/>
                <a:gd name="T5" fmla="*/ 1588 h 3"/>
                <a:gd name="T6" fmla="*/ 4233 w 3"/>
                <a:gd name="T7" fmla="*/ 1588 h 3"/>
                <a:gd name="T8" fmla="*/ 2117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0" name="Freeform 600"/>
            <p:cNvSpPr>
              <a:spLocks noChangeAspect="1"/>
            </p:cNvSpPr>
            <p:nvPr/>
          </p:nvSpPr>
          <p:spPr bwMode="auto">
            <a:xfrm>
              <a:off x="5268913" y="1538288"/>
              <a:ext cx="6350" cy="3175"/>
            </a:xfrm>
            <a:custGeom>
              <a:avLst/>
              <a:gdLst>
                <a:gd name="T0" fmla="*/ 2117 w 3"/>
                <a:gd name="T1" fmla="*/ 1588 h 2"/>
                <a:gd name="T2" fmla="*/ 2117 w 3"/>
                <a:gd name="T3" fmla="*/ 0 h 2"/>
                <a:gd name="T4" fmla="*/ 4233 w 3"/>
                <a:gd name="T5" fmla="*/ 0 h 2"/>
                <a:gd name="T6" fmla="*/ 6350 w 3"/>
                <a:gd name="T7" fmla="*/ 3175 h 2"/>
                <a:gd name="T8" fmla="*/ 2117 w 3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1"/>
                  </a:moveTo>
                  <a:cubicBezTo>
                    <a:pt x="1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2"/>
                    <a:pt x="1" y="2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1" name="Freeform 601"/>
            <p:cNvSpPr>
              <a:spLocks noChangeAspect="1"/>
            </p:cNvSpPr>
            <p:nvPr/>
          </p:nvSpPr>
          <p:spPr bwMode="auto">
            <a:xfrm>
              <a:off x="4943475" y="1511300"/>
              <a:ext cx="4763" cy="6350"/>
            </a:xfrm>
            <a:custGeom>
              <a:avLst/>
              <a:gdLst>
                <a:gd name="T0" fmla="*/ 3175 w 3"/>
                <a:gd name="T1" fmla="*/ 2117 h 3"/>
                <a:gd name="T2" fmla="*/ 3175 w 3"/>
                <a:gd name="T3" fmla="*/ 4233 h 3"/>
                <a:gd name="T4" fmla="*/ 1588 w 3"/>
                <a:gd name="T5" fmla="*/ 4233 h 3"/>
                <a:gd name="T6" fmla="*/ 0 w 3"/>
                <a:gd name="T7" fmla="*/ 2117 h 3"/>
                <a:gd name="T8" fmla="*/ 3175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1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2" name="Freeform 602"/>
            <p:cNvSpPr>
              <a:spLocks noChangeAspect="1"/>
            </p:cNvSpPr>
            <p:nvPr/>
          </p:nvSpPr>
          <p:spPr bwMode="auto">
            <a:xfrm>
              <a:off x="4929188" y="1577975"/>
              <a:ext cx="6350" cy="4763"/>
            </a:xfrm>
            <a:custGeom>
              <a:avLst/>
              <a:gdLst>
                <a:gd name="T0" fmla="*/ 2117 w 3"/>
                <a:gd name="T1" fmla="*/ 2382 h 2"/>
                <a:gd name="T2" fmla="*/ 0 w 3"/>
                <a:gd name="T3" fmla="*/ 2382 h 2"/>
                <a:gd name="T4" fmla="*/ 2117 w 3"/>
                <a:gd name="T5" fmla="*/ 0 h 2"/>
                <a:gd name="T6" fmla="*/ 6350 w 3"/>
                <a:gd name="T7" fmla="*/ 0 h 2"/>
                <a:gd name="T8" fmla="*/ 2117 w 3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1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3" name="Freeform 603"/>
            <p:cNvSpPr>
              <a:spLocks noChangeAspect="1"/>
            </p:cNvSpPr>
            <p:nvPr/>
          </p:nvSpPr>
          <p:spPr bwMode="auto">
            <a:xfrm>
              <a:off x="4195763" y="4416425"/>
              <a:ext cx="4762" cy="4763"/>
            </a:xfrm>
            <a:custGeom>
              <a:avLst/>
              <a:gdLst>
                <a:gd name="T0" fmla="*/ 4762 w 2"/>
                <a:gd name="T1" fmla="*/ 3175 h 3"/>
                <a:gd name="T2" fmla="*/ 2381 w 2"/>
                <a:gd name="T3" fmla="*/ 4763 h 3"/>
                <a:gd name="T4" fmla="*/ 0 w 2"/>
                <a:gd name="T5" fmla="*/ 3175 h 3"/>
                <a:gd name="T6" fmla="*/ 2381 w 2"/>
                <a:gd name="T7" fmla="*/ 0 h 3"/>
                <a:gd name="T8" fmla="*/ 4762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4" name="Freeform 604"/>
            <p:cNvSpPr>
              <a:spLocks noChangeAspect="1"/>
            </p:cNvSpPr>
            <p:nvPr/>
          </p:nvSpPr>
          <p:spPr bwMode="auto">
            <a:xfrm>
              <a:off x="4403725" y="4645025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1588 w 2"/>
                <a:gd name="T3" fmla="*/ 3175 h 2"/>
                <a:gd name="T4" fmla="*/ 0 w 2"/>
                <a:gd name="T5" fmla="*/ 1588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5" name="Freeform 605"/>
            <p:cNvSpPr>
              <a:spLocks noChangeAspect="1"/>
            </p:cNvSpPr>
            <p:nvPr/>
          </p:nvSpPr>
          <p:spPr bwMode="auto">
            <a:xfrm>
              <a:off x="8769350" y="5470525"/>
              <a:ext cx="3175" cy="4763"/>
            </a:xfrm>
            <a:custGeom>
              <a:avLst/>
              <a:gdLst>
                <a:gd name="T0" fmla="*/ 3175 w 2"/>
                <a:gd name="T1" fmla="*/ 2382 h 2"/>
                <a:gd name="T2" fmla="*/ 1588 w 2"/>
                <a:gd name="T3" fmla="*/ 4763 h 2"/>
                <a:gd name="T4" fmla="*/ 0 w 2"/>
                <a:gd name="T5" fmla="*/ 2382 h 2"/>
                <a:gd name="T6" fmla="*/ 1588 w 2"/>
                <a:gd name="T7" fmla="*/ 0 h 2"/>
                <a:gd name="T8" fmla="*/ 3175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1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6" name="Freeform 606"/>
            <p:cNvSpPr>
              <a:spLocks noChangeAspect="1"/>
            </p:cNvSpPr>
            <p:nvPr/>
          </p:nvSpPr>
          <p:spPr bwMode="auto">
            <a:xfrm>
              <a:off x="8353425" y="5751513"/>
              <a:ext cx="3175" cy="6350"/>
            </a:xfrm>
            <a:custGeom>
              <a:avLst/>
              <a:gdLst>
                <a:gd name="T0" fmla="*/ 3175 w 1"/>
                <a:gd name="T1" fmla="*/ 4233 h 3"/>
                <a:gd name="T2" fmla="*/ 3175 w 1"/>
                <a:gd name="T3" fmla="*/ 6350 h 3"/>
                <a:gd name="T4" fmla="*/ 0 w 1"/>
                <a:gd name="T5" fmla="*/ 2117 h 3"/>
                <a:gd name="T6" fmla="*/ 3175 w 1"/>
                <a:gd name="T7" fmla="*/ 0 h 3"/>
                <a:gd name="T8" fmla="*/ 3175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7" name="Freeform 607"/>
            <p:cNvSpPr>
              <a:spLocks noChangeAspect="1"/>
            </p:cNvSpPr>
            <p:nvPr/>
          </p:nvSpPr>
          <p:spPr bwMode="auto">
            <a:xfrm>
              <a:off x="8096250" y="5816600"/>
              <a:ext cx="4763" cy="4763"/>
            </a:xfrm>
            <a:custGeom>
              <a:avLst/>
              <a:gdLst>
                <a:gd name="T0" fmla="*/ 4763 w 2"/>
                <a:gd name="T1" fmla="*/ 3175 h 3"/>
                <a:gd name="T2" fmla="*/ 2382 w 2"/>
                <a:gd name="T3" fmla="*/ 4763 h 3"/>
                <a:gd name="T4" fmla="*/ 0 w 2"/>
                <a:gd name="T5" fmla="*/ 3175 h 3"/>
                <a:gd name="T6" fmla="*/ 2382 w 2"/>
                <a:gd name="T7" fmla="*/ 0 h 3"/>
                <a:gd name="T8" fmla="*/ 4763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8" name="Oval 608"/>
            <p:cNvSpPr>
              <a:spLocks noChangeAspect="1" noChangeArrowheads="1"/>
            </p:cNvSpPr>
            <p:nvPr/>
          </p:nvSpPr>
          <p:spPr bwMode="auto">
            <a:xfrm>
              <a:off x="8577263" y="5360988"/>
              <a:ext cx="1587" cy="476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09" name="Freeform 609"/>
            <p:cNvSpPr>
              <a:spLocks noChangeAspect="1"/>
            </p:cNvSpPr>
            <p:nvPr/>
          </p:nvSpPr>
          <p:spPr bwMode="auto">
            <a:xfrm>
              <a:off x="8582025" y="5245100"/>
              <a:ext cx="131763" cy="153988"/>
            </a:xfrm>
            <a:custGeom>
              <a:avLst/>
              <a:gdLst>
                <a:gd name="T0" fmla="*/ 84023 w 69"/>
                <a:gd name="T1" fmla="*/ 36121 h 81"/>
                <a:gd name="T2" fmla="*/ 105028 w 69"/>
                <a:gd name="T3" fmla="*/ 34220 h 81"/>
                <a:gd name="T4" fmla="*/ 118396 w 69"/>
                <a:gd name="T5" fmla="*/ 22813 h 81"/>
                <a:gd name="T6" fmla="*/ 131763 w 69"/>
                <a:gd name="T7" fmla="*/ 30417 h 81"/>
                <a:gd name="T8" fmla="*/ 122215 w 69"/>
                <a:gd name="T9" fmla="*/ 38022 h 81"/>
                <a:gd name="T10" fmla="*/ 116486 w 69"/>
                <a:gd name="T11" fmla="*/ 55131 h 81"/>
                <a:gd name="T12" fmla="*/ 103119 w 69"/>
                <a:gd name="T13" fmla="*/ 57033 h 81"/>
                <a:gd name="T14" fmla="*/ 101209 w 69"/>
                <a:gd name="T15" fmla="*/ 70340 h 81"/>
                <a:gd name="T16" fmla="*/ 101209 w 69"/>
                <a:gd name="T17" fmla="*/ 74142 h 81"/>
                <a:gd name="T18" fmla="*/ 97390 w 69"/>
                <a:gd name="T19" fmla="*/ 77945 h 81"/>
                <a:gd name="T20" fmla="*/ 95480 w 69"/>
                <a:gd name="T21" fmla="*/ 72241 h 81"/>
                <a:gd name="T22" fmla="*/ 84023 w 69"/>
                <a:gd name="T23" fmla="*/ 72241 h 81"/>
                <a:gd name="T24" fmla="*/ 72565 w 69"/>
                <a:gd name="T25" fmla="*/ 83648 h 81"/>
                <a:gd name="T26" fmla="*/ 78294 w 69"/>
                <a:gd name="T27" fmla="*/ 91252 h 81"/>
                <a:gd name="T28" fmla="*/ 61107 w 69"/>
                <a:gd name="T29" fmla="*/ 110263 h 81"/>
                <a:gd name="T30" fmla="*/ 47740 w 69"/>
                <a:gd name="T31" fmla="*/ 131175 h 81"/>
                <a:gd name="T32" fmla="*/ 24825 w 69"/>
                <a:gd name="T33" fmla="*/ 152087 h 81"/>
                <a:gd name="T34" fmla="*/ 13367 w 69"/>
                <a:gd name="T35" fmla="*/ 148285 h 81"/>
                <a:gd name="T36" fmla="*/ 7638 w 69"/>
                <a:gd name="T37" fmla="*/ 140680 h 81"/>
                <a:gd name="T38" fmla="*/ 21006 w 69"/>
                <a:gd name="T39" fmla="*/ 123571 h 81"/>
                <a:gd name="T40" fmla="*/ 28644 w 69"/>
                <a:gd name="T41" fmla="*/ 112164 h 81"/>
                <a:gd name="T42" fmla="*/ 24825 w 69"/>
                <a:gd name="T43" fmla="*/ 96955 h 81"/>
                <a:gd name="T44" fmla="*/ 15277 w 69"/>
                <a:gd name="T45" fmla="*/ 93153 h 81"/>
                <a:gd name="T46" fmla="*/ 7638 w 69"/>
                <a:gd name="T47" fmla="*/ 87450 h 81"/>
                <a:gd name="T48" fmla="*/ 1910 w 69"/>
                <a:gd name="T49" fmla="*/ 81747 h 81"/>
                <a:gd name="T50" fmla="*/ 11458 w 69"/>
                <a:gd name="T51" fmla="*/ 72241 h 81"/>
                <a:gd name="T52" fmla="*/ 24825 w 69"/>
                <a:gd name="T53" fmla="*/ 66538 h 81"/>
                <a:gd name="T54" fmla="*/ 34373 w 69"/>
                <a:gd name="T55" fmla="*/ 45626 h 81"/>
                <a:gd name="T56" fmla="*/ 40102 w 69"/>
                <a:gd name="T57" fmla="*/ 38022 h 81"/>
                <a:gd name="T58" fmla="*/ 38192 w 69"/>
                <a:gd name="T59" fmla="*/ 20912 h 81"/>
                <a:gd name="T60" fmla="*/ 42011 w 69"/>
                <a:gd name="T61" fmla="*/ 9505 h 81"/>
                <a:gd name="T62" fmla="*/ 47740 w 69"/>
                <a:gd name="T63" fmla="*/ 11407 h 81"/>
                <a:gd name="T64" fmla="*/ 49650 w 69"/>
                <a:gd name="T65" fmla="*/ 5703 h 81"/>
                <a:gd name="T66" fmla="*/ 55379 w 69"/>
                <a:gd name="T67" fmla="*/ 7604 h 81"/>
                <a:gd name="T68" fmla="*/ 55379 w 69"/>
                <a:gd name="T69" fmla="*/ 15209 h 81"/>
                <a:gd name="T70" fmla="*/ 63017 w 69"/>
                <a:gd name="T71" fmla="*/ 15209 h 81"/>
                <a:gd name="T72" fmla="*/ 63017 w 69"/>
                <a:gd name="T73" fmla="*/ 3802 h 81"/>
                <a:gd name="T74" fmla="*/ 68746 w 69"/>
                <a:gd name="T75" fmla="*/ 3802 h 81"/>
                <a:gd name="T76" fmla="*/ 68746 w 69"/>
                <a:gd name="T77" fmla="*/ 28516 h 81"/>
                <a:gd name="T78" fmla="*/ 84023 w 69"/>
                <a:gd name="T79" fmla="*/ 36121 h 8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9"/>
                <a:gd name="T121" fmla="*/ 0 h 81"/>
                <a:gd name="T122" fmla="*/ 69 w 69"/>
                <a:gd name="T123" fmla="*/ 81 h 8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9" h="81">
                  <a:moveTo>
                    <a:pt x="44" y="19"/>
                  </a:moveTo>
                  <a:cubicBezTo>
                    <a:pt x="48" y="20"/>
                    <a:pt x="52" y="20"/>
                    <a:pt x="55" y="18"/>
                  </a:cubicBezTo>
                  <a:cubicBezTo>
                    <a:pt x="58" y="17"/>
                    <a:pt x="59" y="13"/>
                    <a:pt x="62" y="12"/>
                  </a:cubicBezTo>
                  <a:cubicBezTo>
                    <a:pt x="64" y="12"/>
                    <a:pt x="68" y="13"/>
                    <a:pt x="69" y="16"/>
                  </a:cubicBezTo>
                  <a:cubicBezTo>
                    <a:pt x="69" y="17"/>
                    <a:pt x="65" y="18"/>
                    <a:pt x="64" y="20"/>
                  </a:cubicBezTo>
                  <a:cubicBezTo>
                    <a:pt x="63" y="23"/>
                    <a:pt x="64" y="27"/>
                    <a:pt x="61" y="29"/>
                  </a:cubicBezTo>
                  <a:cubicBezTo>
                    <a:pt x="60" y="31"/>
                    <a:pt x="56" y="29"/>
                    <a:pt x="54" y="30"/>
                  </a:cubicBezTo>
                  <a:cubicBezTo>
                    <a:pt x="52" y="32"/>
                    <a:pt x="53" y="35"/>
                    <a:pt x="53" y="37"/>
                  </a:cubicBezTo>
                  <a:cubicBezTo>
                    <a:pt x="53" y="38"/>
                    <a:pt x="53" y="39"/>
                    <a:pt x="53" y="39"/>
                  </a:cubicBezTo>
                  <a:cubicBezTo>
                    <a:pt x="53" y="40"/>
                    <a:pt x="52" y="42"/>
                    <a:pt x="51" y="41"/>
                  </a:cubicBezTo>
                  <a:cubicBezTo>
                    <a:pt x="50" y="41"/>
                    <a:pt x="51" y="39"/>
                    <a:pt x="50" y="38"/>
                  </a:cubicBezTo>
                  <a:cubicBezTo>
                    <a:pt x="48" y="38"/>
                    <a:pt x="45" y="37"/>
                    <a:pt x="44" y="38"/>
                  </a:cubicBezTo>
                  <a:cubicBezTo>
                    <a:pt x="41" y="40"/>
                    <a:pt x="38" y="42"/>
                    <a:pt x="38" y="44"/>
                  </a:cubicBezTo>
                  <a:cubicBezTo>
                    <a:pt x="37" y="46"/>
                    <a:pt x="42" y="47"/>
                    <a:pt x="41" y="48"/>
                  </a:cubicBezTo>
                  <a:cubicBezTo>
                    <a:pt x="39" y="52"/>
                    <a:pt x="35" y="54"/>
                    <a:pt x="32" y="58"/>
                  </a:cubicBezTo>
                  <a:cubicBezTo>
                    <a:pt x="29" y="61"/>
                    <a:pt x="28" y="66"/>
                    <a:pt x="25" y="69"/>
                  </a:cubicBezTo>
                  <a:cubicBezTo>
                    <a:pt x="21" y="73"/>
                    <a:pt x="17" y="77"/>
                    <a:pt x="13" y="80"/>
                  </a:cubicBezTo>
                  <a:cubicBezTo>
                    <a:pt x="11" y="81"/>
                    <a:pt x="9" y="79"/>
                    <a:pt x="7" y="78"/>
                  </a:cubicBezTo>
                  <a:cubicBezTo>
                    <a:pt x="6" y="77"/>
                    <a:pt x="3" y="76"/>
                    <a:pt x="4" y="74"/>
                  </a:cubicBezTo>
                  <a:cubicBezTo>
                    <a:pt x="5" y="71"/>
                    <a:pt x="9" y="68"/>
                    <a:pt x="11" y="65"/>
                  </a:cubicBezTo>
                  <a:cubicBezTo>
                    <a:pt x="13" y="63"/>
                    <a:pt x="15" y="61"/>
                    <a:pt x="15" y="59"/>
                  </a:cubicBezTo>
                  <a:cubicBezTo>
                    <a:pt x="15" y="56"/>
                    <a:pt x="15" y="53"/>
                    <a:pt x="13" y="51"/>
                  </a:cubicBezTo>
                  <a:cubicBezTo>
                    <a:pt x="12" y="49"/>
                    <a:pt x="10" y="50"/>
                    <a:pt x="8" y="49"/>
                  </a:cubicBezTo>
                  <a:cubicBezTo>
                    <a:pt x="7" y="48"/>
                    <a:pt x="5" y="47"/>
                    <a:pt x="4" y="46"/>
                  </a:cubicBezTo>
                  <a:cubicBezTo>
                    <a:pt x="2" y="45"/>
                    <a:pt x="0" y="44"/>
                    <a:pt x="1" y="43"/>
                  </a:cubicBezTo>
                  <a:cubicBezTo>
                    <a:pt x="1" y="41"/>
                    <a:pt x="4" y="39"/>
                    <a:pt x="6" y="38"/>
                  </a:cubicBezTo>
                  <a:cubicBezTo>
                    <a:pt x="8" y="37"/>
                    <a:pt x="11" y="37"/>
                    <a:pt x="13" y="35"/>
                  </a:cubicBezTo>
                  <a:cubicBezTo>
                    <a:pt x="16" y="32"/>
                    <a:pt x="16" y="28"/>
                    <a:pt x="18" y="24"/>
                  </a:cubicBezTo>
                  <a:cubicBezTo>
                    <a:pt x="18" y="23"/>
                    <a:pt x="21" y="22"/>
                    <a:pt x="21" y="20"/>
                  </a:cubicBezTo>
                  <a:cubicBezTo>
                    <a:pt x="22" y="17"/>
                    <a:pt x="20" y="14"/>
                    <a:pt x="20" y="11"/>
                  </a:cubicBezTo>
                  <a:cubicBezTo>
                    <a:pt x="20" y="9"/>
                    <a:pt x="20" y="7"/>
                    <a:pt x="22" y="5"/>
                  </a:cubicBezTo>
                  <a:cubicBezTo>
                    <a:pt x="22" y="5"/>
                    <a:pt x="24" y="7"/>
                    <a:pt x="25" y="6"/>
                  </a:cubicBezTo>
                  <a:cubicBezTo>
                    <a:pt x="26" y="5"/>
                    <a:pt x="25" y="3"/>
                    <a:pt x="26" y="3"/>
                  </a:cubicBezTo>
                  <a:cubicBezTo>
                    <a:pt x="27" y="2"/>
                    <a:pt x="29" y="3"/>
                    <a:pt x="29" y="4"/>
                  </a:cubicBezTo>
                  <a:cubicBezTo>
                    <a:pt x="30" y="5"/>
                    <a:pt x="28" y="7"/>
                    <a:pt x="29" y="8"/>
                  </a:cubicBezTo>
                  <a:cubicBezTo>
                    <a:pt x="30" y="8"/>
                    <a:pt x="32" y="9"/>
                    <a:pt x="33" y="8"/>
                  </a:cubicBezTo>
                  <a:cubicBezTo>
                    <a:pt x="34" y="6"/>
                    <a:pt x="32" y="4"/>
                    <a:pt x="33" y="2"/>
                  </a:cubicBezTo>
                  <a:cubicBezTo>
                    <a:pt x="33" y="1"/>
                    <a:pt x="36" y="0"/>
                    <a:pt x="36" y="2"/>
                  </a:cubicBezTo>
                  <a:cubicBezTo>
                    <a:pt x="37" y="6"/>
                    <a:pt x="34" y="11"/>
                    <a:pt x="36" y="15"/>
                  </a:cubicBezTo>
                  <a:cubicBezTo>
                    <a:pt x="37" y="18"/>
                    <a:pt x="41" y="19"/>
                    <a:pt x="44" y="19"/>
                  </a:cubicBezTo>
                  <a:close/>
                </a:path>
              </a:pathLst>
            </a:custGeom>
            <a:noFill/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0" name="Freeform 610"/>
            <p:cNvSpPr>
              <a:spLocks noChangeAspect="1"/>
            </p:cNvSpPr>
            <p:nvPr/>
          </p:nvSpPr>
          <p:spPr bwMode="auto">
            <a:xfrm>
              <a:off x="8594725" y="5173663"/>
              <a:ext cx="38100" cy="76200"/>
            </a:xfrm>
            <a:custGeom>
              <a:avLst/>
              <a:gdLst>
                <a:gd name="T0" fmla="*/ 24765 w 20"/>
                <a:gd name="T1" fmla="*/ 64770 h 40"/>
                <a:gd name="T2" fmla="*/ 26670 w 20"/>
                <a:gd name="T3" fmla="*/ 74295 h 40"/>
                <a:gd name="T4" fmla="*/ 32385 w 20"/>
                <a:gd name="T5" fmla="*/ 74295 h 40"/>
                <a:gd name="T6" fmla="*/ 38100 w 20"/>
                <a:gd name="T7" fmla="*/ 55245 h 40"/>
                <a:gd name="T8" fmla="*/ 32385 w 20"/>
                <a:gd name="T9" fmla="*/ 40005 h 40"/>
                <a:gd name="T10" fmla="*/ 38100 w 20"/>
                <a:gd name="T11" fmla="*/ 40005 h 40"/>
                <a:gd name="T12" fmla="*/ 34290 w 20"/>
                <a:gd name="T13" fmla="*/ 26670 h 40"/>
                <a:gd name="T14" fmla="*/ 19050 w 20"/>
                <a:gd name="T15" fmla="*/ 15240 h 40"/>
                <a:gd name="T16" fmla="*/ 9525 w 20"/>
                <a:gd name="T17" fmla="*/ 9525 h 40"/>
                <a:gd name="T18" fmla="*/ 9525 w 20"/>
                <a:gd name="T19" fmla="*/ 3810 h 40"/>
                <a:gd name="T20" fmla="*/ 1905 w 20"/>
                <a:gd name="T21" fmla="*/ 3810 h 40"/>
                <a:gd name="T22" fmla="*/ 9525 w 20"/>
                <a:gd name="T23" fmla="*/ 19050 h 40"/>
                <a:gd name="T24" fmla="*/ 7620 w 20"/>
                <a:gd name="T25" fmla="*/ 24765 h 40"/>
                <a:gd name="T26" fmla="*/ 22860 w 20"/>
                <a:gd name="T27" fmla="*/ 55245 h 40"/>
                <a:gd name="T28" fmla="*/ 30480 w 20"/>
                <a:gd name="T29" fmla="*/ 57150 h 40"/>
                <a:gd name="T30" fmla="*/ 24765 w 20"/>
                <a:gd name="T31" fmla="*/ 64770 h 4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"/>
                <a:gd name="T49" fmla="*/ 0 h 40"/>
                <a:gd name="T50" fmla="*/ 20 w 20"/>
                <a:gd name="T51" fmla="*/ 40 h 4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" h="40">
                  <a:moveTo>
                    <a:pt x="13" y="34"/>
                  </a:moveTo>
                  <a:cubicBezTo>
                    <a:pt x="13" y="36"/>
                    <a:pt x="13" y="38"/>
                    <a:pt x="14" y="39"/>
                  </a:cubicBezTo>
                  <a:cubicBezTo>
                    <a:pt x="15" y="40"/>
                    <a:pt x="17" y="40"/>
                    <a:pt x="17" y="39"/>
                  </a:cubicBezTo>
                  <a:cubicBezTo>
                    <a:pt x="19" y="36"/>
                    <a:pt x="20" y="32"/>
                    <a:pt x="20" y="29"/>
                  </a:cubicBezTo>
                  <a:cubicBezTo>
                    <a:pt x="20" y="26"/>
                    <a:pt x="17" y="24"/>
                    <a:pt x="17" y="21"/>
                  </a:cubicBezTo>
                  <a:cubicBezTo>
                    <a:pt x="17" y="20"/>
                    <a:pt x="20" y="22"/>
                    <a:pt x="20" y="21"/>
                  </a:cubicBezTo>
                  <a:cubicBezTo>
                    <a:pt x="20" y="18"/>
                    <a:pt x="20" y="16"/>
                    <a:pt x="18" y="14"/>
                  </a:cubicBezTo>
                  <a:cubicBezTo>
                    <a:pt x="16" y="11"/>
                    <a:pt x="13" y="10"/>
                    <a:pt x="10" y="8"/>
                  </a:cubicBezTo>
                  <a:cubicBezTo>
                    <a:pt x="8" y="7"/>
                    <a:pt x="6" y="7"/>
                    <a:pt x="5" y="5"/>
                  </a:cubicBezTo>
                  <a:cubicBezTo>
                    <a:pt x="4" y="4"/>
                    <a:pt x="6" y="2"/>
                    <a:pt x="5" y="2"/>
                  </a:cubicBezTo>
                  <a:cubicBezTo>
                    <a:pt x="4" y="1"/>
                    <a:pt x="1" y="0"/>
                    <a:pt x="1" y="2"/>
                  </a:cubicBezTo>
                  <a:cubicBezTo>
                    <a:pt x="0" y="5"/>
                    <a:pt x="4" y="7"/>
                    <a:pt x="5" y="10"/>
                  </a:cubicBezTo>
                  <a:cubicBezTo>
                    <a:pt x="5" y="11"/>
                    <a:pt x="4" y="12"/>
                    <a:pt x="4" y="13"/>
                  </a:cubicBezTo>
                  <a:cubicBezTo>
                    <a:pt x="6" y="19"/>
                    <a:pt x="9" y="24"/>
                    <a:pt x="12" y="29"/>
                  </a:cubicBezTo>
                  <a:cubicBezTo>
                    <a:pt x="13" y="30"/>
                    <a:pt x="16" y="29"/>
                    <a:pt x="16" y="30"/>
                  </a:cubicBezTo>
                  <a:cubicBezTo>
                    <a:pt x="16" y="32"/>
                    <a:pt x="13" y="33"/>
                    <a:pt x="13" y="34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1" name="Freeform 611"/>
            <p:cNvSpPr>
              <a:spLocks noChangeAspect="1"/>
            </p:cNvSpPr>
            <p:nvPr/>
          </p:nvSpPr>
          <p:spPr bwMode="auto">
            <a:xfrm>
              <a:off x="8353425" y="5360988"/>
              <a:ext cx="231775" cy="200025"/>
            </a:xfrm>
            <a:custGeom>
              <a:avLst/>
              <a:gdLst>
                <a:gd name="T0" fmla="*/ 222198 w 121"/>
                <a:gd name="T1" fmla="*/ 43815 h 105"/>
                <a:gd name="T2" fmla="*/ 203043 w 121"/>
                <a:gd name="T3" fmla="*/ 60960 h 105"/>
                <a:gd name="T4" fmla="*/ 189634 w 121"/>
                <a:gd name="T5" fmla="*/ 78105 h 105"/>
                <a:gd name="T6" fmla="*/ 174310 w 121"/>
                <a:gd name="T7" fmla="*/ 91440 h 105"/>
                <a:gd name="T8" fmla="*/ 174310 w 121"/>
                <a:gd name="T9" fmla="*/ 97155 h 105"/>
                <a:gd name="T10" fmla="*/ 183888 w 121"/>
                <a:gd name="T11" fmla="*/ 100965 h 105"/>
                <a:gd name="T12" fmla="*/ 181972 w 121"/>
                <a:gd name="T13" fmla="*/ 106680 h 105"/>
                <a:gd name="T14" fmla="*/ 162817 w 121"/>
                <a:gd name="T15" fmla="*/ 104775 h 105"/>
                <a:gd name="T16" fmla="*/ 139831 w 121"/>
                <a:gd name="T17" fmla="*/ 114300 h 105"/>
                <a:gd name="T18" fmla="*/ 128338 w 121"/>
                <a:gd name="T19" fmla="*/ 125730 h 105"/>
                <a:gd name="T20" fmla="*/ 124507 w 121"/>
                <a:gd name="T21" fmla="*/ 142875 h 105"/>
                <a:gd name="T22" fmla="*/ 111099 w 121"/>
                <a:gd name="T23" fmla="*/ 160020 h 105"/>
                <a:gd name="T24" fmla="*/ 88113 w 121"/>
                <a:gd name="T25" fmla="*/ 179070 h 105"/>
                <a:gd name="T26" fmla="*/ 65127 w 121"/>
                <a:gd name="T27" fmla="*/ 198120 h 105"/>
                <a:gd name="T28" fmla="*/ 51718 w 121"/>
                <a:gd name="T29" fmla="*/ 196215 h 105"/>
                <a:gd name="T30" fmla="*/ 44056 w 121"/>
                <a:gd name="T31" fmla="*/ 184785 h 105"/>
                <a:gd name="T32" fmla="*/ 30648 w 121"/>
                <a:gd name="T33" fmla="*/ 180975 h 105"/>
                <a:gd name="T34" fmla="*/ 5746 w 121"/>
                <a:gd name="T35" fmla="*/ 179070 h 105"/>
                <a:gd name="T36" fmla="*/ 1915 w 121"/>
                <a:gd name="T37" fmla="*/ 169545 h 105"/>
                <a:gd name="T38" fmla="*/ 21070 w 121"/>
                <a:gd name="T39" fmla="*/ 146685 h 105"/>
                <a:gd name="T40" fmla="*/ 49803 w 121"/>
                <a:gd name="T41" fmla="*/ 123825 h 105"/>
                <a:gd name="T42" fmla="*/ 72789 w 121"/>
                <a:gd name="T43" fmla="*/ 108585 h 105"/>
                <a:gd name="T44" fmla="*/ 88113 w 121"/>
                <a:gd name="T45" fmla="*/ 104775 h 105"/>
                <a:gd name="T46" fmla="*/ 120676 w 121"/>
                <a:gd name="T47" fmla="*/ 81915 h 105"/>
                <a:gd name="T48" fmla="*/ 145578 w 121"/>
                <a:gd name="T49" fmla="*/ 66675 h 105"/>
                <a:gd name="T50" fmla="*/ 160902 w 121"/>
                <a:gd name="T51" fmla="*/ 43815 h 105"/>
                <a:gd name="T52" fmla="*/ 178141 w 121"/>
                <a:gd name="T53" fmla="*/ 24765 h 105"/>
                <a:gd name="T54" fmla="*/ 191550 w 121"/>
                <a:gd name="T55" fmla="*/ 0 h 105"/>
                <a:gd name="T56" fmla="*/ 199212 w 121"/>
                <a:gd name="T57" fmla="*/ 0 h 105"/>
                <a:gd name="T58" fmla="*/ 199212 w 121"/>
                <a:gd name="T59" fmla="*/ 7620 h 105"/>
                <a:gd name="T60" fmla="*/ 204958 w 121"/>
                <a:gd name="T61" fmla="*/ 11430 h 105"/>
                <a:gd name="T62" fmla="*/ 201127 w 121"/>
                <a:gd name="T63" fmla="*/ 20955 h 105"/>
                <a:gd name="T64" fmla="*/ 208789 w 121"/>
                <a:gd name="T65" fmla="*/ 26670 h 105"/>
                <a:gd name="T66" fmla="*/ 218367 w 121"/>
                <a:gd name="T67" fmla="*/ 13335 h 105"/>
                <a:gd name="T68" fmla="*/ 226029 w 121"/>
                <a:gd name="T69" fmla="*/ 9525 h 105"/>
                <a:gd name="T70" fmla="*/ 229860 w 121"/>
                <a:gd name="T71" fmla="*/ 19050 h 105"/>
                <a:gd name="T72" fmla="*/ 231775 w 121"/>
                <a:gd name="T73" fmla="*/ 26670 h 105"/>
                <a:gd name="T74" fmla="*/ 222198 w 121"/>
                <a:gd name="T75" fmla="*/ 34290 h 105"/>
                <a:gd name="T76" fmla="*/ 222198 w 121"/>
                <a:gd name="T77" fmla="*/ 43815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1"/>
                <a:gd name="T118" fmla="*/ 0 h 105"/>
                <a:gd name="T119" fmla="*/ 121 w 121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1" h="105">
                  <a:moveTo>
                    <a:pt x="116" y="23"/>
                  </a:moveTo>
                  <a:cubicBezTo>
                    <a:pt x="113" y="26"/>
                    <a:pt x="109" y="29"/>
                    <a:pt x="106" y="32"/>
                  </a:cubicBezTo>
                  <a:cubicBezTo>
                    <a:pt x="103" y="35"/>
                    <a:pt x="102" y="39"/>
                    <a:pt x="99" y="41"/>
                  </a:cubicBezTo>
                  <a:cubicBezTo>
                    <a:pt x="97" y="44"/>
                    <a:pt x="93" y="45"/>
                    <a:pt x="91" y="48"/>
                  </a:cubicBezTo>
                  <a:cubicBezTo>
                    <a:pt x="90" y="49"/>
                    <a:pt x="90" y="50"/>
                    <a:pt x="91" y="51"/>
                  </a:cubicBezTo>
                  <a:cubicBezTo>
                    <a:pt x="92" y="52"/>
                    <a:pt x="95" y="51"/>
                    <a:pt x="96" y="53"/>
                  </a:cubicBezTo>
                  <a:cubicBezTo>
                    <a:pt x="97" y="54"/>
                    <a:pt x="97" y="56"/>
                    <a:pt x="95" y="56"/>
                  </a:cubicBezTo>
                  <a:cubicBezTo>
                    <a:pt x="92" y="57"/>
                    <a:pt x="89" y="54"/>
                    <a:pt x="85" y="55"/>
                  </a:cubicBezTo>
                  <a:cubicBezTo>
                    <a:pt x="81" y="55"/>
                    <a:pt x="77" y="58"/>
                    <a:pt x="73" y="60"/>
                  </a:cubicBezTo>
                  <a:cubicBezTo>
                    <a:pt x="71" y="62"/>
                    <a:pt x="68" y="63"/>
                    <a:pt x="67" y="66"/>
                  </a:cubicBezTo>
                  <a:cubicBezTo>
                    <a:pt x="65" y="68"/>
                    <a:pt x="67" y="72"/>
                    <a:pt x="65" y="75"/>
                  </a:cubicBezTo>
                  <a:cubicBezTo>
                    <a:pt x="64" y="78"/>
                    <a:pt x="61" y="81"/>
                    <a:pt x="58" y="84"/>
                  </a:cubicBezTo>
                  <a:cubicBezTo>
                    <a:pt x="54" y="88"/>
                    <a:pt x="50" y="91"/>
                    <a:pt x="46" y="94"/>
                  </a:cubicBezTo>
                  <a:cubicBezTo>
                    <a:pt x="42" y="98"/>
                    <a:pt x="39" y="102"/>
                    <a:pt x="34" y="104"/>
                  </a:cubicBezTo>
                  <a:cubicBezTo>
                    <a:pt x="32" y="105"/>
                    <a:pt x="29" y="104"/>
                    <a:pt x="27" y="103"/>
                  </a:cubicBezTo>
                  <a:cubicBezTo>
                    <a:pt x="25" y="102"/>
                    <a:pt x="25" y="98"/>
                    <a:pt x="23" y="97"/>
                  </a:cubicBezTo>
                  <a:cubicBezTo>
                    <a:pt x="21" y="96"/>
                    <a:pt x="18" y="95"/>
                    <a:pt x="16" y="95"/>
                  </a:cubicBezTo>
                  <a:cubicBezTo>
                    <a:pt x="12" y="95"/>
                    <a:pt x="7" y="96"/>
                    <a:pt x="3" y="94"/>
                  </a:cubicBezTo>
                  <a:cubicBezTo>
                    <a:pt x="2" y="94"/>
                    <a:pt x="0" y="91"/>
                    <a:pt x="1" y="89"/>
                  </a:cubicBezTo>
                  <a:cubicBezTo>
                    <a:pt x="3" y="84"/>
                    <a:pt x="7" y="80"/>
                    <a:pt x="11" y="77"/>
                  </a:cubicBezTo>
                  <a:cubicBezTo>
                    <a:pt x="16" y="72"/>
                    <a:pt x="21" y="69"/>
                    <a:pt x="26" y="65"/>
                  </a:cubicBezTo>
                  <a:cubicBezTo>
                    <a:pt x="30" y="62"/>
                    <a:pt x="34" y="59"/>
                    <a:pt x="38" y="57"/>
                  </a:cubicBezTo>
                  <a:cubicBezTo>
                    <a:pt x="40" y="56"/>
                    <a:pt x="43" y="56"/>
                    <a:pt x="46" y="55"/>
                  </a:cubicBezTo>
                  <a:cubicBezTo>
                    <a:pt x="52" y="51"/>
                    <a:pt x="57" y="47"/>
                    <a:pt x="63" y="43"/>
                  </a:cubicBezTo>
                  <a:cubicBezTo>
                    <a:pt x="67" y="40"/>
                    <a:pt x="73" y="38"/>
                    <a:pt x="76" y="35"/>
                  </a:cubicBezTo>
                  <a:cubicBezTo>
                    <a:pt x="80" y="31"/>
                    <a:pt x="81" y="26"/>
                    <a:pt x="84" y="23"/>
                  </a:cubicBezTo>
                  <a:cubicBezTo>
                    <a:pt x="86" y="19"/>
                    <a:pt x="90" y="16"/>
                    <a:pt x="93" y="13"/>
                  </a:cubicBezTo>
                  <a:cubicBezTo>
                    <a:pt x="95" y="9"/>
                    <a:pt x="97" y="4"/>
                    <a:pt x="100" y="0"/>
                  </a:cubicBezTo>
                  <a:cubicBezTo>
                    <a:pt x="101" y="0"/>
                    <a:pt x="103" y="0"/>
                    <a:pt x="104" y="0"/>
                  </a:cubicBezTo>
                  <a:cubicBezTo>
                    <a:pt x="104" y="1"/>
                    <a:pt x="103" y="3"/>
                    <a:pt x="104" y="4"/>
                  </a:cubicBezTo>
                  <a:cubicBezTo>
                    <a:pt x="104" y="5"/>
                    <a:pt x="107" y="4"/>
                    <a:pt x="107" y="6"/>
                  </a:cubicBezTo>
                  <a:cubicBezTo>
                    <a:pt x="108" y="7"/>
                    <a:pt x="105" y="9"/>
                    <a:pt x="105" y="11"/>
                  </a:cubicBezTo>
                  <a:cubicBezTo>
                    <a:pt x="106" y="12"/>
                    <a:pt x="108" y="15"/>
                    <a:pt x="109" y="14"/>
                  </a:cubicBezTo>
                  <a:cubicBezTo>
                    <a:pt x="112" y="13"/>
                    <a:pt x="112" y="9"/>
                    <a:pt x="114" y="7"/>
                  </a:cubicBezTo>
                  <a:cubicBezTo>
                    <a:pt x="115" y="6"/>
                    <a:pt x="117" y="5"/>
                    <a:pt x="118" y="5"/>
                  </a:cubicBezTo>
                  <a:cubicBezTo>
                    <a:pt x="119" y="6"/>
                    <a:pt x="119" y="9"/>
                    <a:pt x="120" y="10"/>
                  </a:cubicBezTo>
                  <a:cubicBezTo>
                    <a:pt x="120" y="11"/>
                    <a:pt x="121" y="13"/>
                    <a:pt x="121" y="14"/>
                  </a:cubicBezTo>
                  <a:cubicBezTo>
                    <a:pt x="120" y="15"/>
                    <a:pt x="117" y="16"/>
                    <a:pt x="116" y="18"/>
                  </a:cubicBezTo>
                  <a:cubicBezTo>
                    <a:pt x="116" y="19"/>
                    <a:pt x="117" y="21"/>
                    <a:pt x="116" y="23"/>
                  </a:cubicBezTo>
                  <a:close/>
                </a:path>
              </a:pathLst>
            </a:custGeom>
            <a:noFill/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2" name="Freeform 612"/>
            <p:cNvSpPr>
              <a:spLocks noChangeAspect="1"/>
            </p:cNvSpPr>
            <p:nvPr/>
          </p:nvSpPr>
          <p:spPr bwMode="auto">
            <a:xfrm>
              <a:off x="8370888" y="5556250"/>
              <a:ext cx="20637" cy="23813"/>
            </a:xfrm>
            <a:custGeom>
              <a:avLst/>
              <a:gdLst>
                <a:gd name="T0" fmla="*/ 15009 w 11"/>
                <a:gd name="T1" fmla="*/ 0 h 12"/>
                <a:gd name="T2" fmla="*/ 18761 w 11"/>
                <a:gd name="T3" fmla="*/ 5953 h 12"/>
                <a:gd name="T4" fmla="*/ 15009 w 11"/>
                <a:gd name="T5" fmla="*/ 9922 h 12"/>
                <a:gd name="T6" fmla="*/ 20637 w 11"/>
                <a:gd name="T7" fmla="*/ 15875 h 12"/>
                <a:gd name="T8" fmla="*/ 15009 w 11"/>
                <a:gd name="T9" fmla="*/ 19844 h 12"/>
                <a:gd name="T10" fmla="*/ 1876 w 11"/>
                <a:gd name="T11" fmla="*/ 23813 h 12"/>
                <a:gd name="T12" fmla="*/ 1876 w 11"/>
                <a:gd name="T13" fmla="*/ 19844 h 12"/>
                <a:gd name="T14" fmla="*/ 11257 w 11"/>
                <a:gd name="T15" fmla="*/ 1984 h 12"/>
                <a:gd name="T16" fmla="*/ 15009 w 11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2"/>
                <a:gd name="T29" fmla="*/ 11 w 11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2">
                  <a:moveTo>
                    <a:pt x="8" y="0"/>
                  </a:moveTo>
                  <a:cubicBezTo>
                    <a:pt x="9" y="1"/>
                    <a:pt x="10" y="2"/>
                    <a:pt x="10" y="3"/>
                  </a:cubicBezTo>
                  <a:cubicBezTo>
                    <a:pt x="10" y="4"/>
                    <a:pt x="7" y="4"/>
                    <a:pt x="8" y="5"/>
                  </a:cubicBezTo>
                  <a:cubicBezTo>
                    <a:pt x="8" y="7"/>
                    <a:pt x="11" y="7"/>
                    <a:pt x="11" y="8"/>
                  </a:cubicBezTo>
                  <a:cubicBezTo>
                    <a:pt x="11" y="9"/>
                    <a:pt x="9" y="9"/>
                    <a:pt x="8" y="10"/>
                  </a:cubicBezTo>
                  <a:cubicBezTo>
                    <a:pt x="6" y="11"/>
                    <a:pt x="4" y="12"/>
                    <a:pt x="1" y="12"/>
                  </a:cubicBezTo>
                  <a:cubicBezTo>
                    <a:pt x="1" y="12"/>
                    <a:pt x="0" y="11"/>
                    <a:pt x="1" y="10"/>
                  </a:cubicBezTo>
                  <a:cubicBezTo>
                    <a:pt x="2" y="7"/>
                    <a:pt x="4" y="4"/>
                    <a:pt x="6" y="1"/>
                  </a:cubicBezTo>
                  <a:cubicBezTo>
                    <a:pt x="6" y="0"/>
                    <a:pt x="7" y="0"/>
                    <a:pt x="8" y="0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3" name="Freeform 613"/>
            <p:cNvSpPr>
              <a:spLocks noChangeAspect="1"/>
            </p:cNvSpPr>
            <p:nvPr/>
          </p:nvSpPr>
          <p:spPr bwMode="auto">
            <a:xfrm>
              <a:off x="8301038" y="5681663"/>
              <a:ext cx="11112" cy="19050"/>
            </a:xfrm>
            <a:custGeom>
              <a:avLst/>
              <a:gdLst>
                <a:gd name="T0" fmla="*/ 1852 w 6"/>
                <a:gd name="T1" fmla="*/ 9525 h 10"/>
                <a:gd name="T2" fmla="*/ 7408 w 6"/>
                <a:gd name="T3" fmla="*/ 1905 h 10"/>
                <a:gd name="T4" fmla="*/ 11112 w 6"/>
                <a:gd name="T5" fmla="*/ 1905 h 10"/>
                <a:gd name="T6" fmla="*/ 7408 w 6"/>
                <a:gd name="T7" fmla="*/ 17145 h 10"/>
                <a:gd name="T8" fmla="*/ 1852 w 6"/>
                <a:gd name="T9" fmla="*/ 17145 h 10"/>
                <a:gd name="T10" fmla="*/ 1852 w 6"/>
                <a:gd name="T11" fmla="*/ 9525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0"/>
                <a:gd name="T20" fmla="*/ 6 w 6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0">
                  <a:moveTo>
                    <a:pt x="1" y="5"/>
                  </a:moveTo>
                  <a:cubicBezTo>
                    <a:pt x="1" y="3"/>
                    <a:pt x="3" y="2"/>
                    <a:pt x="4" y="1"/>
                  </a:cubicBezTo>
                  <a:cubicBezTo>
                    <a:pt x="5" y="0"/>
                    <a:pt x="6" y="1"/>
                    <a:pt x="6" y="1"/>
                  </a:cubicBezTo>
                  <a:cubicBezTo>
                    <a:pt x="6" y="4"/>
                    <a:pt x="5" y="7"/>
                    <a:pt x="4" y="9"/>
                  </a:cubicBezTo>
                  <a:cubicBezTo>
                    <a:pt x="4" y="9"/>
                    <a:pt x="2" y="10"/>
                    <a:pt x="1" y="9"/>
                  </a:cubicBezTo>
                  <a:cubicBezTo>
                    <a:pt x="0" y="8"/>
                    <a:pt x="0" y="6"/>
                    <a:pt x="1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4" name="Freeform 614"/>
            <p:cNvSpPr>
              <a:spLocks noChangeAspect="1"/>
            </p:cNvSpPr>
            <p:nvPr/>
          </p:nvSpPr>
          <p:spPr bwMode="auto">
            <a:xfrm>
              <a:off x="6105525" y="5614988"/>
              <a:ext cx="47625" cy="42862"/>
            </a:xfrm>
            <a:custGeom>
              <a:avLst/>
              <a:gdLst>
                <a:gd name="T0" fmla="*/ 5715 w 25"/>
                <a:gd name="T1" fmla="*/ 3727 h 23"/>
                <a:gd name="T2" fmla="*/ 13335 w 25"/>
                <a:gd name="T3" fmla="*/ 7454 h 23"/>
                <a:gd name="T4" fmla="*/ 9525 w 25"/>
                <a:gd name="T5" fmla="*/ 18636 h 23"/>
                <a:gd name="T6" fmla="*/ 15240 w 25"/>
                <a:gd name="T7" fmla="*/ 18636 h 23"/>
                <a:gd name="T8" fmla="*/ 26670 w 25"/>
                <a:gd name="T9" fmla="*/ 14909 h 23"/>
                <a:gd name="T10" fmla="*/ 22860 w 25"/>
                <a:gd name="T11" fmla="*/ 22363 h 23"/>
                <a:gd name="T12" fmla="*/ 32385 w 25"/>
                <a:gd name="T13" fmla="*/ 22363 h 23"/>
                <a:gd name="T14" fmla="*/ 45720 w 25"/>
                <a:gd name="T15" fmla="*/ 18636 h 23"/>
                <a:gd name="T16" fmla="*/ 45720 w 25"/>
                <a:gd name="T17" fmla="*/ 26090 h 23"/>
                <a:gd name="T18" fmla="*/ 32385 w 25"/>
                <a:gd name="T19" fmla="*/ 29817 h 23"/>
                <a:gd name="T20" fmla="*/ 30480 w 25"/>
                <a:gd name="T21" fmla="*/ 33544 h 23"/>
                <a:gd name="T22" fmla="*/ 40005 w 25"/>
                <a:gd name="T23" fmla="*/ 35408 h 23"/>
                <a:gd name="T24" fmla="*/ 38100 w 25"/>
                <a:gd name="T25" fmla="*/ 39135 h 23"/>
                <a:gd name="T26" fmla="*/ 28575 w 25"/>
                <a:gd name="T27" fmla="*/ 37271 h 23"/>
                <a:gd name="T28" fmla="*/ 22860 w 25"/>
                <a:gd name="T29" fmla="*/ 35408 h 23"/>
                <a:gd name="T30" fmla="*/ 15240 w 25"/>
                <a:gd name="T31" fmla="*/ 35408 h 23"/>
                <a:gd name="T32" fmla="*/ 7620 w 25"/>
                <a:gd name="T33" fmla="*/ 40998 h 23"/>
                <a:gd name="T34" fmla="*/ 0 w 25"/>
                <a:gd name="T35" fmla="*/ 37271 h 23"/>
                <a:gd name="T36" fmla="*/ 1905 w 25"/>
                <a:gd name="T37" fmla="*/ 18636 h 23"/>
                <a:gd name="T38" fmla="*/ 5715 w 25"/>
                <a:gd name="T39" fmla="*/ 3727 h 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5"/>
                <a:gd name="T61" fmla="*/ 0 h 23"/>
                <a:gd name="T62" fmla="*/ 25 w 25"/>
                <a:gd name="T63" fmla="*/ 23 h 2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5" h="23">
                  <a:moveTo>
                    <a:pt x="3" y="2"/>
                  </a:moveTo>
                  <a:cubicBezTo>
                    <a:pt x="4" y="0"/>
                    <a:pt x="6" y="3"/>
                    <a:pt x="7" y="4"/>
                  </a:cubicBezTo>
                  <a:cubicBezTo>
                    <a:pt x="7" y="6"/>
                    <a:pt x="4" y="8"/>
                    <a:pt x="5" y="10"/>
                  </a:cubicBezTo>
                  <a:cubicBezTo>
                    <a:pt x="5" y="12"/>
                    <a:pt x="7" y="10"/>
                    <a:pt x="8" y="10"/>
                  </a:cubicBezTo>
                  <a:cubicBezTo>
                    <a:pt x="10" y="9"/>
                    <a:pt x="12" y="7"/>
                    <a:pt x="14" y="8"/>
                  </a:cubicBezTo>
                  <a:cubicBezTo>
                    <a:pt x="16" y="8"/>
                    <a:pt x="11" y="11"/>
                    <a:pt x="12" y="12"/>
                  </a:cubicBezTo>
                  <a:cubicBezTo>
                    <a:pt x="13" y="13"/>
                    <a:pt x="15" y="12"/>
                    <a:pt x="17" y="12"/>
                  </a:cubicBezTo>
                  <a:cubicBezTo>
                    <a:pt x="19" y="12"/>
                    <a:pt x="21" y="9"/>
                    <a:pt x="24" y="10"/>
                  </a:cubicBezTo>
                  <a:cubicBezTo>
                    <a:pt x="25" y="10"/>
                    <a:pt x="25" y="13"/>
                    <a:pt x="24" y="14"/>
                  </a:cubicBezTo>
                  <a:cubicBezTo>
                    <a:pt x="22" y="16"/>
                    <a:pt x="19" y="15"/>
                    <a:pt x="17" y="16"/>
                  </a:cubicBezTo>
                  <a:cubicBezTo>
                    <a:pt x="16" y="16"/>
                    <a:pt x="15" y="18"/>
                    <a:pt x="16" y="18"/>
                  </a:cubicBezTo>
                  <a:cubicBezTo>
                    <a:pt x="17" y="19"/>
                    <a:pt x="19" y="18"/>
                    <a:pt x="21" y="19"/>
                  </a:cubicBezTo>
                  <a:cubicBezTo>
                    <a:pt x="21" y="19"/>
                    <a:pt x="21" y="21"/>
                    <a:pt x="20" y="21"/>
                  </a:cubicBezTo>
                  <a:cubicBezTo>
                    <a:pt x="19" y="22"/>
                    <a:pt x="17" y="21"/>
                    <a:pt x="15" y="20"/>
                  </a:cubicBezTo>
                  <a:cubicBezTo>
                    <a:pt x="14" y="20"/>
                    <a:pt x="13" y="19"/>
                    <a:pt x="12" y="19"/>
                  </a:cubicBezTo>
                  <a:cubicBezTo>
                    <a:pt x="11" y="19"/>
                    <a:pt x="10" y="19"/>
                    <a:pt x="8" y="19"/>
                  </a:cubicBezTo>
                  <a:cubicBezTo>
                    <a:pt x="7" y="20"/>
                    <a:pt x="6" y="22"/>
                    <a:pt x="4" y="22"/>
                  </a:cubicBezTo>
                  <a:cubicBezTo>
                    <a:pt x="2" y="23"/>
                    <a:pt x="1" y="22"/>
                    <a:pt x="0" y="20"/>
                  </a:cubicBezTo>
                  <a:cubicBezTo>
                    <a:pt x="1" y="17"/>
                    <a:pt x="1" y="13"/>
                    <a:pt x="1" y="10"/>
                  </a:cubicBezTo>
                  <a:cubicBezTo>
                    <a:pt x="2" y="7"/>
                    <a:pt x="2" y="4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5" name="Freeform 615"/>
            <p:cNvSpPr>
              <a:spLocks noChangeAspect="1"/>
            </p:cNvSpPr>
            <p:nvPr/>
          </p:nvSpPr>
          <p:spPr bwMode="auto">
            <a:xfrm>
              <a:off x="4006850" y="2120900"/>
              <a:ext cx="242888" cy="130175"/>
            </a:xfrm>
            <a:custGeom>
              <a:avLst/>
              <a:gdLst>
                <a:gd name="T0" fmla="*/ 195075 w 127"/>
                <a:gd name="T1" fmla="*/ 93803 h 68"/>
                <a:gd name="T2" fmla="*/ 145350 w 127"/>
                <a:gd name="T3" fmla="*/ 114860 h 68"/>
                <a:gd name="T4" fmla="*/ 109013 w 127"/>
                <a:gd name="T5" fmla="*/ 126346 h 68"/>
                <a:gd name="T6" fmla="*/ 86063 w 127"/>
                <a:gd name="T7" fmla="*/ 111032 h 68"/>
                <a:gd name="T8" fmla="*/ 72675 w 127"/>
                <a:gd name="T9" fmla="*/ 111032 h 68"/>
                <a:gd name="T10" fmla="*/ 40163 w 127"/>
                <a:gd name="T11" fmla="*/ 109117 h 68"/>
                <a:gd name="T12" fmla="*/ 61200 w 127"/>
                <a:gd name="T13" fmla="*/ 99546 h 68"/>
                <a:gd name="T14" fmla="*/ 55463 w 127"/>
                <a:gd name="T15" fmla="*/ 86145 h 68"/>
                <a:gd name="T16" fmla="*/ 47813 w 127"/>
                <a:gd name="T17" fmla="*/ 72745 h 68"/>
                <a:gd name="T18" fmla="*/ 15300 w 127"/>
                <a:gd name="T19" fmla="*/ 76574 h 68"/>
                <a:gd name="T20" fmla="*/ 30600 w 127"/>
                <a:gd name="T21" fmla="*/ 67002 h 68"/>
                <a:gd name="T22" fmla="*/ 61200 w 127"/>
                <a:gd name="T23" fmla="*/ 63173 h 68"/>
                <a:gd name="T24" fmla="*/ 49725 w 127"/>
                <a:gd name="T25" fmla="*/ 59344 h 68"/>
                <a:gd name="T26" fmla="*/ 59288 w 127"/>
                <a:gd name="T27" fmla="*/ 51687 h 68"/>
                <a:gd name="T28" fmla="*/ 34425 w 127"/>
                <a:gd name="T29" fmla="*/ 44030 h 68"/>
                <a:gd name="T30" fmla="*/ 15300 w 127"/>
                <a:gd name="T31" fmla="*/ 51687 h 68"/>
                <a:gd name="T32" fmla="*/ 7650 w 127"/>
                <a:gd name="T33" fmla="*/ 42115 h 68"/>
                <a:gd name="T34" fmla="*/ 13388 w 127"/>
                <a:gd name="T35" fmla="*/ 34458 h 68"/>
                <a:gd name="T36" fmla="*/ 24863 w 127"/>
                <a:gd name="T37" fmla="*/ 34458 h 68"/>
                <a:gd name="T38" fmla="*/ 24863 w 127"/>
                <a:gd name="T39" fmla="*/ 28715 h 68"/>
                <a:gd name="T40" fmla="*/ 24863 w 127"/>
                <a:gd name="T41" fmla="*/ 11486 h 68"/>
                <a:gd name="T42" fmla="*/ 51638 w 127"/>
                <a:gd name="T43" fmla="*/ 30629 h 68"/>
                <a:gd name="T44" fmla="*/ 38250 w 127"/>
                <a:gd name="T45" fmla="*/ 13400 h 68"/>
                <a:gd name="T46" fmla="*/ 34425 w 127"/>
                <a:gd name="T47" fmla="*/ 5743 h 68"/>
                <a:gd name="T48" fmla="*/ 63113 w 127"/>
                <a:gd name="T49" fmla="*/ 19143 h 68"/>
                <a:gd name="T50" fmla="*/ 70763 w 127"/>
                <a:gd name="T51" fmla="*/ 28715 h 68"/>
                <a:gd name="T52" fmla="*/ 66938 w 127"/>
                <a:gd name="T53" fmla="*/ 34458 h 68"/>
                <a:gd name="T54" fmla="*/ 76500 w 127"/>
                <a:gd name="T55" fmla="*/ 61259 h 68"/>
                <a:gd name="T56" fmla="*/ 86063 w 127"/>
                <a:gd name="T57" fmla="*/ 40201 h 68"/>
                <a:gd name="T58" fmla="*/ 95625 w 127"/>
                <a:gd name="T59" fmla="*/ 40201 h 68"/>
                <a:gd name="T60" fmla="*/ 97538 w 127"/>
                <a:gd name="T61" fmla="*/ 19143 h 68"/>
                <a:gd name="T62" fmla="*/ 116663 w 127"/>
                <a:gd name="T63" fmla="*/ 42115 h 68"/>
                <a:gd name="T64" fmla="*/ 130050 w 127"/>
                <a:gd name="T65" fmla="*/ 17229 h 68"/>
                <a:gd name="T66" fmla="*/ 145350 w 127"/>
                <a:gd name="T67" fmla="*/ 36372 h 68"/>
                <a:gd name="T68" fmla="*/ 151088 w 127"/>
                <a:gd name="T69" fmla="*/ 21058 h 68"/>
                <a:gd name="T70" fmla="*/ 156825 w 127"/>
                <a:gd name="T71" fmla="*/ 26801 h 68"/>
                <a:gd name="T72" fmla="*/ 170213 w 127"/>
                <a:gd name="T73" fmla="*/ 15315 h 68"/>
                <a:gd name="T74" fmla="*/ 179775 w 127"/>
                <a:gd name="T75" fmla="*/ 11486 h 68"/>
                <a:gd name="T76" fmla="*/ 189338 w 127"/>
                <a:gd name="T77" fmla="*/ 5743 h 68"/>
                <a:gd name="T78" fmla="*/ 210375 w 127"/>
                <a:gd name="T79" fmla="*/ 11486 h 68"/>
                <a:gd name="T80" fmla="*/ 210375 w 127"/>
                <a:gd name="T81" fmla="*/ 24886 h 68"/>
                <a:gd name="T82" fmla="*/ 214200 w 127"/>
                <a:gd name="T83" fmla="*/ 38287 h 68"/>
                <a:gd name="T84" fmla="*/ 233325 w 127"/>
                <a:gd name="T85" fmla="*/ 45944 h 68"/>
                <a:gd name="T86" fmla="*/ 229500 w 127"/>
                <a:gd name="T87" fmla="*/ 61259 h 68"/>
                <a:gd name="T88" fmla="*/ 219938 w 127"/>
                <a:gd name="T89" fmla="*/ 88060 h 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7"/>
                <a:gd name="T136" fmla="*/ 0 h 68"/>
                <a:gd name="T137" fmla="*/ 127 w 127"/>
                <a:gd name="T138" fmla="*/ 68 h 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7" h="68">
                  <a:moveTo>
                    <a:pt x="115" y="46"/>
                  </a:moveTo>
                  <a:cubicBezTo>
                    <a:pt x="111" y="48"/>
                    <a:pt x="106" y="47"/>
                    <a:pt x="102" y="49"/>
                  </a:cubicBezTo>
                  <a:cubicBezTo>
                    <a:pt x="97" y="51"/>
                    <a:pt x="94" y="56"/>
                    <a:pt x="89" y="58"/>
                  </a:cubicBezTo>
                  <a:cubicBezTo>
                    <a:pt x="85" y="60"/>
                    <a:pt x="80" y="58"/>
                    <a:pt x="76" y="60"/>
                  </a:cubicBezTo>
                  <a:cubicBezTo>
                    <a:pt x="73" y="61"/>
                    <a:pt x="73" y="65"/>
                    <a:pt x="70" y="66"/>
                  </a:cubicBezTo>
                  <a:cubicBezTo>
                    <a:pt x="66" y="68"/>
                    <a:pt x="61" y="67"/>
                    <a:pt x="57" y="66"/>
                  </a:cubicBezTo>
                  <a:cubicBezTo>
                    <a:pt x="53" y="65"/>
                    <a:pt x="48" y="65"/>
                    <a:pt x="45" y="63"/>
                  </a:cubicBezTo>
                  <a:cubicBezTo>
                    <a:pt x="44" y="62"/>
                    <a:pt x="46" y="60"/>
                    <a:pt x="45" y="58"/>
                  </a:cubicBezTo>
                  <a:cubicBezTo>
                    <a:pt x="44" y="58"/>
                    <a:pt x="43" y="59"/>
                    <a:pt x="42" y="59"/>
                  </a:cubicBezTo>
                  <a:cubicBezTo>
                    <a:pt x="40" y="59"/>
                    <a:pt x="39" y="59"/>
                    <a:pt x="38" y="58"/>
                  </a:cubicBezTo>
                  <a:cubicBezTo>
                    <a:pt x="37" y="58"/>
                    <a:pt x="37" y="55"/>
                    <a:pt x="36" y="55"/>
                  </a:cubicBezTo>
                  <a:cubicBezTo>
                    <a:pt x="31" y="55"/>
                    <a:pt x="26" y="57"/>
                    <a:pt x="21" y="57"/>
                  </a:cubicBezTo>
                  <a:cubicBezTo>
                    <a:pt x="20" y="57"/>
                    <a:pt x="20" y="56"/>
                    <a:pt x="21" y="55"/>
                  </a:cubicBezTo>
                  <a:cubicBezTo>
                    <a:pt x="24" y="54"/>
                    <a:pt x="29" y="55"/>
                    <a:pt x="32" y="52"/>
                  </a:cubicBezTo>
                  <a:cubicBezTo>
                    <a:pt x="33" y="50"/>
                    <a:pt x="28" y="49"/>
                    <a:pt x="27" y="47"/>
                  </a:cubicBezTo>
                  <a:cubicBezTo>
                    <a:pt x="27" y="46"/>
                    <a:pt x="29" y="46"/>
                    <a:pt x="29" y="45"/>
                  </a:cubicBezTo>
                  <a:cubicBezTo>
                    <a:pt x="28" y="44"/>
                    <a:pt x="26" y="45"/>
                    <a:pt x="25" y="44"/>
                  </a:cubicBezTo>
                  <a:cubicBezTo>
                    <a:pt x="24" y="42"/>
                    <a:pt x="26" y="39"/>
                    <a:pt x="25" y="38"/>
                  </a:cubicBezTo>
                  <a:cubicBezTo>
                    <a:pt x="23" y="37"/>
                    <a:pt x="21" y="38"/>
                    <a:pt x="19" y="38"/>
                  </a:cubicBezTo>
                  <a:cubicBezTo>
                    <a:pt x="15" y="39"/>
                    <a:pt x="11" y="41"/>
                    <a:pt x="8" y="40"/>
                  </a:cubicBezTo>
                  <a:cubicBezTo>
                    <a:pt x="6" y="39"/>
                    <a:pt x="6" y="36"/>
                    <a:pt x="7" y="35"/>
                  </a:cubicBezTo>
                  <a:cubicBezTo>
                    <a:pt x="10" y="34"/>
                    <a:pt x="13" y="35"/>
                    <a:pt x="16" y="35"/>
                  </a:cubicBezTo>
                  <a:cubicBezTo>
                    <a:pt x="18" y="34"/>
                    <a:pt x="21" y="34"/>
                    <a:pt x="23" y="34"/>
                  </a:cubicBezTo>
                  <a:cubicBezTo>
                    <a:pt x="26" y="34"/>
                    <a:pt x="29" y="34"/>
                    <a:pt x="32" y="33"/>
                  </a:cubicBezTo>
                  <a:cubicBezTo>
                    <a:pt x="33" y="33"/>
                    <a:pt x="33" y="31"/>
                    <a:pt x="32" y="31"/>
                  </a:cubicBezTo>
                  <a:cubicBezTo>
                    <a:pt x="30" y="30"/>
                    <a:pt x="28" y="32"/>
                    <a:pt x="26" y="31"/>
                  </a:cubicBezTo>
                  <a:cubicBezTo>
                    <a:pt x="25" y="31"/>
                    <a:pt x="23" y="30"/>
                    <a:pt x="24" y="29"/>
                  </a:cubicBezTo>
                  <a:cubicBezTo>
                    <a:pt x="26" y="27"/>
                    <a:pt x="30" y="29"/>
                    <a:pt x="31" y="27"/>
                  </a:cubicBezTo>
                  <a:cubicBezTo>
                    <a:pt x="32" y="25"/>
                    <a:pt x="29" y="23"/>
                    <a:pt x="27" y="23"/>
                  </a:cubicBezTo>
                  <a:cubicBezTo>
                    <a:pt x="24" y="22"/>
                    <a:pt x="21" y="22"/>
                    <a:pt x="18" y="23"/>
                  </a:cubicBezTo>
                  <a:cubicBezTo>
                    <a:pt x="15" y="24"/>
                    <a:pt x="14" y="26"/>
                    <a:pt x="12" y="27"/>
                  </a:cubicBezTo>
                  <a:cubicBezTo>
                    <a:pt x="11" y="28"/>
                    <a:pt x="9" y="28"/>
                    <a:pt x="8" y="27"/>
                  </a:cubicBezTo>
                  <a:cubicBezTo>
                    <a:pt x="6" y="27"/>
                    <a:pt x="3" y="27"/>
                    <a:pt x="1" y="25"/>
                  </a:cubicBezTo>
                  <a:cubicBezTo>
                    <a:pt x="0" y="24"/>
                    <a:pt x="2" y="22"/>
                    <a:pt x="4" y="22"/>
                  </a:cubicBezTo>
                  <a:cubicBezTo>
                    <a:pt x="5" y="22"/>
                    <a:pt x="7" y="24"/>
                    <a:pt x="8" y="23"/>
                  </a:cubicBezTo>
                  <a:cubicBezTo>
                    <a:pt x="9" y="22"/>
                    <a:pt x="5" y="19"/>
                    <a:pt x="7" y="18"/>
                  </a:cubicBezTo>
                  <a:cubicBezTo>
                    <a:pt x="8" y="17"/>
                    <a:pt x="10" y="21"/>
                    <a:pt x="11" y="21"/>
                  </a:cubicBezTo>
                  <a:cubicBezTo>
                    <a:pt x="13" y="21"/>
                    <a:pt x="14" y="19"/>
                    <a:pt x="13" y="18"/>
                  </a:cubicBezTo>
                  <a:cubicBezTo>
                    <a:pt x="12" y="17"/>
                    <a:pt x="9" y="18"/>
                    <a:pt x="9" y="17"/>
                  </a:cubicBezTo>
                  <a:cubicBezTo>
                    <a:pt x="9" y="15"/>
                    <a:pt x="13" y="16"/>
                    <a:pt x="13" y="15"/>
                  </a:cubicBezTo>
                  <a:cubicBezTo>
                    <a:pt x="13" y="13"/>
                    <a:pt x="10" y="13"/>
                    <a:pt x="10" y="12"/>
                  </a:cubicBezTo>
                  <a:cubicBezTo>
                    <a:pt x="10" y="10"/>
                    <a:pt x="11" y="6"/>
                    <a:pt x="13" y="6"/>
                  </a:cubicBezTo>
                  <a:cubicBezTo>
                    <a:pt x="16" y="7"/>
                    <a:pt x="18" y="11"/>
                    <a:pt x="21" y="13"/>
                  </a:cubicBezTo>
                  <a:cubicBezTo>
                    <a:pt x="23" y="14"/>
                    <a:pt x="25" y="16"/>
                    <a:pt x="27" y="16"/>
                  </a:cubicBezTo>
                  <a:cubicBezTo>
                    <a:pt x="29" y="15"/>
                    <a:pt x="30" y="12"/>
                    <a:pt x="29" y="10"/>
                  </a:cubicBezTo>
                  <a:cubicBezTo>
                    <a:pt x="27" y="8"/>
                    <a:pt x="22" y="9"/>
                    <a:pt x="20" y="7"/>
                  </a:cubicBezTo>
                  <a:cubicBezTo>
                    <a:pt x="19" y="6"/>
                    <a:pt x="25" y="7"/>
                    <a:pt x="25" y="6"/>
                  </a:cubicBezTo>
                  <a:cubicBezTo>
                    <a:pt x="24" y="4"/>
                    <a:pt x="17" y="5"/>
                    <a:pt x="18" y="3"/>
                  </a:cubicBezTo>
                  <a:cubicBezTo>
                    <a:pt x="20" y="0"/>
                    <a:pt x="24" y="1"/>
                    <a:pt x="27" y="2"/>
                  </a:cubicBezTo>
                  <a:cubicBezTo>
                    <a:pt x="30" y="4"/>
                    <a:pt x="31" y="8"/>
                    <a:pt x="33" y="10"/>
                  </a:cubicBezTo>
                  <a:cubicBezTo>
                    <a:pt x="35" y="11"/>
                    <a:pt x="38" y="11"/>
                    <a:pt x="39" y="13"/>
                  </a:cubicBezTo>
                  <a:cubicBezTo>
                    <a:pt x="40" y="14"/>
                    <a:pt x="37" y="14"/>
                    <a:pt x="37" y="15"/>
                  </a:cubicBezTo>
                  <a:cubicBezTo>
                    <a:pt x="37" y="17"/>
                    <a:pt x="41" y="17"/>
                    <a:pt x="41" y="18"/>
                  </a:cubicBezTo>
                  <a:cubicBezTo>
                    <a:pt x="40" y="20"/>
                    <a:pt x="36" y="17"/>
                    <a:pt x="35" y="18"/>
                  </a:cubicBezTo>
                  <a:cubicBezTo>
                    <a:pt x="35" y="21"/>
                    <a:pt x="39" y="22"/>
                    <a:pt x="39" y="24"/>
                  </a:cubicBezTo>
                  <a:cubicBezTo>
                    <a:pt x="40" y="26"/>
                    <a:pt x="38" y="33"/>
                    <a:pt x="40" y="32"/>
                  </a:cubicBezTo>
                  <a:cubicBezTo>
                    <a:pt x="43" y="30"/>
                    <a:pt x="42" y="25"/>
                    <a:pt x="44" y="21"/>
                  </a:cubicBezTo>
                  <a:cubicBezTo>
                    <a:pt x="44" y="21"/>
                    <a:pt x="45" y="21"/>
                    <a:pt x="45" y="21"/>
                  </a:cubicBezTo>
                  <a:cubicBezTo>
                    <a:pt x="46" y="22"/>
                    <a:pt x="45" y="24"/>
                    <a:pt x="46" y="24"/>
                  </a:cubicBezTo>
                  <a:cubicBezTo>
                    <a:pt x="47" y="23"/>
                    <a:pt x="50" y="22"/>
                    <a:pt x="50" y="21"/>
                  </a:cubicBezTo>
                  <a:cubicBezTo>
                    <a:pt x="50" y="17"/>
                    <a:pt x="46" y="14"/>
                    <a:pt x="46" y="11"/>
                  </a:cubicBezTo>
                  <a:cubicBezTo>
                    <a:pt x="46" y="9"/>
                    <a:pt x="50" y="8"/>
                    <a:pt x="51" y="10"/>
                  </a:cubicBezTo>
                  <a:cubicBezTo>
                    <a:pt x="54" y="12"/>
                    <a:pt x="54" y="18"/>
                    <a:pt x="57" y="21"/>
                  </a:cubicBezTo>
                  <a:cubicBezTo>
                    <a:pt x="58" y="22"/>
                    <a:pt x="60" y="23"/>
                    <a:pt x="61" y="22"/>
                  </a:cubicBezTo>
                  <a:cubicBezTo>
                    <a:pt x="62" y="19"/>
                    <a:pt x="60" y="14"/>
                    <a:pt x="62" y="11"/>
                  </a:cubicBezTo>
                  <a:cubicBezTo>
                    <a:pt x="63" y="9"/>
                    <a:pt x="67" y="7"/>
                    <a:pt x="68" y="9"/>
                  </a:cubicBezTo>
                  <a:cubicBezTo>
                    <a:pt x="71" y="11"/>
                    <a:pt x="70" y="16"/>
                    <a:pt x="72" y="19"/>
                  </a:cubicBezTo>
                  <a:cubicBezTo>
                    <a:pt x="73" y="20"/>
                    <a:pt x="76" y="20"/>
                    <a:pt x="76" y="19"/>
                  </a:cubicBezTo>
                  <a:cubicBezTo>
                    <a:pt x="76" y="15"/>
                    <a:pt x="72" y="12"/>
                    <a:pt x="73" y="9"/>
                  </a:cubicBezTo>
                  <a:cubicBezTo>
                    <a:pt x="74" y="7"/>
                    <a:pt x="78" y="9"/>
                    <a:pt x="79" y="11"/>
                  </a:cubicBezTo>
                  <a:cubicBezTo>
                    <a:pt x="80" y="12"/>
                    <a:pt x="78" y="14"/>
                    <a:pt x="79" y="14"/>
                  </a:cubicBezTo>
                  <a:cubicBezTo>
                    <a:pt x="80" y="15"/>
                    <a:pt x="82" y="15"/>
                    <a:pt x="82" y="14"/>
                  </a:cubicBezTo>
                  <a:cubicBezTo>
                    <a:pt x="84" y="13"/>
                    <a:pt x="84" y="10"/>
                    <a:pt x="85" y="8"/>
                  </a:cubicBezTo>
                  <a:cubicBezTo>
                    <a:pt x="86" y="7"/>
                    <a:pt x="88" y="7"/>
                    <a:pt x="89" y="8"/>
                  </a:cubicBezTo>
                  <a:cubicBezTo>
                    <a:pt x="90" y="8"/>
                    <a:pt x="91" y="10"/>
                    <a:pt x="92" y="10"/>
                  </a:cubicBezTo>
                  <a:cubicBezTo>
                    <a:pt x="93" y="9"/>
                    <a:pt x="94" y="8"/>
                    <a:pt x="94" y="6"/>
                  </a:cubicBezTo>
                  <a:cubicBezTo>
                    <a:pt x="94" y="5"/>
                    <a:pt x="92" y="3"/>
                    <a:pt x="93" y="3"/>
                  </a:cubicBezTo>
                  <a:cubicBezTo>
                    <a:pt x="95" y="2"/>
                    <a:pt x="98" y="2"/>
                    <a:pt x="99" y="3"/>
                  </a:cubicBezTo>
                  <a:cubicBezTo>
                    <a:pt x="102" y="4"/>
                    <a:pt x="102" y="7"/>
                    <a:pt x="105" y="8"/>
                  </a:cubicBezTo>
                  <a:cubicBezTo>
                    <a:pt x="107" y="9"/>
                    <a:pt x="108" y="6"/>
                    <a:pt x="110" y="6"/>
                  </a:cubicBezTo>
                  <a:cubicBezTo>
                    <a:pt x="111" y="6"/>
                    <a:pt x="110" y="8"/>
                    <a:pt x="110" y="9"/>
                  </a:cubicBezTo>
                  <a:cubicBezTo>
                    <a:pt x="110" y="10"/>
                    <a:pt x="109" y="12"/>
                    <a:pt x="110" y="13"/>
                  </a:cubicBezTo>
                  <a:cubicBezTo>
                    <a:pt x="111" y="14"/>
                    <a:pt x="114" y="12"/>
                    <a:pt x="114" y="13"/>
                  </a:cubicBezTo>
                  <a:cubicBezTo>
                    <a:pt x="115" y="15"/>
                    <a:pt x="111" y="18"/>
                    <a:pt x="112" y="20"/>
                  </a:cubicBezTo>
                  <a:cubicBezTo>
                    <a:pt x="113" y="21"/>
                    <a:pt x="116" y="19"/>
                    <a:pt x="117" y="20"/>
                  </a:cubicBezTo>
                  <a:cubicBezTo>
                    <a:pt x="119" y="21"/>
                    <a:pt x="122" y="22"/>
                    <a:pt x="122" y="24"/>
                  </a:cubicBezTo>
                  <a:cubicBezTo>
                    <a:pt x="123" y="26"/>
                    <a:pt x="119" y="28"/>
                    <a:pt x="121" y="29"/>
                  </a:cubicBezTo>
                  <a:cubicBezTo>
                    <a:pt x="127" y="33"/>
                    <a:pt x="127" y="34"/>
                    <a:pt x="120" y="32"/>
                  </a:cubicBezTo>
                  <a:cubicBezTo>
                    <a:pt x="118" y="31"/>
                    <a:pt x="122" y="35"/>
                    <a:pt x="121" y="37"/>
                  </a:cubicBezTo>
                  <a:cubicBezTo>
                    <a:pt x="120" y="41"/>
                    <a:pt x="118" y="44"/>
                    <a:pt x="115" y="4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6" name="Freeform 616"/>
            <p:cNvSpPr>
              <a:spLocks noChangeAspect="1"/>
            </p:cNvSpPr>
            <p:nvPr/>
          </p:nvSpPr>
          <p:spPr bwMode="auto">
            <a:xfrm>
              <a:off x="4344988" y="1935163"/>
              <a:ext cx="30162" cy="23812"/>
            </a:xfrm>
            <a:custGeom>
              <a:avLst/>
              <a:gdLst>
                <a:gd name="T0" fmla="*/ 5655 w 16"/>
                <a:gd name="T1" fmla="*/ 23812 h 13"/>
                <a:gd name="T2" fmla="*/ 1885 w 16"/>
                <a:gd name="T3" fmla="*/ 20149 h 13"/>
                <a:gd name="T4" fmla="*/ 9426 w 16"/>
                <a:gd name="T5" fmla="*/ 10990 h 13"/>
                <a:gd name="T6" fmla="*/ 18851 w 16"/>
                <a:gd name="T7" fmla="*/ 1832 h 13"/>
                <a:gd name="T8" fmla="*/ 26392 w 16"/>
                <a:gd name="T9" fmla="*/ 1832 h 13"/>
                <a:gd name="T10" fmla="*/ 26392 w 16"/>
                <a:gd name="T11" fmla="*/ 10990 h 13"/>
                <a:gd name="T12" fmla="*/ 11311 w 16"/>
                <a:gd name="T13" fmla="*/ 14654 h 13"/>
                <a:gd name="T14" fmla="*/ 5655 w 16"/>
                <a:gd name="T15" fmla="*/ 23812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13"/>
                <a:gd name="T26" fmla="*/ 16 w 16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13">
                  <a:moveTo>
                    <a:pt x="3" y="13"/>
                  </a:moveTo>
                  <a:cubicBezTo>
                    <a:pt x="2" y="13"/>
                    <a:pt x="0" y="12"/>
                    <a:pt x="1" y="11"/>
                  </a:cubicBezTo>
                  <a:cubicBezTo>
                    <a:pt x="1" y="9"/>
                    <a:pt x="3" y="7"/>
                    <a:pt x="5" y="6"/>
                  </a:cubicBezTo>
                  <a:cubicBezTo>
                    <a:pt x="7" y="4"/>
                    <a:pt x="8" y="2"/>
                    <a:pt x="10" y="1"/>
                  </a:cubicBezTo>
                  <a:cubicBezTo>
                    <a:pt x="12" y="1"/>
                    <a:pt x="13" y="0"/>
                    <a:pt x="14" y="1"/>
                  </a:cubicBezTo>
                  <a:cubicBezTo>
                    <a:pt x="15" y="2"/>
                    <a:pt x="16" y="5"/>
                    <a:pt x="14" y="6"/>
                  </a:cubicBezTo>
                  <a:cubicBezTo>
                    <a:pt x="12" y="8"/>
                    <a:pt x="9" y="7"/>
                    <a:pt x="6" y="8"/>
                  </a:cubicBezTo>
                  <a:cubicBezTo>
                    <a:pt x="5" y="9"/>
                    <a:pt x="4" y="12"/>
                    <a:pt x="3" y="1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7" name="Freeform 617"/>
            <p:cNvSpPr>
              <a:spLocks noChangeAspect="1"/>
            </p:cNvSpPr>
            <p:nvPr/>
          </p:nvSpPr>
          <p:spPr bwMode="auto">
            <a:xfrm>
              <a:off x="4748213" y="1544638"/>
              <a:ext cx="223837" cy="173037"/>
            </a:xfrm>
            <a:custGeom>
              <a:avLst/>
              <a:gdLst>
                <a:gd name="T0" fmla="*/ 220011 w 117"/>
                <a:gd name="T1" fmla="*/ 66553 h 91"/>
                <a:gd name="T2" fmla="*/ 185574 w 117"/>
                <a:gd name="T3" fmla="*/ 72257 h 91"/>
                <a:gd name="T4" fmla="*/ 172182 w 117"/>
                <a:gd name="T5" fmla="*/ 95075 h 91"/>
                <a:gd name="T6" fmla="*/ 156877 w 117"/>
                <a:gd name="T7" fmla="*/ 119795 h 91"/>
                <a:gd name="T8" fmla="*/ 133920 w 117"/>
                <a:gd name="T9" fmla="*/ 167332 h 91"/>
                <a:gd name="T10" fmla="*/ 109049 w 117"/>
                <a:gd name="T11" fmla="*/ 155923 h 91"/>
                <a:gd name="T12" fmla="*/ 122441 w 117"/>
                <a:gd name="T13" fmla="*/ 146416 h 91"/>
                <a:gd name="T14" fmla="*/ 91831 w 117"/>
                <a:gd name="T15" fmla="*/ 144514 h 91"/>
                <a:gd name="T16" fmla="*/ 74612 w 117"/>
                <a:gd name="T17" fmla="*/ 123598 h 91"/>
                <a:gd name="T18" fmla="*/ 84178 w 117"/>
                <a:gd name="T19" fmla="*/ 127401 h 91"/>
                <a:gd name="T20" fmla="*/ 107136 w 117"/>
                <a:gd name="T21" fmla="*/ 123598 h 91"/>
                <a:gd name="T22" fmla="*/ 93744 w 117"/>
                <a:gd name="T23" fmla="*/ 115992 h 91"/>
                <a:gd name="T24" fmla="*/ 132006 w 117"/>
                <a:gd name="T25" fmla="*/ 108386 h 91"/>
                <a:gd name="T26" fmla="*/ 95657 w 117"/>
                <a:gd name="T27" fmla="*/ 112189 h 91"/>
                <a:gd name="T28" fmla="*/ 68873 w 117"/>
                <a:gd name="T29" fmla="*/ 117893 h 91"/>
                <a:gd name="T30" fmla="*/ 63134 w 117"/>
                <a:gd name="T31" fmla="*/ 98878 h 91"/>
                <a:gd name="T32" fmla="*/ 72699 w 117"/>
                <a:gd name="T33" fmla="*/ 102681 h 91"/>
                <a:gd name="T34" fmla="*/ 89917 w 117"/>
                <a:gd name="T35" fmla="*/ 96977 h 91"/>
                <a:gd name="T36" fmla="*/ 122441 w 117"/>
                <a:gd name="T37" fmla="*/ 87469 h 91"/>
                <a:gd name="T38" fmla="*/ 130093 w 117"/>
                <a:gd name="T39" fmla="*/ 81765 h 91"/>
                <a:gd name="T40" fmla="*/ 122441 w 117"/>
                <a:gd name="T41" fmla="*/ 74159 h 91"/>
                <a:gd name="T42" fmla="*/ 128180 w 117"/>
                <a:gd name="T43" fmla="*/ 58947 h 91"/>
                <a:gd name="T44" fmla="*/ 103309 w 117"/>
                <a:gd name="T45" fmla="*/ 79863 h 91"/>
                <a:gd name="T46" fmla="*/ 99483 w 117"/>
                <a:gd name="T47" fmla="*/ 62750 h 91"/>
                <a:gd name="T48" fmla="*/ 88004 w 117"/>
                <a:gd name="T49" fmla="*/ 70356 h 91"/>
                <a:gd name="T50" fmla="*/ 84178 w 117"/>
                <a:gd name="T51" fmla="*/ 81765 h 91"/>
                <a:gd name="T52" fmla="*/ 72699 w 117"/>
                <a:gd name="T53" fmla="*/ 85568 h 91"/>
                <a:gd name="T54" fmla="*/ 38263 w 117"/>
                <a:gd name="T55" fmla="*/ 79863 h 91"/>
                <a:gd name="T56" fmla="*/ 22958 w 117"/>
                <a:gd name="T57" fmla="*/ 66553 h 91"/>
                <a:gd name="T58" fmla="*/ 34436 w 117"/>
                <a:gd name="T59" fmla="*/ 60848 h 91"/>
                <a:gd name="T60" fmla="*/ 28697 w 117"/>
                <a:gd name="T61" fmla="*/ 53242 h 91"/>
                <a:gd name="T62" fmla="*/ 26784 w 117"/>
                <a:gd name="T63" fmla="*/ 38030 h 91"/>
                <a:gd name="T64" fmla="*/ 17218 w 117"/>
                <a:gd name="T65" fmla="*/ 47538 h 91"/>
                <a:gd name="T66" fmla="*/ 5739 w 117"/>
                <a:gd name="T67" fmla="*/ 20917 h 91"/>
                <a:gd name="T68" fmla="*/ 32523 w 117"/>
                <a:gd name="T69" fmla="*/ 20917 h 91"/>
                <a:gd name="T70" fmla="*/ 44002 w 117"/>
                <a:gd name="T71" fmla="*/ 13311 h 91"/>
                <a:gd name="T72" fmla="*/ 63134 w 117"/>
                <a:gd name="T73" fmla="*/ 17114 h 91"/>
                <a:gd name="T74" fmla="*/ 42089 w 117"/>
                <a:gd name="T75" fmla="*/ 22818 h 91"/>
                <a:gd name="T76" fmla="*/ 55481 w 117"/>
                <a:gd name="T77" fmla="*/ 30424 h 91"/>
                <a:gd name="T78" fmla="*/ 70786 w 117"/>
                <a:gd name="T79" fmla="*/ 43735 h 91"/>
                <a:gd name="T80" fmla="*/ 72699 w 117"/>
                <a:gd name="T81" fmla="*/ 20917 h 91"/>
                <a:gd name="T82" fmla="*/ 88004 w 117"/>
                <a:gd name="T83" fmla="*/ 20917 h 91"/>
                <a:gd name="T84" fmla="*/ 97570 w 117"/>
                <a:gd name="T85" fmla="*/ 45636 h 91"/>
                <a:gd name="T86" fmla="*/ 110962 w 117"/>
                <a:gd name="T87" fmla="*/ 57045 h 91"/>
                <a:gd name="T88" fmla="*/ 103309 w 117"/>
                <a:gd name="T89" fmla="*/ 24720 h 91"/>
                <a:gd name="T90" fmla="*/ 114788 w 117"/>
                <a:gd name="T91" fmla="*/ 1902 h 91"/>
                <a:gd name="T92" fmla="*/ 128180 w 117"/>
                <a:gd name="T93" fmla="*/ 9508 h 91"/>
                <a:gd name="T94" fmla="*/ 143485 w 117"/>
                <a:gd name="T95" fmla="*/ 38030 h 91"/>
                <a:gd name="T96" fmla="*/ 149225 w 117"/>
                <a:gd name="T97" fmla="*/ 22818 h 91"/>
                <a:gd name="T98" fmla="*/ 162617 w 117"/>
                <a:gd name="T99" fmla="*/ 38030 h 91"/>
                <a:gd name="T100" fmla="*/ 189401 w 117"/>
                <a:gd name="T101" fmla="*/ 53242 h 91"/>
                <a:gd name="T102" fmla="*/ 218098 w 117"/>
                <a:gd name="T103" fmla="*/ 58947 h 9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17"/>
                <a:gd name="T157" fmla="*/ 0 h 91"/>
                <a:gd name="T158" fmla="*/ 117 w 117"/>
                <a:gd name="T159" fmla="*/ 91 h 9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17" h="91">
                  <a:moveTo>
                    <a:pt x="114" y="31"/>
                  </a:moveTo>
                  <a:cubicBezTo>
                    <a:pt x="115" y="31"/>
                    <a:pt x="117" y="34"/>
                    <a:pt x="115" y="35"/>
                  </a:cubicBezTo>
                  <a:cubicBezTo>
                    <a:pt x="113" y="37"/>
                    <a:pt x="110" y="35"/>
                    <a:pt x="108" y="35"/>
                  </a:cubicBezTo>
                  <a:cubicBezTo>
                    <a:pt x="104" y="36"/>
                    <a:pt x="100" y="36"/>
                    <a:pt x="97" y="38"/>
                  </a:cubicBezTo>
                  <a:cubicBezTo>
                    <a:pt x="94" y="39"/>
                    <a:pt x="91" y="40"/>
                    <a:pt x="90" y="43"/>
                  </a:cubicBezTo>
                  <a:cubicBezTo>
                    <a:pt x="89" y="45"/>
                    <a:pt x="92" y="48"/>
                    <a:pt x="90" y="50"/>
                  </a:cubicBezTo>
                  <a:cubicBezTo>
                    <a:pt x="89" y="51"/>
                    <a:pt x="85" y="49"/>
                    <a:pt x="84" y="51"/>
                  </a:cubicBezTo>
                  <a:cubicBezTo>
                    <a:pt x="82" y="55"/>
                    <a:pt x="85" y="60"/>
                    <a:pt x="82" y="63"/>
                  </a:cubicBezTo>
                  <a:cubicBezTo>
                    <a:pt x="81" y="65"/>
                    <a:pt x="76" y="64"/>
                    <a:pt x="75" y="66"/>
                  </a:cubicBezTo>
                  <a:cubicBezTo>
                    <a:pt x="72" y="73"/>
                    <a:pt x="74" y="82"/>
                    <a:pt x="70" y="88"/>
                  </a:cubicBezTo>
                  <a:cubicBezTo>
                    <a:pt x="69" y="90"/>
                    <a:pt x="65" y="91"/>
                    <a:pt x="63" y="90"/>
                  </a:cubicBezTo>
                  <a:cubicBezTo>
                    <a:pt x="60" y="88"/>
                    <a:pt x="58" y="85"/>
                    <a:pt x="57" y="82"/>
                  </a:cubicBezTo>
                  <a:cubicBezTo>
                    <a:pt x="56" y="81"/>
                    <a:pt x="58" y="79"/>
                    <a:pt x="59" y="79"/>
                  </a:cubicBezTo>
                  <a:cubicBezTo>
                    <a:pt x="60" y="78"/>
                    <a:pt x="64" y="79"/>
                    <a:pt x="64" y="77"/>
                  </a:cubicBezTo>
                  <a:cubicBezTo>
                    <a:pt x="63" y="75"/>
                    <a:pt x="60" y="75"/>
                    <a:pt x="58" y="75"/>
                  </a:cubicBezTo>
                  <a:cubicBezTo>
                    <a:pt x="55" y="75"/>
                    <a:pt x="52" y="77"/>
                    <a:pt x="48" y="76"/>
                  </a:cubicBezTo>
                  <a:cubicBezTo>
                    <a:pt x="45" y="75"/>
                    <a:pt x="41" y="73"/>
                    <a:pt x="39" y="70"/>
                  </a:cubicBezTo>
                  <a:cubicBezTo>
                    <a:pt x="37" y="69"/>
                    <a:pt x="38" y="66"/>
                    <a:pt x="39" y="65"/>
                  </a:cubicBezTo>
                  <a:cubicBezTo>
                    <a:pt x="39" y="64"/>
                    <a:pt x="42" y="64"/>
                    <a:pt x="43" y="65"/>
                  </a:cubicBezTo>
                  <a:cubicBezTo>
                    <a:pt x="44" y="65"/>
                    <a:pt x="43" y="67"/>
                    <a:pt x="44" y="67"/>
                  </a:cubicBezTo>
                  <a:cubicBezTo>
                    <a:pt x="47" y="68"/>
                    <a:pt x="52" y="68"/>
                    <a:pt x="56" y="67"/>
                  </a:cubicBezTo>
                  <a:cubicBezTo>
                    <a:pt x="56" y="67"/>
                    <a:pt x="57" y="65"/>
                    <a:pt x="56" y="65"/>
                  </a:cubicBezTo>
                  <a:cubicBezTo>
                    <a:pt x="54" y="64"/>
                    <a:pt x="51" y="65"/>
                    <a:pt x="48" y="64"/>
                  </a:cubicBezTo>
                  <a:cubicBezTo>
                    <a:pt x="48" y="64"/>
                    <a:pt x="48" y="62"/>
                    <a:pt x="49" y="61"/>
                  </a:cubicBezTo>
                  <a:cubicBezTo>
                    <a:pt x="55" y="60"/>
                    <a:pt x="62" y="61"/>
                    <a:pt x="68" y="60"/>
                  </a:cubicBezTo>
                  <a:cubicBezTo>
                    <a:pt x="69" y="60"/>
                    <a:pt x="70" y="58"/>
                    <a:pt x="69" y="57"/>
                  </a:cubicBezTo>
                  <a:cubicBezTo>
                    <a:pt x="67" y="56"/>
                    <a:pt x="64" y="57"/>
                    <a:pt x="62" y="57"/>
                  </a:cubicBezTo>
                  <a:cubicBezTo>
                    <a:pt x="58" y="57"/>
                    <a:pt x="54" y="58"/>
                    <a:pt x="50" y="59"/>
                  </a:cubicBezTo>
                  <a:cubicBezTo>
                    <a:pt x="48" y="59"/>
                    <a:pt x="47" y="61"/>
                    <a:pt x="45" y="62"/>
                  </a:cubicBezTo>
                  <a:cubicBezTo>
                    <a:pt x="42" y="62"/>
                    <a:pt x="39" y="63"/>
                    <a:pt x="36" y="62"/>
                  </a:cubicBezTo>
                  <a:cubicBezTo>
                    <a:pt x="35" y="62"/>
                    <a:pt x="34" y="60"/>
                    <a:pt x="33" y="59"/>
                  </a:cubicBezTo>
                  <a:cubicBezTo>
                    <a:pt x="32" y="57"/>
                    <a:pt x="32" y="54"/>
                    <a:pt x="33" y="52"/>
                  </a:cubicBezTo>
                  <a:cubicBezTo>
                    <a:pt x="33" y="51"/>
                    <a:pt x="35" y="52"/>
                    <a:pt x="36" y="52"/>
                  </a:cubicBezTo>
                  <a:cubicBezTo>
                    <a:pt x="37" y="52"/>
                    <a:pt x="37" y="54"/>
                    <a:pt x="38" y="54"/>
                  </a:cubicBezTo>
                  <a:cubicBezTo>
                    <a:pt x="40" y="53"/>
                    <a:pt x="41" y="51"/>
                    <a:pt x="42" y="51"/>
                  </a:cubicBezTo>
                  <a:cubicBezTo>
                    <a:pt x="44" y="50"/>
                    <a:pt x="46" y="51"/>
                    <a:pt x="47" y="51"/>
                  </a:cubicBezTo>
                  <a:cubicBezTo>
                    <a:pt x="50" y="50"/>
                    <a:pt x="53" y="47"/>
                    <a:pt x="56" y="46"/>
                  </a:cubicBezTo>
                  <a:cubicBezTo>
                    <a:pt x="59" y="45"/>
                    <a:pt x="62" y="46"/>
                    <a:pt x="64" y="46"/>
                  </a:cubicBezTo>
                  <a:cubicBezTo>
                    <a:pt x="66" y="46"/>
                    <a:pt x="67" y="46"/>
                    <a:pt x="68" y="45"/>
                  </a:cubicBezTo>
                  <a:cubicBezTo>
                    <a:pt x="69" y="45"/>
                    <a:pt x="69" y="43"/>
                    <a:pt x="68" y="43"/>
                  </a:cubicBezTo>
                  <a:cubicBezTo>
                    <a:pt x="67" y="42"/>
                    <a:pt x="64" y="44"/>
                    <a:pt x="63" y="43"/>
                  </a:cubicBezTo>
                  <a:cubicBezTo>
                    <a:pt x="62" y="42"/>
                    <a:pt x="64" y="40"/>
                    <a:pt x="64" y="39"/>
                  </a:cubicBezTo>
                  <a:cubicBezTo>
                    <a:pt x="66" y="37"/>
                    <a:pt x="68" y="36"/>
                    <a:pt x="69" y="34"/>
                  </a:cubicBezTo>
                  <a:cubicBezTo>
                    <a:pt x="70" y="33"/>
                    <a:pt x="68" y="31"/>
                    <a:pt x="67" y="31"/>
                  </a:cubicBezTo>
                  <a:cubicBezTo>
                    <a:pt x="63" y="33"/>
                    <a:pt x="60" y="36"/>
                    <a:pt x="57" y="39"/>
                  </a:cubicBezTo>
                  <a:cubicBezTo>
                    <a:pt x="56" y="40"/>
                    <a:pt x="55" y="42"/>
                    <a:pt x="54" y="42"/>
                  </a:cubicBezTo>
                  <a:cubicBezTo>
                    <a:pt x="52" y="41"/>
                    <a:pt x="50" y="40"/>
                    <a:pt x="50" y="38"/>
                  </a:cubicBezTo>
                  <a:cubicBezTo>
                    <a:pt x="50" y="36"/>
                    <a:pt x="53" y="34"/>
                    <a:pt x="52" y="33"/>
                  </a:cubicBezTo>
                  <a:cubicBezTo>
                    <a:pt x="52" y="31"/>
                    <a:pt x="50" y="31"/>
                    <a:pt x="49" y="32"/>
                  </a:cubicBezTo>
                  <a:cubicBezTo>
                    <a:pt x="47" y="33"/>
                    <a:pt x="47" y="36"/>
                    <a:pt x="46" y="37"/>
                  </a:cubicBezTo>
                  <a:cubicBezTo>
                    <a:pt x="45" y="38"/>
                    <a:pt x="43" y="37"/>
                    <a:pt x="43" y="37"/>
                  </a:cubicBezTo>
                  <a:cubicBezTo>
                    <a:pt x="43" y="39"/>
                    <a:pt x="45" y="41"/>
                    <a:pt x="44" y="43"/>
                  </a:cubicBezTo>
                  <a:cubicBezTo>
                    <a:pt x="44" y="44"/>
                    <a:pt x="41" y="42"/>
                    <a:pt x="40" y="43"/>
                  </a:cubicBezTo>
                  <a:cubicBezTo>
                    <a:pt x="39" y="43"/>
                    <a:pt x="39" y="45"/>
                    <a:pt x="38" y="45"/>
                  </a:cubicBezTo>
                  <a:cubicBezTo>
                    <a:pt x="34" y="46"/>
                    <a:pt x="30" y="46"/>
                    <a:pt x="27" y="45"/>
                  </a:cubicBezTo>
                  <a:cubicBezTo>
                    <a:pt x="24" y="45"/>
                    <a:pt x="21" y="44"/>
                    <a:pt x="20" y="42"/>
                  </a:cubicBezTo>
                  <a:cubicBezTo>
                    <a:pt x="19" y="40"/>
                    <a:pt x="24" y="40"/>
                    <a:pt x="23" y="39"/>
                  </a:cubicBezTo>
                  <a:cubicBezTo>
                    <a:pt x="19" y="38"/>
                    <a:pt x="14" y="38"/>
                    <a:pt x="12" y="35"/>
                  </a:cubicBezTo>
                  <a:cubicBezTo>
                    <a:pt x="13" y="31"/>
                    <a:pt x="9" y="29"/>
                    <a:pt x="11" y="28"/>
                  </a:cubicBezTo>
                  <a:cubicBezTo>
                    <a:pt x="12" y="28"/>
                    <a:pt x="15" y="29"/>
                    <a:pt x="18" y="32"/>
                  </a:cubicBezTo>
                  <a:cubicBezTo>
                    <a:pt x="19" y="31"/>
                    <a:pt x="20" y="30"/>
                    <a:pt x="19" y="29"/>
                  </a:cubicBezTo>
                  <a:cubicBezTo>
                    <a:pt x="18" y="28"/>
                    <a:pt x="16" y="29"/>
                    <a:pt x="15" y="28"/>
                  </a:cubicBezTo>
                  <a:cubicBezTo>
                    <a:pt x="14" y="27"/>
                    <a:pt x="14" y="26"/>
                    <a:pt x="13" y="25"/>
                  </a:cubicBezTo>
                  <a:cubicBezTo>
                    <a:pt x="13" y="23"/>
                    <a:pt x="14" y="22"/>
                    <a:pt x="14" y="20"/>
                  </a:cubicBezTo>
                  <a:cubicBezTo>
                    <a:pt x="13" y="19"/>
                    <a:pt x="12" y="19"/>
                    <a:pt x="11" y="20"/>
                  </a:cubicBezTo>
                  <a:cubicBezTo>
                    <a:pt x="10" y="21"/>
                    <a:pt x="11" y="25"/>
                    <a:pt x="9" y="25"/>
                  </a:cubicBezTo>
                  <a:cubicBezTo>
                    <a:pt x="6" y="25"/>
                    <a:pt x="3" y="22"/>
                    <a:pt x="1" y="19"/>
                  </a:cubicBezTo>
                  <a:cubicBezTo>
                    <a:pt x="0" y="16"/>
                    <a:pt x="1" y="13"/>
                    <a:pt x="3" y="11"/>
                  </a:cubicBezTo>
                  <a:cubicBezTo>
                    <a:pt x="5" y="8"/>
                    <a:pt x="9" y="8"/>
                    <a:pt x="12" y="8"/>
                  </a:cubicBezTo>
                  <a:cubicBezTo>
                    <a:pt x="14" y="8"/>
                    <a:pt x="15" y="12"/>
                    <a:pt x="17" y="11"/>
                  </a:cubicBezTo>
                  <a:cubicBezTo>
                    <a:pt x="19" y="10"/>
                    <a:pt x="16" y="7"/>
                    <a:pt x="17" y="6"/>
                  </a:cubicBezTo>
                  <a:cubicBezTo>
                    <a:pt x="19" y="5"/>
                    <a:pt x="21" y="7"/>
                    <a:pt x="23" y="7"/>
                  </a:cubicBezTo>
                  <a:cubicBezTo>
                    <a:pt x="26" y="7"/>
                    <a:pt x="30" y="6"/>
                    <a:pt x="33" y="6"/>
                  </a:cubicBezTo>
                  <a:cubicBezTo>
                    <a:pt x="34" y="6"/>
                    <a:pt x="34" y="8"/>
                    <a:pt x="33" y="9"/>
                  </a:cubicBezTo>
                  <a:cubicBezTo>
                    <a:pt x="29" y="10"/>
                    <a:pt x="25" y="9"/>
                    <a:pt x="22" y="10"/>
                  </a:cubicBezTo>
                  <a:cubicBezTo>
                    <a:pt x="21" y="10"/>
                    <a:pt x="22" y="12"/>
                    <a:pt x="22" y="12"/>
                  </a:cubicBezTo>
                  <a:cubicBezTo>
                    <a:pt x="24" y="12"/>
                    <a:pt x="27" y="11"/>
                    <a:pt x="29" y="12"/>
                  </a:cubicBezTo>
                  <a:cubicBezTo>
                    <a:pt x="30" y="13"/>
                    <a:pt x="28" y="15"/>
                    <a:pt x="29" y="16"/>
                  </a:cubicBezTo>
                  <a:cubicBezTo>
                    <a:pt x="30" y="19"/>
                    <a:pt x="31" y="22"/>
                    <a:pt x="33" y="23"/>
                  </a:cubicBezTo>
                  <a:cubicBezTo>
                    <a:pt x="34" y="24"/>
                    <a:pt x="37" y="25"/>
                    <a:pt x="37" y="23"/>
                  </a:cubicBezTo>
                  <a:cubicBezTo>
                    <a:pt x="37" y="20"/>
                    <a:pt x="32" y="19"/>
                    <a:pt x="33" y="15"/>
                  </a:cubicBezTo>
                  <a:cubicBezTo>
                    <a:pt x="33" y="13"/>
                    <a:pt x="36" y="13"/>
                    <a:pt x="38" y="11"/>
                  </a:cubicBezTo>
                  <a:cubicBezTo>
                    <a:pt x="40" y="10"/>
                    <a:pt x="41" y="8"/>
                    <a:pt x="42" y="8"/>
                  </a:cubicBezTo>
                  <a:cubicBezTo>
                    <a:pt x="44" y="8"/>
                    <a:pt x="45" y="10"/>
                    <a:pt x="46" y="11"/>
                  </a:cubicBezTo>
                  <a:cubicBezTo>
                    <a:pt x="48" y="14"/>
                    <a:pt x="49" y="17"/>
                    <a:pt x="50" y="20"/>
                  </a:cubicBezTo>
                  <a:cubicBezTo>
                    <a:pt x="51" y="21"/>
                    <a:pt x="50" y="23"/>
                    <a:pt x="51" y="24"/>
                  </a:cubicBezTo>
                  <a:cubicBezTo>
                    <a:pt x="52" y="25"/>
                    <a:pt x="54" y="23"/>
                    <a:pt x="54" y="24"/>
                  </a:cubicBezTo>
                  <a:cubicBezTo>
                    <a:pt x="56" y="25"/>
                    <a:pt x="56" y="28"/>
                    <a:pt x="58" y="30"/>
                  </a:cubicBezTo>
                  <a:cubicBezTo>
                    <a:pt x="58" y="31"/>
                    <a:pt x="61" y="30"/>
                    <a:pt x="61" y="29"/>
                  </a:cubicBezTo>
                  <a:cubicBezTo>
                    <a:pt x="60" y="23"/>
                    <a:pt x="55" y="19"/>
                    <a:pt x="54" y="13"/>
                  </a:cubicBezTo>
                  <a:cubicBezTo>
                    <a:pt x="54" y="9"/>
                    <a:pt x="55" y="4"/>
                    <a:pt x="56" y="1"/>
                  </a:cubicBezTo>
                  <a:cubicBezTo>
                    <a:pt x="57" y="0"/>
                    <a:pt x="59" y="0"/>
                    <a:pt x="60" y="1"/>
                  </a:cubicBezTo>
                  <a:cubicBezTo>
                    <a:pt x="62" y="3"/>
                    <a:pt x="62" y="8"/>
                    <a:pt x="65" y="10"/>
                  </a:cubicBezTo>
                  <a:cubicBezTo>
                    <a:pt x="67" y="11"/>
                    <a:pt x="66" y="5"/>
                    <a:pt x="67" y="5"/>
                  </a:cubicBezTo>
                  <a:cubicBezTo>
                    <a:pt x="70" y="5"/>
                    <a:pt x="74" y="7"/>
                    <a:pt x="75" y="9"/>
                  </a:cubicBezTo>
                  <a:cubicBezTo>
                    <a:pt x="77" y="13"/>
                    <a:pt x="74" y="17"/>
                    <a:pt x="75" y="20"/>
                  </a:cubicBezTo>
                  <a:cubicBezTo>
                    <a:pt x="76" y="21"/>
                    <a:pt x="78" y="21"/>
                    <a:pt x="78" y="20"/>
                  </a:cubicBezTo>
                  <a:cubicBezTo>
                    <a:pt x="79" y="18"/>
                    <a:pt x="76" y="13"/>
                    <a:pt x="78" y="12"/>
                  </a:cubicBezTo>
                  <a:cubicBezTo>
                    <a:pt x="81" y="11"/>
                    <a:pt x="84" y="14"/>
                    <a:pt x="86" y="17"/>
                  </a:cubicBezTo>
                  <a:cubicBezTo>
                    <a:pt x="87" y="17"/>
                    <a:pt x="84" y="20"/>
                    <a:pt x="85" y="20"/>
                  </a:cubicBezTo>
                  <a:cubicBezTo>
                    <a:pt x="88" y="22"/>
                    <a:pt x="93" y="20"/>
                    <a:pt x="96" y="22"/>
                  </a:cubicBezTo>
                  <a:cubicBezTo>
                    <a:pt x="98" y="23"/>
                    <a:pt x="97" y="28"/>
                    <a:pt x="99" y="28"/>
                  </a:cubicBezTo>
                  <a:cubicBezTo>
                    <a:pt x="102" y="29"/>
                    <a:pt x="105" y="28"/>
                    <a:pt x="108" y="31"/>
                  </a:cubicBezTo>
                  <a:cubicBezTo>
                    <a:pt x="109" y="33"/>
                    <a:pt x="112" y="30"/>
                    <a:pt x="114" y="3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8" name="Freeform 618"/>
            <p:cNvSpPr>
              <a:spLocks noChangeAspect="1"/>
            </p:cNvSpPr>
            <p:nvPr/>
          </p:nvSpPr>
          <p:spPr bwMode="auto">
            <a:xfrm>
              <a:off x="4941888" y="1616075"/>
              <a:ext cx="44450" cy="23813"/>
            </a:xfrm>
            <a:custGeom>
              <a:avLst/>
              <a:gdLst>
                <a:gd name="T0" fmla="*/ 37042 w 24"/>
                <a:gd name="T1" fmla="*/ 0 h 12"/>
                <a:gd name="T2" fmla="*/ 42598 w 24"/>
                <a:gd name="T3" fmla="*/ 1984 h 12"/>
                <a:gd name="T4" fmla="*/ 38894 w 24"/>
                <a:gd name="T5" fmla="*/ 17860 h 12"/>
                <a:gd name="T6" fmla="*/ 18521 w 24"/>
                <a:gd name="T7" fmla="*/ 21829 h 12"/>
                <a:gd name="T8" fmla="*/ 11113 w 24"/>
                <a:gd name="T9" fmla="*/ 19844 h 12"/>
                <a:gd name="T10" fmla="*/ 1852 w 24"/>
                <a:gd name="T11" fmla="*/ 5953 h 12"/>
                <a:gd name="T12" fmla="*/ 9260 w 24"/>
                <a:gd name="T13" fmla="*/ 3969 h 12"/>
                <a:gd name="T14" fmla="*/ 37042 w 24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12"/>
                <a:gd name="T26" fmla="*/ 24 w 24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12">
                  <a:moveTo>
                    <a:pt x="20" y="0"/>
                  </a:moveTo>
                  <a:cubicBezTo>
                    <a:pt x="21" y="0"/>
                    <a:pt x="23" y="0"/>
                    <a:pt x="23" y="1"/>
                  </a:cubicBezTo>
                  <a:cubicBezTo>
                    <a:pt x="24" y="4"/>
                    <a:pt x="23" y="8"/>
                    <a:pt x="21" y="9"/>
                  </a:cubicBezTo>
                  <a:cubicBezTo>
                    <a:pt x="18" y="12"/>
                    <a:pt x="14" y="11"/>
                    <a:pt x="10" y="11"/>
                  </a:cubicBezTo>
                  <a:cubicBezTo>
                    <a:pt x="8" y="11"/>
                    <a:pt x="6" y="12"/>
                    <a:pt x="6" y="10"/>
                  </a:cubicBezTo>
                  <a:cubicBezTo>
                    <a:pt x="6" y="7"/>
                    <a:pt x="2" y="5"/>
                    <a:pt x="1" y="3"/>
                  </a:cubicBezTo>
                  <a:cubicBezTo>
                    <a:pt x="0" y="2"/>
                    <a:pt x="3" y="2"/>
                    <a:pt x="5" y="2"/>
                  </a:cubicBezTo>
                  <a:cubicBezTo>
                    <a:pt x="10" y="1"/>
                    <a:pt x="15" y="0"/>
                    <a:pt x="2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19" name="Freeform 619"/>
            <p:cNvSpPr>
              <a:spLocks noChangeAspect="1"/>
            </p:cNvSpPr>
            <p:nvPr/>
          </p:nvSpPr>
          <p:spPr bwMode="auto">
            <a:xfrm>
              <a:off x="4956175" y="1630363"/>
              <a:ext cx="80963" cy="57150"/>
            </a:xfrm>
            <a:custGeom>
              <a:avLst/>
              <a:gdLst>
                <a:gd name="T0" fmla="*/ 44337 w 42"/>
                <a:gd name="T1" fmla="*/ 1905 h 30"/>
                <a:gd name="T2" fmla="*/ 48192 w 42"/>
                <a:gd name="T3" fmla="*/ 5715 h 30"/>
                <a:gd name="T4" fmla="*/ 44337 w 42"/>
                <a:gd name="T5" fmla="*/ 17145 h 30"/>
                <a:gd name="T6" fmla="*/ 65541 w 42"/>
                <a:gd name="T7" fmla="*/ 26670 h 30"/>
                <a:gd name="T8" fmla="*/ 77108 w 42"/>
                <a:gd name="T9" fmla="*/ 20955 h 30"/>
                <a:gd name="T10" fmla="*/ 79035 w 42"/>
                <a:gd name="T11" fmla="*/ 32385 h 30"/>
                <a:gd name="T12" fmla="*/ 55903 w 42"/>
                <a:gd name="T13" fmla="*/ 45720 h 30"/>
                <a:gd name="T14" fmla="*/ 46265 w 42"/>
                <a:gd name="T15" fmla="*/ 55245 h 30"/>
                <a:gd name="T16" fmla="*/ 42409 w 42"/>
                <a:gd name="T17" fmla="*/ 51435 h 30"/>
                <a:gd name="T18" fmla="*/ 48192 w 42"/>
                <a:gd name="T19" fmla="*/ 38100 h 30"/>
                <a:gd name="T20" fmla="*/ 36626 w 42"/>
                <a:gd name="T21" fmla="*/ 38100 h 30"/>
                <a:gd name="T22" fmla="*/ 30843 w 42"/>
                <a:gd name="T23" fmla="*/ 43815 h 30"/>
                <a:gd name="T24" fmla="*/ 3855 w 42"/>
                <a:gd name="T25" fmla="*/ 43815 h 30"/>
                <a:gd name="T26" fmla="*/ 0 w 42"/>
                <a:gd name="T27" fmla="*/ 34290 h 30"/>
                <a:gd name="T28" fmla="*/ 7711 w 42"/>
                <a:gd name="T29" fmla="*/ 20955 h 30"/>
                <a:gd name="T30" fmla="*/ 1928 w 42"/>
                <a:gd name="T31" fmla="*/ 13335 h 30"/>
                <a:gd name="T32" fmla="*/ 5783 w 42"/>
                <a:gd name="T33" fmla="*/ 11430 h 30"/>
                <a:gd name="T34" fmla="*/ 23132 w 42"/>
                <a:gd name="T35" fmla="*/ 11430 h 30"/>
                <a:gd name="T36" fmla="*/ 36626 w 42"/>
                <a:gd name="T37" fmla="*/ 0 h 30"/>
                <a:gd name="T38" fmla="*/ 44337 w 42"/>
                <a:gd name="T39" fmla="*/ 1905 h 3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2"/>
                <a:gd name="T61" fmla="*/ 0 h 30"/>
                <a:gd name="T62" fmla="*/ 42 w 42"/>
                <a:gd name="T63" fmla="*/ 30 h 3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2" h="30">
                  <a:moveTo>
                    <a:pt x="23" y="1"/>
                  </a:moveTo>
                  <a:cubicBezTo>
                    <a:pt x="24" y="1"/>
                    <a:pt x="25" y="2"/>
                    <a:pt x="25" y="3"/>
                  </a:cubicBezTo>
                  <a:cubicBezTo>
                    <a:pt x="25" y="5"/>
                    <a:pt x="22" y="7"/>
                    <a:pt x="23" y="9"/>
                  </a:cubicBezTo>
                  <a:cubicBezTo>
                    <a:pt x="26" y="12"/>
                    <a:pt x="30" y="13"/>
                    <a:pt x="34" y="14"/>
                  </a:cubicBezTo>
                  <a:cubicBezTo>
                    <a:pt x="37" y="14"/>
                    <a:pt x="38" y="10"/>
                    <a:pt x="40" y="11"/>
                  </a:cubicBezTo>
                  <a:cubicBezTo>
                    <a:pt x="42" y="12"/>
                    <a:pt x="42" y="16"/>
                    <a:pt x="41" y="17"/>
                  </a:cubicBezTo>
                  <a:cubicBezTo>
                    <a:pt x="37" y="18"/>
                    <a:pt x="35" y="22"/>
                    <a:pt x="29" y="24"/>
                  </a:cubicBezTo>
                  <a:cubicBezTo>
                    <a:pt x="26" y="24"/>
                    <a:pt x="25" y="27"/>
                    <a:pt x="24" y="29"/>
                  </a:cubicBezTo>
                  <a:cubicBezTo>
                    <a:pt x="23" y="30"/>
                    <a:pt x="21" y="28"/>
                    <a:pt x="22" y="27"/>
                  </a:cubicBezTo>
                  <a:cubicBezTo>
                    <a:pt x="22" y="25"/>
                    <a:pt x="26" y="23"/>
                    <a:pt x="25" y="20"/>
                  </a:cubicBezTo>
                  <a:cubicBezTo>
                    <a:pt x="24" y="19"/>
                    <a:pt x="21" y="20"/>
                    <a:pt x="19" y="20"/>
                  </a:cubicBezTo>
                  <a:cubicBezTo>
                    <a:pt x="18" y="21"/>
                    <a:pt x="17" y="23"/>
                    <a:pt x="16" y="23"/>
                  </a:cubicBezTo>
                  <a:cubicBezTo>
                    <a:pt x="11" y="22"/>
                    <a:pt x="6" y="22"/>
                    <a:pt x="2" y="23"/>
                  </a:cubicBezTo>
                  <a:cubicBezTo>
                    <a:pt x="0" y="23"/>
                    <a:pt x="0" y="20"/>
                    <a:pt x="0" y="18"/>
                  </a:cubicBezTo>
                  <a:cubicBezTo>
                    <a:pt x="1" y="15"/>
                    <a:pt x="4" y="14"/>
                    <a:pt x="4" y="11"/>
                  </a:cubicBezTo>
                  <a:cubicBezTo>
                    <a:pt x="4" y="9"/>
                    <a:pt x="1" y="9"/>
                    <a:pt x="1" y="7"/>
                  </a:cubicBezTo>
                  <a:cubicBezTo>
                    <a:pt x="1" y="7"/>
                    <a:pt x="2" y="6"/>
                    <a:pt x="3" y="6"/>
                  </a:cubicBezTo>
                  <a:cubicBezTo>
                    <a:pt x="6" y="6"/>
                    <a:pt x="9" y="7"/>
                    <a:pt x="12" y="6"/>
                  </a:cubicBezTo>
                  <a:cubicBezTo>
                    <a:pt x="15" y="5"/>
                    <a:pt x="17" y="2"/>
                    <a:pt x="19" y="0"/>
                  </a:cubicBezTo>
                  <a:cubicBezTo>
                    <a:pt x="20" y="0"/>
                    <a:pt x="22" y="0"/>
                    <a:pt x="2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0" name="Freeform 620"/>
            <p:cNvSpPr>
              <a:spLocks noChangeAspect="1"/>
            </p:cNvSpPr>
            <p:nvPr/>
          </p:nvSpPr>
          <p:spPr bwMode="auto">
            <a:xfrm>
              <a:off x="4751388" y="1603375"/>
              <a:ext cx="31750" cy="36513"/>
            </a:xfrm>
            <a:custGeom>
              <a:avLst/>
              <a:gdLst>
                <a:gd name="T0" fmla="*/ 0 w 17"/>
                <a:gd name="T1" fmla="*/ 3843 h 19"/>
                <a:gd name="T2" fmla="*/ 5603 w 17"/>
                <a:gd name="T3" fmla="*/ 0 h 19"/>
                <a:gd name="T4" fmla="*/ 22412 w 17"/>
                <a:gd name="T5" fmla="*/ 23061 h 19"/>
                <a:gd name="T6" fmla="*/ 29882 w 17"/>
                <a:gd name="T7" fmla="*/ 32670 h 19"/>
                <a:gd name="T8" fmla="*/ 24279 w 17"/>
                <a:gd name="T9" fmla="*/ 34591 h 19"/>
                <a:gd name="T10" fmla="*/ 7471 w 17"/>
                <a:gd name="T11" fmla="*/ 19217 h 19"/>
                <a:gd name="T12" fmla="*/ 0 w 17"/>
                <a:gd name="T13" fmla="*/ 3843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9"/>
                <a:gd name="T23" fmla="*/ 17 w 1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9">
                  <a:moveTo>
                    <a:pt x="0" y="2"/>
                  </a:moveTo>
                  <a:cubicBezTo>
                    <a:pt x="0" y="1"/>
                    <a:pt x="2" y="0"/>
                    <a:pt x="3" y="0"/>
                  </a:cubicBezTo>
                  <a:cubicBezTo>
                    <a:pt x="6" y="4"/>
                    <a:pt x="9" y="8"/>
                    <a:pt x="12" y="12"/>
                  </a:cubicBezTo>
                  <a:cubicBezTo>
                    <a:pt x="14" y="14"/>
                    <a:pt x="16" y="15"/>
                    <a:pt x="16" y="17"/>
                  </a:cubicBezTo>
                  <a:cubicBezTo>
                    <a:pt x="17" y="18"/>
                    <a:pt x="14" y="19"/>
                    <a:pt x="13" y="18"/>
                  </a:cubicBezTo>
                  <a:cubicBezTo>
                    <a:pt x="11" y="15"/>
                    <a:pt x="7" y="13"/>
                    <a:pt x="4" y="10"/>
                  </a:cubicBezTo>
                  <a:cubicBezTo>
                    <a:pt x="2" y="8"/>
                    <a:pt x="1" y="5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1" name="Freeform 621"/>
            <p:cNvSpPr>
              <a:spLocks noChangeAspect="1"/>
            </p:cNvSpPr>
            <p:nvPr/>
          </p:nvSpPr>
          <p:spPr bwMode="auto">
            <a:xfrm>
              <a:off x="4884738" y="1522413"/>
              <a:ext cx="193675" cy="73025"/>
            </a:xfrm>
            <a:custGeom>
              <a:avLst/>
              <a:gdLst>
                <a:gd name="T0" fmla="*/ 191776 w 102"/>
                <a:gd name="T1" fmla="*/ 30747 h 38"/>
                <a:gd name="T2" fmla="*/ 191776 w 102"/>
                <a:gd name="T3" fmla="*/ 24982 h 38"/>
                <a:gd name="T4" fmla="*/ 168991 w 102"/>
                <a:gd name="T5" fmla="*/ 19217 h 38"/>
                <a:gd name="T6" fmla="*/ 150003 w 102"/>
                <a:gd name="T7" fmla="*/ 11530 h 38"/>
                <a:gd name="T8" fmla="*/ 136712 w 102"/>
                <a:gd name="T9" fmla="*/ 9609 h 38"/>
                <a:gd name="T10" fmla="*/ 125319 w 102"/>
                <a:gd name="T11" fmla="*/ 17295 h 38"/>
                <a:gd name="T12" fmla="*/ 113926 w 102"/>
                <a:gd name="T13" fmla="*/ 19217 h 38"/>
                <a:gd name="T14" fmla="*/ 113926 w 102"/>
                <a:gd name="T15" fmla="*/ 11530 h 38"/>
                <a:gd name="T16" fmla="*/ 104433 w 102"/>
                <a:gd name="T17" fmla="*/ 0 h 38"/>
                <a:gd name="T18" fmla="*/ 102534 w 102"/>
                <a:gd name="T19" fmla="*/ 7687 h 38"/>
                <a:gd name="T20" fmla="*/ 98736 w 102"/>
                <a:gd name="T21" fmla="*/ 7687 h 38"/>
                <a:gd name="T22" fmla="*/ 102534 w 102"/>
                <a:gd name="T23" fmla="*/ 26904 h 38"/>
                <a:gd name="T24" fmla="*/ 94939 w 102"/>
                <a:gd name="T25" fmla="*/ 26904 h 38"/>
                <a:gd name="T26" fmla="*/ 85445 w 102"/>
                <a:gd name="T27" fmla="*/ 15374 h 38"/>
                <a:gd name="T28" fmla="*/ 64558 w 102"/>
                <a:gd name="T29" fmla="*/ 15374 h 38"/>
                <a:gd name="T30" fmla="*/ 53166 w 102"/>
                <a:gd name="T31" fmla="*/ 3843 h 38"/>
                <a:gd name="T32" fmla="*/ 41773 w 102"/>
                <a:gd name="T33" fmla="*/ 3843 h 38"/>
                <a:gd name="T34" fmla="*/ 49368 w 102"/>
                <a:gd name="T35" fmla="*/ 23061 h 38"/>
                <a:gd name="T36" fmla="*/ 34178 w 102"/>
                <a:gd name="T37" fmla="*/ 13452 h 38"/>
                <a:gd name="T38" fmla="*/ 28482 w 102"/>
                <a:gd name="T39" fmla="*/ 7687 h 38"/>
                <a:gd name="T40" fmla="*/ 32279 w 102"/>
                <a:gd name="T41" fmla="*/ 23061 h 38"/>
                <a:gd name="T42" fmla="*/ 22785 w 102"/>
                <a:gd name="T43" fmla="*/ 13452 h 38"/>
                <a:gd name="T44" fmla="*/ 7595 w 102"/>
                <a:gd name="T45" fmla="*/ 11530 h 38"/>
                <a:gd name="T46" fmla="*/ 0 w 102"/>
                <a:gd name="T47" fmla="*/ 13452 h 38"/>
                <a:gd name="T48" fmla="*/ 18988 w 102"/>
                <a:gd name="T49" fmla="*/ 21139 h 38"/>
                <a:gd name="T50" fmla="*/ 17089 w 102"/>
                <a:gd name="T51" fmla="*/ 26904 h 38"/>
                <a:gd name="T52" fmla="*/ 28482 w 102"/>
                <a:gd name="T53" fmla="*/ 28826 h 38"/>
                <a:gd name="T54" fmla="*/ 28482 w 102"/>
                <a:gd name="T55" fmla="*/ 30747 h 38"/>
                <a:gd name="T56" fmla="*/ 17089 w 102"/>
                <a:gd name="T57" fmla="*/ 34591 h 38"/>
                <a:gd name="T58" fmla="*/ 26583 w 102"/>
                <a:gd name="T59" fmla="*/ 40356 h 38"/>
                <a:gd name="T60" fmla="*/ 41773 w 102"/>
                <a:gd name="T61" fmla="*/ 40356 h 38"/>
                <a:gd name="T62" fmla="*/ 62660 w 102"/>
                <a:gd name="T63" fmla="*/ 36513 h 38"/>
                <a:gd name="T64" fmla="*/ 91141 w 102"/>
                <a:gd name="T65" fmla="*/ 36513 h 38"/>
                <a:gd name="T66" fmla="*/ 91141 w 102"/>
                <a:gd name="T67" fmla="*/ 42278 h 38"/>
                <a:gd name="T68" fmla="*/ 68356 w 102"/>
                <a:gd name="T69" fmla="*/ 44199 h 38"/>
                <a:gd name="T70" fmla="*/ 64558 w 102"/>
                <a:gd name="T71" fmla="*/ 48043 h 38"/>
                <a:gd name="T72" fmla="*/ 51267 w 102"/>
                <a:gd name="T73" fmla="*/ 44199 h 38"/>
                <a:gd name="T74" fmla="*/ 51267 w 102"/>
                <a:gd name="T75" fmla="*/ 48043 h 38"/>
                <a:gd name="T76" fmla="*/ 66457 w 102"/>
                <a:gd name="T77" fmla="*/ 51886 h 38"/>
                <a:gd name="T78" fmla="*/ 72153 w 102"/>
                <a:gd name="T79" fmla="*/ 61495 h 38"/>
                <a:gd name="T80" fmla="*/ 104433 w 102"/>
                <a:gd name="T81" fmla="*/ 57651 h 38"/>
                <a:gd name="T82" fmla="*/ 106331 w 102"/>
                <a:gd name="T83" fmla="*/ 65338 h 38"/>
                <a:gd name="T84" fmla="*/ 131015 w 102"/>
                <a:gd name="T85" fmla="*/ 71103 h 38"/>
                <a:gd name="T86" fmla="*/ 148104 w 102"/>
                <a:gd name="T87" fmla="*/ 55730 h 38"/>
                <a:gd name="T88" fmla="*/ 163295 w 102"/>
                <a:gd name="T89" fmla="*/ 55730 h 38"/>
                <a:gd name="T90" fmla="*/ 170890 w 102"/>
                <a:gd name="T91" fmla="*/ 42278 h 38"/>
                <a:gd name="T92" fmla="*/ 191776 w 102"/>
                <a:gd name="T93" fmla="*/ 30747 h 3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2"/>
                <a:gd name="T142" fmla="*/ 0 h 38"/>
                <a:gd name="T143" fmla="*/ 102 w 102"/>
                <a:gd name="T144" fmla="*/ 38 h 3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2" h="38">
                  <a:moveTo>
                    <a:pt x="101" y="16"/>
                  </a:moveTo>
                  <a:cubicBezTo>
                    <a:pt x="102" y="16"/>
                    <a:pt x="102" y="13"/>
                    <a:pt x="101" y="13"/>
                  </a:cubicBezTo>
                  <a:cubicBezTo>
                    <a:pt x="97" y="11"/>
                    <a:pt x="93" y="11"/>
                    <a:pt x="89" y="10"/>
                  </a:cubicBezTo>
                  <a:cubicBezTo>
                    <a:pt x="86" y="9"/>
                    <a:pt x="82" y="7"/>
                    <a:pt x="79" y="6"/>
                  </a:cubicBezTo>
                  <a:cubicBezTo>
                    <a:pt x="76" y="6"/>
                    <a:pt x="74" y="4"/>
                    <a:pt x="72" y="5"/>
                  </a:cubicBezTo>
                  <a:cubicBezTo>
                    <a:pt x="69" y="6"/>
                    <a:pt x="68" y="8"/>
                    <a:pt x="66" y="9"/>
                  </a:cubicBezTo>
                  <a:cubicBezTo>
                    <a:pt x="65" y="10"/>
                    <a:pt x="62" y="11"/>
                    <a:pt x="60" y="10"/>
                  </a:cubicBezTo>
                  <a:cubicBezTo>
                    <a:pt x="59" y="10"/>
                    <a:pt x="60" y="8"/>
                    <a:pt x="60" y="6"/>
                  </a:cubicBezTo>
                  <a:cubicBezTo>
                    <a:pt x="58" y="4"/>
                    <a:pt x="57" y="1"/>
                    <a:pt x="55" y="0"/>
                  </a:cubicBezTo>
                  <a:cubicBezTo>
                    <a:pt x="54" y="0"/>
                    <a:pt x="55" y="3"/>
                    <a:pt x="54" y="4"/>
                  </a:cubicBezTo>
                  <a:cubicBezTo>
                    <a:pt x="54" y="5"/>
                    <a:pt x="52" y="4"/>
                    <a:pt x="52" y="4"/>
                  </a:cubicBezTo>
                  <a:cubicBezTo>
                    <a:pt x="52" y="8"/>
                    <a:pt x="54" y="11"/>
                    <a:pt x="54" y="14"/>
                  </a:cubicBezTo>
                  <a:cubicBezTo>
                    <a:pt x="53" y="15"/>
                    <a:pt x="51" y="15"/>
                    <a:pt x="50" y="14"/>
                  </a:cubicBezTo>
                  <a:cubicBezTo>
                    <a:pt x="48" y="13"/>
                    <a:pt x="47" y="9"/>
                    <a:pt x="45" y="8"/>
                  </a:cubicBezTo>
                  <a:cubicBezTo>
                    <a:pt x="42" y="7"/>
                    <a:pt x="38" y="9"/>
                    <a:pt x="34" y="8"/>
                  </a:cubicBezTo>
                  <a:cubicBezTo>
                    <a:pt x="32" y="7"/>
                    <a:pt x="31" y="4"/>
                    <a:pt x="28" y="2"/>
                  </a:cubicBezTo>
                  <a:cubicBezTo>
                    <a:pt x="26" y="2"/>
                    <a:pt x="23" y="1"/>
                    <a:pt x="22" y="2"/>
                  </a:cubicBezTo>
                  <a:cubicBezTo>
                    <a:pt x="22" y="6"/>
                    <a:pt x="28" y="9"/>
                    <a:pt x="26" y="12"/>
                  </a:cubicBezTo>
                  <a:cubicBezTo>
                    <a:pt x="24" y="14"/>
                    <a:pt x="21" y="8"/>
                    <a:pt x="18" y="7"/>
                  </a:cubicBezTo>
                  <a:cubicBezTo>
                    <a:pt x="17" y="6"/>
                    <a:pt x="16" y="3"/>
                    <a:pt x="15" y="4"/>
                  </a:cubicBezTo>
                  <a:cubicBezTo>
                    <a:pt x="15" y="7"/>
                    <a:pt x="19" y="10"/>
                    <a:pt x="17" y="12"/>
                  </a:cubicBezTo>
                  <a:cubicBezTo>
                    <a:pt x="15" y="14"/>
                    <a:pt x="14" y="8"/>
                    <a:pt x="12" y="7"/>
                  </a:cubicBezTo>
                  <a:cubicBezTo>
                    <a:pt x="10" y="6"/>
                    <a:pt x="7" y="7"/>
                    <a:pt x="4" y="6"/>
                  </a:cubicBezTo>
                  <a:cubicBezTo>
                    <a:pt x="3" y="6"/>
                    <a:pt x="0" y="6"/>
                    <a:pt x="0" y="7"/>
                  </a:cubicBezTo>
                  <a:cubicBezTo>
                    <a:pt x="3" y="9"/>
                    <a:pt x="7" y="9"/>
                    <a:pt x="10" y="11"/>
                  </a:cubicBezTo>
                  <a:cubicBezTo>
                    <a:pt x="11" y="12"/>
                    <a:pt x="8" y="13"/>
                    <a:pt x="9" y="14"/>
                  </a:cubicBezTo>
                  <a:cubicBezTo>
                    <a:pt x="10" y="15"/>
                    <a:pt x="13" y="14"/>
                    <a:pt x="15" y="15"/>
                  </a:cubicBezTo>
                  <a:cubicBezTo>
                    <a:pt x="15" y="15"/>
                    <a:pt x="15" y="16"/>
                    <a:pt x="15" y="16"/>
                  </a:cubicBezTo>
                  <a:cubicBezTo>
                    <a:pt x="13" y="17"/>
                    <a:pt x="9" y="16"/>
                    <a:pt x="9" y="18"/>
                  </a:cubicBezTo>
                  <a:cubicBezTo>
                    <a:pt x="8" y="20"/>
                    <a:pt x="12" y="21"/>
                    <a:pt x="14" y="21"/>
                  </a:cubicBezTo>
                  <a:cubicBezTo>
                    <a:pt x="17" y="22"/>
                    <a:pt x="19" y="22"/>
                    <a:pt x="22" y="21"/>
                  </a:cubicBezTo>
                  <a:cubicBezTo>
                    <a:pt x="26" y="21"/>
                    <a:pt x="29" y="20"/>
                    <a:pt x="33" y="19"/>
                  </a:cubicBezTo>
                  <a:cubicBezTo>
                    <a:pt x="38" y="19"/>
                    <a:pt x="43" y="18"/>
                    <a:pt x="48" y="19"/>
                  </a:cubicBezTo>
                  <a:cubicBezTo>
                    <a:pt x="49" y="19"/>
                    <a:pt x="49" y="22"/>
                    <a:pt x="48" y="22"/>
                  </a:cubicBezTo>
                  <a:cubicBezTo>
                    <a:pt x="44" y="24"/>
                    <a:pt x="40" y="22"/>
                    <a:pt x="36" y="23"/>
                  </a:cubicBezTo>
                  <a:cubicBezTo>
                    <a:pt x="35" y="23"/>
                    <a:pt x="35" y="25"/>
                    <a:pt x="34" y="25"/>
                  </a:cubicBezTo>
                  <a:cubicBezTo>
                    <a:pt x="32" y="25"/>
                    <a:pt x="30" y="23"/>
                    <a:pt x="27" y="23"/>
                  </a:cubicBezTo>
                  <a:cubicBezTo>
                    <a:pt x="27" y="23"/>
                    <a:pt x="26" y="25"/>
                    <a:pt x="27" y="25"/>
                  </a:cubicBezTo>
                  <a:cubicBezTo>
                    <a:pt x="30" y="27"/>
                    <a:pt x="33" y="25"/>
                    <a:pt x="35" y="27"/>
                  </a:cubicBezTo>
                  <a:cubicBezTo>
                    <a:pt x="37" y="28"/>
                    <a:pt x="36" y="32"/>
                    <a:pt x="38" y="32"/>
                  </a:cubicBezTo>
                  <a:cubicBezTo>
                    <a:pt x="44" y="33"/>
                    <a:pt x="49" y="29"/>
                    <a:pt x="55" y="30"/>
                  </a:cubicBezTo>
                  <a:cubicBezTo>
                    <a:pt x="56" y="30"/>
                    <a:pt x="55" y="34"/>
                    <a:pt x="56" y="34"/>
                  </a:cubicBezTo>
                  <a:cubicBezTo>
                    <a:pt x="60" y="36"/>
                    <a:pt x="65" y="38"/>
                    <a:pt x="69" y="37"/>
                  </a:cubicBezTo>
                  <a:cubicBezTo>
                    <a:pt x="73" y="36"/>
                    <a:pt x="74" y="31"/>
                    <a:pt x="78" y="29"/>
                  </a:cubicBezTo>
                  <a:cubicBezTo>
                    <a:pt x="80" y="28"/>
                    <a:pt x="84" y="31"/>
                    <a:pt x="86" y="29"/>
                  </a:cubicBezTo>
                  <a:cubicBezTo>
                    <a:pt x="88" y="28"/>
                    <a:pt x="87" y="24"/>
                    <a:pt x="90" y="22"/>
                  </a:cubicBezTo>
                  <a:cubicBezTo>
                    <a:pt x="93" y="19"/>
                    <a:pt x="98" y="19"/>
                    <a:pt x="101" y="1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2" name="Freeform 622"/>
            <p:cNvSpPr>
              <a:spLocks noChangeAspect="1"/>
            </p:cNvSpPr>
            <p:nvPr/>
          </p:nvSpPr>
          <p:spPr bwMode="auto">
            <a:xfrm>
              <a:off x="5164138" y="1539875"/>
              <a:ext cx="34925" cy="9525"/>
            </a:xfrm>
            <a:custGeom>
              <a:avLst/>
              <a:gdLst>
                <a:gd name="T0" fmla="*/ 1940 w 18"/>
                <a:gd name="T1" fmla="*/ 3810 h 5"/>
                <a:gd name="T2" fmla="*/ 1940 w 18"/>
                <a:gd name="T3" fmla="*/ 7620 h 5"/>
                <a:gd name="T4" fmla="*/ 25224 w 18"/>
                <a:gd name="T5" fmla="*/ 5715 h 5"/>
                <a:gd name="T6" fmla="*/ 32985 w 18"/>
                <a:gd name="T7" fmla="*/ 3810 h 5"/>
                <a:gd name="T8" fmla="*/ 32985 w 18"/>
                <a:gd name="T9" fmla="*/ 0 h 5"/>
                <a:gd name="T10" fmla="*/ 9701 w 18"/>
                <a:gd name="T11" fmla="*/ 3810 h 5"/>
                <a:gd name="T12" fmla="*/ 1940 w 18"/>
                <a:gd name="T13" fmla="*/ 381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5"/>
                <a:gd name="T23" fmla="*/ 18 w 18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5">
                  <a:moveTo>
                    <a:pt x="1" y="2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5" y="5"/>
                    <a:pt x="9" y="3"/>
                    <a:pt x="13" y="3"/>
                  </a:cubicBezTo>
                  <a:cubicBezTo>
                    <a:pt x="14" y="3"/>
                    <a:pt x="16" y="3"/>
                    <a:pt x="17" y="2"/>
                  </a:cubicBezTo>
                  <a:cubicBezTo>
                    <a:pt x="18" y="2"/>
                    <a:pt x="17" y="0"/>
                    <a:pt x="17" y="0"/>
                  </a:cubicBezTo>
                  <a:cubicBezTo>
                    <a:pt x="13" y="0"/>
                    <a:pt x="9" y="1"/>
                    <a:pt x="5" y="2"/>
                  </a:cubicBezTo>
                  <a:cubicBezTo>
                    <a:pt x="3" y="2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3" name="Freeform 623"/>
            <p:cNvSpPr>
              <a:spLocks noChangeAspect="1"/>
            </p:cNvSpPr>
            <p:nvPr/>
          </p:nvSpPr>
          <p:spPr bwMode="auto">
            <a:xfrm>
              <a:off x="5091113" y="1598613"/>
              <a:ext cx="41275" cy="9525"/>
            </a:xfrm>
            <a:custGeom>
              <a:avLst/>
              <a:gdLst>
                <a:gd name="T0" fmla="*/ 1965 w 21"/>
                <a:gd name="T1" fmla="*/ 1905 h 5"/>
                <a:gd name="T2" fmla="*/ 5896 w 21"/>
                <a:gd name="T3" fmla="*/ 7620 h 5"/>
                <a:gd name="T4" fmla="*/ 19655 w 21"/>
                <a:gd name="T5" fmla="*/ 3810 h 5"/>
                <a:gd name="T6" fmla="*/ 35379 w 21"/>
                <a:gd name="T7" fmla="*/ 9525 h 5"/>
                <a:gd name="T8" fmla="*/ 41275 w 21"/>
                <a:gd name="T9" fmla="*/ 5715 h 5"/>
                <a:gd name="T10" fmla="*/ 37344 w 21"/>
                <a:gd name="T11" fmla="*/ 3810 h 5"/>
                <a:gd name="T12" fmla="*/ 27517 w 21"/>
                <a:gd name="T13" fmla="*/ 0 h 5"/>
                <a:gd name="T14" fmla="*/ 7862 w 21"/>
                <a:gd name="T15" fmla="*/ 1905 h 5"/>
                <a:gd name="T16" fmla="*/ 1965 w 21"/>
                <a:gd name="T17" fmla="*/ 1905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5"/>
                <a:gd name="T29" fmla="*/ 21 w 21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5">
                  <a:moveTo>
                    <a:pt x="1" y="1"/>
                  </a:moveTo>
                  <a:cubicBezTo>
                    <a:pt x="0" y="3"/>
                    <a:pt x="2" y="4"/>
                    <a:pt x="3" y="4"/>
                  </a:cubicBezTo>
                  <a:cubicBezTo>
                    <a:pt x="6" y="5"/>
                    <a:pt x="8" y="2"/>
                    <a:pt x="10" y="2"/>
                  </a:cubicBezTo>
                  <a:cubicBezTo>
                    <a:pt x="13" y="3"/>
                    <a:pt x="15" y="5"/>
                    <a:pt x="18" y="5"/>
                  </a:cubicBezTo>
                  <a:cubicBezTo>
                    <a:pt x="19" y="5"/>
                    <a:pt x="21" y="4"/>
                    <a:pt x="21" y="3"/>
                  </a:cubicBezTo>
                  <a:cubicBezTo>
                    <a:pt x="21" y="2"/>
                    <a:pt x="19" y="2"/>
                    <a:pt x="19" y="2"/>
                  </a:cubicBezTo>
                  <a:cubicBezTo>
                    <a:pt x="17" y="1"/>
                    <a:pt x="15" y="0"/>
                    <a:pt x="14" y="0"/>
                  </a:cubicBezTo>
                  <a:cubicBezTo>
                    <a:pt x="10" y="0"/>
                    <a:pt x="7" y="1"/>
                    <a:pt x="4" y="1"/>
                  </a:cubicBezTo>
                  <a:cubicBezTo>
                    <a:pt x="3" y="1"/>
                    <a:pt x="1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4" name="Freeform 624"/>
            <p:cNvSpPr>
              <a:spLocks noChangeAspect="1"/>
            </p:cNvSpPr>
            <p:nvPr/>
          </p:nvSpPr>
          <p:spPr bwMode="auto">
            <a:xfrm>
              <a:off x="7599363" y="2549525"/>
              <a:ext cx="22225" cy="19050"/>
            </a:xfrm>
            <a:custGeom>
              <a:avLst/>
              <a:gdLst>
                <a:gd name="T0" fmla="*/ 20373 w 12"/>
                <a:gd name="T1" fmla="*/ 3810 h 10"/>
                <a:gd name="T2" fmla="*/ 16669 w 12"/>
                <a:gd name="T3" fmla="*/ 15240 h 10"/>
                <a:gd name="T4" fmla="*/ 3704 w 12"/>
                <a:gd name="T5" fmla="*/ 15240 h 10"/>
                <a:gd name="T6" fmla="*/ 9260 w 12"/>
                <a:gd name="T7" fmla="*/ 1905 h 10"/>
                <a:gd name="T8" fmla="*/ 20373 w 12"/>
                <a:gd name="T9" fmla="*/ 381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0"/>
                <a:gd name="T17" fmla="*/ 12 w 12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0">
                  <a:moveTo>
                    <a:pt x="11" y="2"/>
                  </a:moveTo>
                  <a:cubicBezTo>
                    <a:pt x="12" y="4"/>
                    <a:pt x="11" y="7"/>
                    <a:pt x="9" y="8"/>
                  </a:cubicBezTo>
                  <a:cubicBezTo>
                    <a:pt x="7" y="9"/>
                    <a:pt x="3" y="10"/>
                    <a:pt x="2" y="8"/>
                  </a:cubicBezTo>
                  <a:cubicBezTo>
                    <a:pt x="0" y="6"/>
                    <a:pt x="3" y="2"/>
                    <a:pt x="5" y="1"/>
                  </a:cubicBezTo>
                  <a:cubicBezTo>
                    <a:pt x="7" y="0"/>
                    <a:pt x="10" y="0"/>
                    <a:pt x="1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5" name="Freeform 625"/>
            <p:cNvSpPr>
              <a:spLocks noChangeAspect="1"/>
            </p:cNvSpPr>
            <p:nvPr/>
          </p:nvSpPr>
          <p:spPr bwMode="auto">
            <a:xfrm>
              <a:off x="8142288" y="2411413"/>
              <a:ext cx="22225" cy="23812"/>
            </a:xfrm>
            <a:custGeom>
              <a:avLst/>
              <a:gdLst>
                <a:gd name="T0" fmla="*/ 18521 w 12"/>
                <a:gd name="T1" fmla="*/ 1832 h 13"/>
                <a:gd name="T2" fmla="*/ 18521 w 12"/>
                <a:gd name="T3" fmla="*/ 12822 h 13"/>
                <a:gd name="T4" fmla="*/ 0 w 12"/>
                <a:gd name="T5" fmla="*/ 21980 h 13"/>
                <a:gd name="T6" fmla="*/ 3704 w 12"/>
                <a:gd name="T7" fmla="*/ 5495 h 13"/>
                <a:gd name="T8" fmla="*/ 18521 w 12"/>
                <a:gd name="T9" fmla="*/ 1832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13"/>
                <a:gd name="T17" fmla="*/ 12 w 12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13">
                  <a:moveTo>
                    <a:pt x="10" y="1"/>
                  </a:moveTo>
                  <a:cubicBezTo>
                    <a:pt x="12" y="2"/>
                    <a:pt x="11" y="5"/>
                    <a:pt x="10" y="7"/>
                  </a:cubicBezTo>
                  <a:cubicBezTo>
                    <a:pt x="8" y="10"/>
                    <a:pt x="4" y="13"/>
                    <a:pt x="0" y="12"/>
                  </a:cubicBezTo>
                  <a:cubicBezTo>
                    <a:pt x="1" y="10"/>
                    <a:pt x="0" y="5"/>
                    <a:pt x="2" y="3"/>
                  </a:cubicBezTo>
                  <a:cubicBezTo>
                    <a:pt x="4" y="1"/>
                    <a:pt x="8" y="0"/>
                    <a:pt x="1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6" name="Freeform 626"/>
            <p:cNvSpPr>
              <a:spLocks noChangeAspect="1"/>
            </p:cNvSpPr>
            <p:nvPr/>
          </p:nvSpPr>
          <p:spPr bwMode="auto">
            <a:xfrm>
              <a:off x="5556250" y="2014538"/>
              <a:ext cx="38100" cy="33337"/>
            </a:xfrm>
            <a:custGeom>
              <a:avLst/>
              <a:gdLst>
                <a:gd name="T0" fmla="*/ 34290 w 20"/>
                <a:gd name="T1" fmla="*/ 9805 h 17"/>
                <a:gd name="T2" fmla="*/ 38100 w 20"/>
                <a:gd name="T3" fmla="*/ 13727 h 17"/>
                <a:gd name="T4" fmla="*/ 30480 w 20"/>
                <a:gd name="T5" fmla="*/ 23532 h 17"/>
                <a:gd name="T6" fmla="*/ 11430 w 20"/>
                <a:gd name="T7" fmla="*/ 33337 h 17"/>
                <a:gd name="T8" fmla="*/ 3810 w 20"/>
                <a:gd name="T9" fmla="*/ 31376 h 17"/>
                <a:gd name="T10" fmla="*/ 0 w 20"/>
                <a:gd name="T11" fmla="*/ 17649 h 17"/>
                <a:gd name="T12" fmla="*/ 3810 w 20"/>
                <a:gd name="T13" fmla="*/ 1961 h 17"/>
                <a:gd name="T14" fmla="*/ 15240 w 20"/>
                <a:gd name="T15" fmla="*/ 1961 h 17"/>
                <a:gd name="T16" fmla="*/ 26670 w 20"/>
                <a:gd name="T17" fmla="*/ 7844 h 17"/>
                <a:gd name="T18" fmla="*/ 34290 w 20"/>
                <a:gd name="T19" fmla="*/ 9805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"/>
                <a:gd name="T32" fmla="*/ 20 w 20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">
                  <a:moveTo>
                    <a:pt x="18" y="5"/>
                  </a:moveTo>
                  <a:cubicBezTo>
                    <a:pt x="19" y="6"/>
                    <a:pt x="20" y="6"/>
                    <a:pt x="20" y="7"/>
                  </a:cubicBezTo>
                  <a:cubicBezTo>
                    <a:pt x="19" y="9"/>
                    <a:pt x="17" y="11"/>
                    <a:pt x="16" y="12"/>
                  </a:cubicBezTo>
                  <a:cubicBezTo>
                    <a:pt x="13" y="14"/>
                    <a:pt x="10" y="16"/>
                    <a:pt x="6" y="17"/>
                  </a:cubicBezTo>
                  <a:cubicBezTo>
                    <a:pt x="5" y="17"/>
                    <a:pt x="3" y="17"/>
                    <a:pt x="2" y="16"/>
                  </a:cubicBezTo>
                  <a:cubicBezTo>
                    <a:pt x="0" y="14"/>
                    <a:pt x="0" y="12"/>
                    <a:pt x="0" y="9"/>
                  </a:cubicBezTo>
                  <a:cubicBezTo>
                    <a:pt x="0" y="6"/>
                    <a:pt x="0" y="3"/>
                    <a:pt x="2" y="1"/>
                  </a:cubicBezTo>
                  <a:cubicBezTo>
                    <a:pt x="4" y="0"/>
                    <a:pt x="6" y="1"/>
                    <a:pt x="8" y="1"/>
                  </a:cubicBezTo>
                  <a:cubicBezTo>
                    <a:pt x="10" y="1"/>
                    <a:pt x="12" y="3"/>
                    <a:pt x="14" y="4"/>
                  </a:cubicBezTo>
                  <a:cubicBezTo>
                    <a:pt x="15" y="4"/>
                    <a:pt x="17" y="4"/>
                    <a:pt x="18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7" name="Freeform 627"/>
            <p:cNvSpPr>
              <a:spLocks noChangeAspect="1"/>
            </p:cNvSpPr>
            <p:nvPr/>
          </p:nvSpPr>
          <p:spPr bwMode="auto">
            <a:xfrm>
              <a:off x="5761038" y="1968500"/>
              <a:ext cx="47625" cy="38100"/>
            </a:xfrm>
            <a:custGeom>
              <a:avLst/>
              <a:gdLst>
                <a:gd name="T0" fmla="*/ 13335 w 25"/>
                <a:gd name="T1" fmla="*/ 1905 h 20"/>
                <a:gd name="T2" fmla="*/ 34290 w 25"/>
                <a:gd name="T3" fmla="*/ 19050 h 20"/>
                <a:gd name="T4" fmla="*/ 40005 w 25"/>
                <a:gd name="T5" fmla="*/ 19050 h 20"/>
                <a:gd name="T6" fmla="*/ 47625 w 25"/>
                <a:gd name="T7" fmla="*/ 28575 h 20"/>
                <a:gd name="T8" fmla="*/ 45720 w 25"/>
                <a:gd name="T9" fmla="*/ 32385 h 20"/>
                <a:gd name="T10" fmla="*/ 32385 w 25"/>
                <a:gd name="T11" fmla="*/ 36195 h 20"/>
                <a:gd name="T12" fmla="*/ 22860 w 25"/>
                <a:gd name="T13" fmla="*/ 26670 h 20"/>
                <a:gd name="T14" fmla="*/ 13335 w 25"/>
                <a:gd name="T15" fmla="*/ 26670 h 20"/>
                <a:gd name="T16" fmla="*/ 1905 w 25"/>
                <a:gd name="T17" fmla="*/ 15240 h 20"/>
                <a:gd name="T18" fmla="*/ 1905 w 25"/>
                <a:gd name="T19" fmla="*/ 5715 h 20"/>
                <a:gd name="T20" fmla="*/ 7620 w 25"/>
                <a:gd name="T21" fmla="*/ 5715 h 20"/>
                <a:gd name="T22" fmla="*/ 13335 w 25"/>
                <a:gd name="T23" fmla="*/ 1905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5"/>
                <a:gd name="T37" fmla="*/ 0 h 20"/>
                <a:gd name="T38" fmla="*/ 25 w 25"/>
                <a:gd name="T39" fmla="*/ 20 h 2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5" h="20">
                  <a:moveTo>
                    <a:pt x="7" y="1"/>
                  </a:moveTo>
                  <a:cubicBezTo>
                    <a:pt x="11" y="3"/>
                    <a:pt x="14" y="7"/>
                    <a:pt x="18" y="10"/>
                  </a:cubicBezTo>
                  <a:cubicBezTo>
                    <a:pt x="19" y="10"/>
                    <a:pt x="20" y="9"/>
                    <a:pt x="21" y="10"/>
                  </a:cubicBezTo>
                  <a:cubicBezTo>
                    <a:pt x="23" y="11"/>
                    <a:pt x="24" y="13"/>
                    <a:pt x="25" y="15"/>
                  </a:cubicBezTo>
                  <a:cubicBezTo>
                    <a:pt x="25" y="15"/>
                    <a:pt x="25" y="16"/>
                    <a:pt x="24" y="17"/>
                  </a:cubicBezTo>
                  <a:cubicBezTo>
                    <a:pt x="22" y="18"/>
                    <a:pt x="19" y="20"/>
                    <a:pt x="17" y="19"/>
                  </a:cubicBezTo>
                  <a:cubicBezTo>
                    <a:pt x="15" y="19"/>
                    <a:pt x="14" y="16"/>
                    <a:pt x="12" y="14"/>
                  </a:cubicBezTo>
                  <a:cubicBezTo>
                    <a:pt x="11" y="14"/>
                    <a:pt x="9" y="15"/>
                    <a:pt x="7" y="14"/>
                  </a:cubicBezTo>
                  <a:cubicBezTo>
                    <a:pt x="5" y="13"/>
                    <a:pt x="3" y="11"/>
                    <a:pt x="1" y="8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2" y="2"/>
                    <a:pt x="3" y="3"/>
                    <a:pt x="4" y="3"/>
                  </a:cubicBezTo>
                  <a:cubicBezTo>
                    <a:pt x="5" y="2"/>
                    <a:pt x="6" y="0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8" name="Freeform 628"/>
            <p:cNvSpPr>
              <a:spLocks noChangeAspect="1"/>
            </p:cNvSpPr>
            <p:nvPr/>
          </p:nvSpPr>
          <p:spPr bwMode="auto">
            <a:xfrm>
              <a:off x="5643563" y="1689100"/>
              <a:ext cx="293687" cy="163513"/>
            </a:xfrm>
            <a:custGeom>
              <a:avLst/>
              <a:gdLst>
                <a:gd name="T0" fmla="*/ 291780 w 154"/>
                <a:gd name="T1" fmla="*/ 24717 h 86"/>
                <a:gd name="T2" fmla="*/ 270802 w 154"/>
                <a:gd name="T3" fmla="*/ 39928 h 86"/>
                <a:gd name="T4" fmla="*/ 202148 w 154"/>
                <a:gd name="T5" fmla="*/ 60842 h 86"/>
                <a:gd name="T6" fmla="*/ 190706 w 154"/>
                <a:gd name="T7" fmla="*/ 58941 h 86"/>
                <a:gd name="T8" fmla="*/ 177356 w 154"/>
                <a:gd name="T9" fmla="*/ 68447 h 86"/>
                <a:gd name="T10" fmla="*/ 165914 w 154"/>
                <a:gd name="T11" fmla="*/ 74151 h 86"/>
                <a:gd name="T12" fmla="*/ 150658 w 154"/>
                <a:gd name="T13" fmla="*/ 87460 h 86"/>
                <a:gd name="T14" fmla="*/ 131587 w 154"/>
                <a:gd name="T15" fmla="*/ 87460 h 86"/>
                <a:gd name="T16" fmla="*/ 131587 w 154"/>
                <a:gd name="T17" fmla="*/ 96967 h 86"/>
                <a:gd name="T18" fmla="*/ 116331 w 154"/>
                <a:gd name="T19" fmla="*/ 104572 h 86"/>
                <a:gd name="T20" fmla="*/ 102981 w 154"/>
                <a:gd name="T21" fmla="*/ 104572 h 86"/>
                <a:gd name="T22" fmla="*/ 97260 w 154"/>
                <a:gd name="T23" fmla="*/ 121684 h 86"/>
                <a:gd name="T24" fmla="*/ 89632 w 154"/>
                <a:gd name="T25" fmla="*/ 134993 h 86"/>
                <a:gd name="T26" fmla="*/ 80096 w 154"/>
                <a:gd name="T27" fmla="*/ 129289 h 86"/>
                <a:gd name="T28" fmla="*/ 80096 w 154"/>
                <a:gd name="T29" fmla="*/ 134993 h 86"/>
                <a:gd name="T30" fmla="*/ 85818 w 154"/>
                <a:gd name="T31" fmla="*/ 146401 h 86"/>
                <a:gd name="T32" fmla="*/ 72468 w 154"/>
                <a:gd name="T33" fmla="*/ 144500 h 86"/>
                <a:gd name="T34" fmla="*/ 78189 w 154"/>
                <a:gd name="T35" fmla="*/ 154006 h 86"/>
                <a:gd name="T36" fmla="*/ 61026 w 154"/>
                <a:gd name="T37" fmla="*/ 163513 h 86"/>
                <a:gd name="T38" fmla="*/ 41955 w 154"/>
                <a:gd name="T39" fmla="*/ 155908 h 86"/>
                <a:gd name="T40" fmla="*/ 19071 w 154"/>
                <a:gd name="T41" fmla="*/ 155908 h 86"/>
                <a:gd name="T42" fmla="*/ 11442 w 154"/>
                <a:gd name="T43" fmla="*/ 155908 h 86"/>
                <a:gd name="T44" fmla="*/ 20978 w 154"/>
                <a:gd name="T45" fmla="*/ 148302 h 86"/>
                <a:gd name="T46" fmla="*/ 1907 w 154"/>
                <a:gd name="T47" fmla="*/ 150204 h 86"/>
                <a:gd name="T48" fmla="*/ 15256 w 154"/>
                <a:gd name="T49" fmla="*/ 136895 h 86"/>
                <a:gd name="T50" fmla="*/ 26699 w 154"/>
                <a:gd name="T51" fmla="*/ 127388 h 86"/>
                <a:gd name="T52" fmla="*/ 38141 w 154"/>
                <a:gd name="T53" fmla="*/ 131191 h 86"/>
                <a:gd name="T54" fmla="*/ 28606 w 154"/>
                <a:gd name="T55" fmla="*/ 121684 h 86"/>
                <a:gd name="T56" fmla="*/ 49584 w 154"/>
                <a:gd name="T57" fmla="*/ 115980 h 86"/>
                <a:gd name="T58" fmla="*/ 32420 w 154"/>
                <a:gd name="T59" fmla="*/ 110276 h 86"/>
                <a:gd name="T60" fmla="*/ 49584 w 154"/>
                <a:gd name="T61" fmla="*/ 104572 h 86"/>
                <a:gd name="T62" fmla="*/ 40048 w 154"/>
                <a:gd name="T63" fmla="*/ 100770 h 86"/>
                <a:gd name="T64" fmla="*/ 40048 w 154"/>
                <a:gd name="T65" fmla="*/ 95066 h 86"/>
                <a:gd name="T66" fmla="*/ 28606 w 154"/>
                <a:gd name="T67" fmla="*/ 83658 h 86"/>
                <a:gd name="T68" fmla="*/ 34327 w 154"/>
                <a:gd name="T69" fmla="*/ 83658 h 86"/>
                <a:gd name="T70" fmla="*/ 40048 w 154"/>
                <a:gd name="T71" fmla="*/ 89362 h 86"/>
                <a:gd name="T72" fmla="*/ 55305 w 154"/>
                <a:gd name="T73" fmla="*/ 83658 h 86"/>
                <a:gd name="T74" fmla="*/ 72468 w 154"/>
                <a:gd name="T75" fmla="*/ 83658 h 86"/>
                <a:gd name="T76" fmla="*/ 76282 w 154"/>
                <a:gd name="T77" fmla="*/ 72250 h 86"/>
                <a:gd name="T78" fmla="*/ 76282 w 154"/>
                <a:gd name="T79" fmla="*/ 62743 h 86"/>
                <a:gd name="T80" fmla="*/ 91539 w 154"/>
                <a:gd name="T81" fmla="*/ 64645 h 86"/>
                <a:gd name="T82" fmla="*/ 97260 w 154"/>
                <a:gd name="T83" fmla="*/ 55138 h 86"/>
                <a:gd name="T84" fmla="*/ 116331 w 154"/>
                <a:gd name="T85" fmla="*/ 49434 h 86"/>
                <a:gd name="T86" fmla="*/ 122052 w 154"/>
                <a:gd name="T87" fmla="*/ 45632 h 86"/>
                <a:gd name="T88" fmla="*/ 129680 w 154"/>
                <a:gd name="T89" fmla="*/ 47533 h 86"/>
                <a:gd name="T90" fmla="*/ 131587 w 154"/>
                <a:gd name="T91" fmla="*/ 39928 h 86"/>
                <a:gd name="T92" fmla="*/ 162100 w 154"/>
                <a:gd name="T93" fmla="*/ 39928 h 86"/>
                <a:gd name="T94" fmla="*/ 165914 w 154"/>
                <a:gd name="T95" fmla="*/ 43730 h 86"/>
                <a:gd name="T96" fmla="*/ 173542 w 154"/>
                <a:gd name="T97" fmla="*/ 38026 h 86"/>
                <a:gd name="T98" fmla="*/ 190706 w 154"/>
                <a:gd name="T99" fmla="*/ 36125 h 86"/>
                <a:gd name="T100" fmla="*/ 207869 w 154"/>
                <a:gd name="T101" fmla="*/ 36125 h 86"/>
                <a:gd name="T102" fmla="*/ 213591 w 154"/>
                <a:gd name="T103" fmla="*/ 26618 h 86"/>
                <a:gd name="T104" fmla="*/ 228847 w 154"/>
                <a:gd name="T105" fmla="*/ 22816 h 86"/>
                <a:gd name="T106" fmla="*/ 230754 w 154"/>
                <a:gd name="T107" fmla="*/ 13309 h 86"/>
                <a:gd name="T108" fmla="*/ 263174 w 154"/>
                <a:gd name="T109" fmla="*/ 1901 h 86"/>
                <a:gd name="T110" fmla="*/ 278431 w 154"/>
                <a:gd name="T111" fmla="*/ 7605 h 86"/>
                <a:gd name="T112" fmla="*/ 287966 w 154"/>
                <a:gd name="T113" fmla="*/ 9507 h 86"/>
                <a:gd name="T114" fmla="*/ 293687 w 154"/>
                <a:gd name="T115" fmla="*/ 19013 h 86"/>
                <a:gd name="T116" fmla="*/ 291780 w 154"/>
                <a:gd name="T117" fmla="*/ 24717 h 8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54"/>
                <a:gd name="T178" fmla="*/ 0 h 86"/>
                <a:gd name="T179" fmla="*/ 154 w 154"/>
                <a:gd name="T180" fmla="*/ 86 h 8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54" h="86">
                  <a:moveTo>
                    <a:pt x="153" y="13"/>
                  </a:moveTo>
                  <a:cubicBezTo>
                    <a:pt x="149" y="16"/>
                    <a:pt x="146" y="19"/>
                    <a:pt x="142" y="21"/>
                  </a:cubicBezTo>
                  <a:cubicBezTo>
                    <a:pt x="130" y="25"/>
                    <a:pt x="118" y="29"/>
                    <a:pt x="106" y="32"/>
                  </a:cubicBezTo>
                  <a:cubicBezTo>
                    <a:pt x="104" y="32"/>
                    <a:pt x="102" y="30"/>
                    <a:pt x="100" y="31"/>
                  </a:cubicBezTo>
                  <a:cubicBezTo>
                    <a:pt x="97" y="32"/>
                    <a:pt x="96" y="35"/>
                    <a:pt x="93" y="36"/>
                  </a:cubicBezTo>
                  <a:cubicBezTo>
                    <a:pt x="91" y="38"/>
                    <a:pt x="89" y="38"/>
                    <a:pt x="87" y="39"/>
                  </a:cubicBezTo>
                  <a:cubicBezTo>
                    <a:pt x="84" y="41"/>
                    <a:pt x="83" y="45"/>
                    <a:pt x="79" y="46"/>
                  </a:cubicBezTo>
                  <a:cubicBezTo>
                    <a:pt x="76" y="48"/>
                    <a:pt x="72" y="45"/>
                    <a:pt x="69" y="46"/>
                  </a:cubicBezTo>
                  <a:cubicBezTo>
                    <a:pt x="68" y="47"/>
                    <a:pt x="70" y="50"/>
                    <a:pt x="69" y="51"/>
                  </a:cubicBezTo>
                  <a:cubicBezTo>
                    <a:pt x="67" y="53"/>
                    <a:pt x="64" y="54"/>
                    <a:pt x="61" y="55"/>
                  </a:cubicBezTo>
                  <a:cubicBezTo>
                    <a:pt x="59" y="55"/>
                    <a:pt x="56" y="54"/>
                    <a:pt x="54" y="55"/>
                  </a:cubicBezTo>
                  <a:cubicBezTo>
                    <a:pt x="52" y="57"/>
                    <a:pt x="52" y="61"/>
                    <a:pt x="51" y="64"/>
                  </a:cubicBezTo>
                  <a:cubicBezTo>
                    <a:pt x="50" y="66"/>
                    <a:pt x="50" y="70"/>
                    <a:pt x="47" y="71"/>
                  </a:cubicBezTo>
                  <a:cubicBezTo>
                    <a:pt x="46" y="72"/>
                    <a:pt x="44" y="68"/>
                    <a:pt x="42" y="68"/>
                  </a:cubicBezTo>
                  <a:cubicBezTo>
                    <a:pt x="41" y="68"/>
                    <a:pt x="42" y="70"/>
                    <a:pt x="42" y="71"/>
                  </a:cubicBezTo>
                  <a:cubicBezTo>
                    <a:pt x="43" y="73"/>
                    <a:pt x="47" y="76"/>
                    <a:pt x="45" y="77"/>
                  </a:cubicBezTo>
                  <a:cubicBezTo>
                    <a:pt x="44" y="79"/>
                    <a:pt x="40" y="74"/>
                    <a:pt x="38" y="76"/>
                  </a:cubicBezTo>
                  <a:cubicBezTo>
                    <a:pt x="36" y="77"/>
                    <a:pt x="42" y="79"/>
                    <a:pt x="41" y="81"/>
                  </a:cubicBezTo>
                  <a:cubicBezTo>
                    <a:pt x="39" y="84"/>
                    <a:pt x="36" y="85"/>
                    <a:pt x="32" y="86"/>
                  </a:cubicBezTo>
                  <a:cubicBezTo>
                    <a:pt x="29" y="86"/>
                    <a:pt x="26" y="83"/>
                    <a:pt x="22" y="82"/>
                  </a:cubicBezTo>
                  <a:cubicBezTo>
                    <a:pt x="18" y="82"/>
                    <a:pt x="14" y="82"/>
                    <a:pt x="10" y="82"/>
                  </a:cubicBezTo>
                  <a:cubicBezTo>
                    <a:pt x="9" y="82"/>
                    <a:pt x="6" y="83"/>
                    <a:pt x="6" y="82"/>
                  </a:cubicBezTo>
                  <a:cubicBezTo>
                    <a:pt x="7" y="80"/>
                    <a:pt x="13" y="79"/>
                    <a:pt x="11" y="78"/>
                  </a:cubicBezTo>
                  <a:cubicBezTo>
                    <a:pt x="8" y="76"/>
                    <a:pt x="3" y="81"/>
                    <a:pt x="1" y="79"/>
                  </a:cubicBezTo>
                  <a:cubicBezTo>
                    <a:pt x="0" y="76"/>
                    <a:pt x="6" y="74"/>
                    <a:pt x="8" y="72"/>
                  </a:cubicBezTo>
                  <a:cubicBezTo>
                    <a:pt x="10" y="70"/>
                    <a:pt x="11" y="68"/>
                    <a:pt x="14" y="67"/>
                  </a:cubicBezTo>
                  <a:cubicBezTo>
                    <a:pt x="16" y="67"/>
                    <a:pt x="19" y="71"/>
                    <a:pt x="20" y="69"/>
                  </a:cubicBezTo>
                  <a:cubicBezTo>
                    <a:pt x="20" y="67"/>
                    <a:pt x="14" y="66"/>
                    <a:pt x="15" y="64"/>
                  </a:cubicBezTo>
                  <a:cubicBezTo>
                    <a:pt x="18" y="61"/>
                    <a:pt x="24" y="64"/>
                    <a:pt x="26" y="61"/>
                  </a:cubicBezTo>
                  <a:cubicBezTo>
                    <a:pt x="27" y="58"/>
                    <a:pt x="17" y="61"/>
                    <a:pt x="17" y="58"/>
                  </a:cubicBezTo>
                  <a:cubicBezTo>
                    <a:pt x="17" y="55"/>
                    <a:pt x="24" y="57"/>
                    <a:pt x="26" y="55"/>
                  </a:cubicBezTo>
                  <a:cubicBezTo>
                    <a:pt x="27" y="54"/>
                    <a:pt x="22" y="54"/>
                    <a:pt x="21" y="53"/>
                  </a:cubicBezTo>
                  <a:cubicBezTo>
                    <a:pt x="20" y="52"/>
                    <a:pt x="21" y="51"/>
                    <a:pt x="21" y="50"/>
                  </a:cubicBezTo>
                  <a:cubicBezTo>
                    <a:pt x="19" y="47"/>
                    <a:pt x="16" y="46"/>
                    <a:pt x="15" y="44"/>
                  </a:cubicBezTo>
                  <a:cubicBezTo>
                    <a:pt x="15" y="43"/>
                    <a:pt x="17" y="44"/>
                    <a:pt x="18" y="44"/>
                  </a:cubicBezTo>
                  <a:cubicBezTo>
                    <a:pt x="19" y="45"/>
                    <a:pt x="20" y="47"/>
                    <a:pt x="21" y="47"/>
                  </a:cubicBezTo>
                  <a:cubicBezTo>
                    <a:pt x="24" y="47"/>
                    <a:pt x="26" y="44"/>
                    <a:pt x="29" y="44"/>
                  </a:cubicBezTo>
                  <a:cubicBezTo>
                    <a:pt x="32" y="43"/>
                    <a:pt x="35" y="45"/>
                    <a:pt x="38" y="44"/>
                  </a:cubicBezTo>
                  <a:cubicBezTo>
                    <a:pt x="39" y="43"/>
                    <a:pt x="39" y="40"/>
                    <a:pt x="40" y="38"/>
                  </a:cubicBezTo>
                  <a:cubicBezTo>
                    <a:pt x="40" y="36"/>
                    <a:pt x="39" y="34"/>
                    <a:pt x="40" y="33"/>
                  </a:cubicBezTo>
                  <a:cubicBezTo>
                    <a:pt x="43" y="32"/>
                    <a:pt x="46" y="35"/>
                    <a:pt x="48" y="34"/>
                  </a:cubicBezTo>
                  <a:cubicBezTo>
                    <a:pt x="50" y="33"/>
                    <a:pt x="49" y="30"/>
                    <a:pt x="51" y="29"/>
                  </a:cubicBezTo>
                  <a:cubicBezTo>
                    <a:pt x="54" y="28"/>
                    <a:pt x="58" y="28"/>
                    <a:pt x="61" y="26"/>
                  </a:cubicBezTo>
                  <a:cubicBezTo>
                    <a:pt x="62" y="26"/>
                    <a:pt x="62" y="24"/>
                    <a:pt x="64" y="24"/>
                  </a:cubicBezTo>
                  <a:cubicBezTo>
                    <a:pt x="65" y="23"/>
                    <a:pt x="67" y="26"/>
                    <a:pt x="68" y="25"/>
                  </a:cubicBezTo>
                  <a:cubicBezTo>
                    <a:pt x="69" y="24"/>
                    <a:pt x="67" y="21"/>
                    <a:pt x="69" y="21"/>
                  </a:cubicBezTo>
                  <a:cubicBezTo>
                    <a:pt x="74" y="19"/>
                    <a:pt x="80" y="20"/>
                    <a:pt x="85" y="21"/>
                  </a:cubicBezTo>
                  <a:cubicBezTo>
                    <a:pt x="86" y="21"/>
                    <a:pt x="86" y="23"/>
                    <a:pt x="87" y="23"/>
                  </a:cubicBezTo>
                  <a:cubicBezTo>
                    <a:pt x="89" y="23"/>
                    <a:pt x="89" y="21"/>
                    <a:pt x="91" y="20"/>
                  </a:cubicBezTo>
                  <a:cubicBezTo>
                    <a:pt x="94" y="19"/>
                    <a:pt x="97" y="19"/>
                    <a:pt x="100" y="19"/>
                  </a:cubicBezTo>
                  <a:cubicBezTo>
                    <a:pt x="103" y="19"/>
                    <a:pt x="106" y="20"/>
                    <a:pt x="109" y="19"/>
                  </a:cubicBezTo>
                  <a:cubicBezTo>
                    <a:pt x="111" y="18"/>
                    <a:pt x="110" y="15"/>
                    <a:pt x="112" y="14"/>
                  </a:cubicBezTo>
                  <a:cubicBezTo>
                    <a:pt x="114" y="13"/>
                    <a:pt x="118" y="13"/>
                    <a:pt x="120" y="12"/>
                  </a:cubicBezTo>
                  <a:cubicBezTo>
                    <a:pt x="121" y="11"/>
                    <a:pt x="120" y="8"/>
                    <a:pt x="121" y="7"/>
                  </a:cubicBezTo>
                  <a:cubicBezTo>
                    <a:pt x="126" y="4"/>
                    <a:pt x="132" y="2"/>
                    <a:pt x="138" y="1"/>
                  </a:cubicBezTo>
                  <a:cubicBezTo>
                    <a:pt x="140" y="0"/>
                    <a:pt x="143" y="3"/>
                    <a:pt x="146" y="4"/>
                  </a:cubicBezTo>
                  <a:cubicBezTo>
                    <a:pt x="147" y="4"/>
                    <a:pt x="149" y="4"/>
                    <a:pt x="151" y="5"/>
                  </a:cubicBezTo>
                  <a:cubicBezTo>
                    <a:pt x="152" y="6"/>
                    <a:pt x="153" y="8"/>
                    <a:pt x="154" y="10"/>
                  </a:cubicBezTo>
                  <a:cubicBezTo>
                    <a:pt x="154" y="11"/>
                    <a:pt x="154" y="12"/>
                    <a:pt x="153" y="1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29" name="Freeform 629"/>
            <p:cNvSpPr>
              <a:spLocks noChangeAspect="1"/>
            </p:cNvSpPr>
            <p:nvPr/>
          </p:nvSpPr>
          <p:spPr bwMode="auto">
            <a:xfrm>
              <a:off x="5611813" y="1849438"/>
              <a:ext cx="125412" cy="122237"/>
            </a:xfrm>
            <a:custGeom>
              <a:avLst/>
              <a:gdLst>
                <a:gd name="T0" fmla="*/ 93109 w 66"/>
                <a:gd name="T1" fmla="*/ 11460 h 64"/>
                <a:gd name="T2" fmla="*/ 85508 w 66"/>
                <a:gd name="T3" fmla="*/ 17190 h 64"/>
                <a:gd name="T4" fmla="*/ 87408 w 66"/>
                <a:gd name="T5" fmla="*/ 21009 h 64"/>
                <a:gd name="T6" fmla="*/ 76007 w 66"/>
                <a:gd name="T7" fmla="*/ 21009 h 64"/>
                <a:gd name="T8" fmla="*/ 81708 w 66"/>
                <a:gd name="T9" fmla="*/ 28649 h 64"/>
                <a:gd name="T10" fmla="*/ 81708 w 66"/>
                <a:gd name="T11" fmla="*/ 47749 h 64"/>
                <a:gd name="T12" fmla="*/ 83608 w 66"/>
                <a:gd name="T13" fmla="*/ 76398 h 64"/>
                <a:gd name="T14" fmla="*/ 119711 w 66"/>
                <a:gd name="T15" fmla="*/ 106957 h 64"/>
                <a:gd name="T16" fmla="*/ 125412 w 66"/>
                <a:gd name="T17" fmla="*/ 114597 h 64"/>
                <a:gd name="T18" fmla="*/ 117811 w 66"/>
                <a:gd name="T19" fmla="*/ 118417 h 64"/>
                <a:gd name="T20" fmla="*/ 106410 w 66"/>
                <a:gd name="T21" fmla="*/ 112687 h 64"/>
                <a:gd name="T22" fmla="*/ 102610 w 66"/>
                <a:gd name="T23" fmla="*/ 118417 h 64"/>
                <a:gd name="T24" fmla="*/ 89309 w 66"/>
                <a:gd name="T25" fmla="*/ 118417 h 64"/>
                <a:gd name="T26" fmla="*/ 81708 w 66"/>
                <a:gd name="T27" fmla="*/ 108867 h 64"/>
                <a:gd name="T28" fmla="*/ 76007 w 66"/>
                <a:gd name="T29" fmla="*/ 108867 h 64"/>
                <a:gd name="T30" fmla="*/ 83608 w 66"/>
                <a:gd name="T31" fmla="*/ 118417 h 64"/>
                <a:gd name="T32" fmla="*/ 76007 w 66"/>
                <a:gd name="T33" fmla="*/ 120327 h 64"/>
                <a:gd name="T34" fmla="*/ 68407 w 66"/>
                <a:gd name="T35" fmla="*/ 112687 h 64"/>
                <a:gd name="T36" fmla="*/ 45604 w 66"/>
                <a:gd name="T37" fmla="*/ 112687 h 64"/>
                <a:gd name="T38" fmla="*/ 49405 w 66"/>
                <a:gd name="T39" fmla="*/ 105047 h 64"/>
                <a:gd name="T40" fmla="*/ 47505 w 66"/>
                <a:gd name="T41" fmla="*/ 97408 h 64"/>
                <a:gd name="T42" fmla="*/ 57005 w 66"/>
                <a:gd name="T43" fmla="*/ 93588 h 64"/>
                <a:gd name="T44" fmla="*/ 47505 w 66"/>
                <a:gd name="T45" fmla="*/ 89768 h 64"/>
                <a:gd name="T46" fmla="*/ 39904 w 66"/>
                <a:gd name="T47" fmla="*/ 80218 h 64"/>
                <a:gd name="T48" fmla="*/ 28503 w 66"/>
                <a:gd name="T49" fmla="*/ 82128 h 64"/>
                <a:gd name="T50" fmla="*/ 22802 w 66"/>
                <a:gd name="T51" fmla="*/ 72578 h 64"/>
                <a:gd name="T52" fmla="*/ 15201 w 66"/>
                <a:gd name="T53" fmla="*/ 76398 h 64"/>
                <a:gd name="T54" fmla="*/ 3800 w 66"/>
                <a:gd name="T55" fmla="*/ 74488 h 64"/>
                <a:gd name="T56" fmla="*/ 1900 w 66"/>
                <a:gd name="T57" fmla="*/ 55389 h 64"/>
                <a:gd name="T58" fmla="*/ 11401 w 66"/>
                <a:gd name="T59" fmla="*/ 55389 h 64"/>
                <a:gd name="T60" fmla="*/ 15201 w 66"/>
                <a:gd name="T61" fmla="*/ 59209 h 64"/>
                <a:gd name="T62" fmla="*/ 19002 w 66"/>
                <a:gd name="T63" fmla="*/ 40109 h 64"/>
                <a:gd name="T64" fmla="*/ 20902 w 66"/>
                <a:gd name="T65" fmla="*/ 24829 h 64"/>
                <a:gd name="T66" fmla="*/ 30403 w 66"/>
                <a:gd name="T67" fmla="*/ 9550 h 64"/>
                <a:gd name="T68" fmla="*/ 38004 w 66"/>
                <a:gd name="T69" fmla="*/ 3820 h 64"/>
                <a:gd name="T70" fmla="*/ 57005 w 66"/>
                <a:gd name="T71" fmla="*/ 0 h 64"/>
                <a:gd name="T72" fmla="*/ 74107 w 66"/>
                <a:gd name="T73" fmla="*/ 3820 h 64"/>
                <a:gd name="T74" fmla="*/ 93109 w 66"/>
                <a:gd name="T75" fmla="*/ 11460 h 6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6"/>
                <a:gd name="T115" fmla="*/ 0 h 64"/>
                <a:gd name="T116" fmla="*/ 66 w 66"/>
                <a:gd name="T117" fmla="*/ 64 h 6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6" h="64">
                  <a:moveTo>
                    <a:pt x="49" y="6"/>
                  </a:moveTo>
                  <a:cubicBezTo>
                    <a:pt x="50" y="7"/>
                    <a:pt x="46" y="7"/>
                    <a:pt x="45" y="9"/>
                  </a:cubicBezTo>
                  <a:cubicBezTo>
                    <a:pt x="45" y="9"/>
                    <a:pt x="46" y="11"/>
                    <a:pt x="46" y="11"/>
                  </a:cubicBezTo>
                  <a:cubicBezTo>
                    <a:pt x="44" y="12"/>
                    <a:pt x="41" y="9"/>
                    <a:pt x="40" y="11"/>
                  </a:cubicBezTo>
                  <a:cubicBezTo>
                    <a:pt x="39" y="12"/>
                    <a:pt x="43" y="13"/>
                    <a:pt x="43" y="15"/>
                  </a:cubicBezTo>
                  <a:cubicBezTo>
                    <a:pt x="44" y="18"/>
                    <a:pt x="42" y="22"/>
                    <a:pt x="43" y="25"/>
                  </a:cubicBezTo>
                  <a:cubicBezTo>
                    <a:pt x="43" y="30"/>
                    <a:pt x="41" y="36"/>
                    <a:pt x="44" y="40"/>
                  </a:cubicBezTo>
                  <a:cubicBezTo>
                    <a:pt x="49" y="47"/>
                    <a:pt x="57" y="51"/>
                    <a:pt x="63" y="56"/>
                  </a:cubicBezTo>
                  <a:cubicBezTo>
                    <a:pt x="64" y="57"/>
                    <a:pt x="66" y="58"/>
                    <a:pt x="66" y="60"/>
                  </a:cubicBezTo>
                  <a:cubicBezTo>
                    <a:pt x="66" y="62"/>
                    <a:pt x="64" y="63"/>
                    <a:pt x="62" y="62"/>
                  </a:cubicBezTo>
                  <a:cubicBezTo>
                    <a:pt x="60" y="62"/>
                    <a:pt x="58" y="59"/>
                    <a:pt x="56" y="59"/>
                  </a:cubicBezTo>
                  <a:cubicBezTo>
                    <a:pt x="55" y="59"/>
                    <a:pt x="55" y="62"/>
                    <a:pt x="54" y="62"/>
                  </a:cubicBezTo>
                  <a:cubicBezTo>
                    <a:pt x="52" y="63"/>
                    <a:pt x="49" y="63"/>
                    <a:pt x="47" y="62"/>
                  </a:cubicBezTo>
                  <a:cubicBezTo>
                    <a:pt x="46" y="61"/>
                    <a:pt x="45" y="58"/>
                    <a:pt x="43" y="57"/>
                  </a:cubicBezTo>
                  <a:cubicBezTo>
                    <a:pt x="42" y="56"/>
                    <a:pt x="40" y="56"/>
                    <a:pt x="40" y="57"/>
                  </a:cubicBezTo>
                  <a:cubicBezTo>
                    <a:pt x="40" y="59"/>
                    <a:pt x="44" y="60"/>
                    <a:pt x="44" y="62"/>
                  </a:cubicBezTo>
                  <a:cubicBezTo>
                    <a:pt x="44" y="64"/>
                    <a:pt x="41" y="64"/>
                    <a:pt x="40" y="63"/>
                  </a:cubicBezTo>
                  <a:cubicBezTo>
                    <a:pt x="38" y="63"/>
                    <a:pt x="38" y="59"/>
                    <a:pt x="36" y="59"/>
                  </a:cubicBezTo>
                  <a:cubicBezTo>
                    <a:pt x="32" y="57"/>
                    <a:pt x="28" y="60"/>
                    <a:pt x="24" y="59"/>
                  </a:cubicBezTo>
                  <a:cubicBezTo>
                    <a:pt x="23" y="58"/>
                    <a:pt x="26" y="56"/>
                    <a:pt x="26" y="55"/>
                  </a:cubicBezTo>
                  <a:cubicBezTo>
                    <a:pt x="26" y="54"/>
                    <a:pt x="24" y="52"/>
                    <a:pt x="25" y="51"/>
                  </a:cubicBezTo>
                  <a:cubicBezTo>
                    <a:pt x="26" y="49"/>
                    <a:pt x="30" y="51"/>
                    <a:pt x="30" y="49"/>
                  </a:cubicBezTo>
                  <a:cubicBezTo>
                    <a:pt x="30" y="47"/>
                    <a:pt x="26" y="48"/>
                    <a:pt x="25" y="47"/>
                  </a:cubicBezTo>
                  <a:cubicBezTo>
                    <a:pt x="24" y="45"/>
                    <a:pt x="23" y="42"/>
                    <a:pt x="21" y="42"/>
                  </a:cubicBezTo>
                  <a:cubicBezTo>
                    <a:pt x="20" y="41"/>
                    <a:pt x="17" y="43"/>
                    <a:pt x="15" y="43"/>
                  </a:cubicBezTo>
                  <a:cubicBezTo>
                    <a:pt x="14" y="42"/>
                    <a:pt x="14" y="39"/>
                    <a:pt x="12" y="38"/>
                  </a:cubicBezTo>
                  <a:cubicBezTo>
                    <a:pt x="11" y="38"/>
                    <a:pt x="9" y="39"/>
                    <a:pt x="8" y="40"/>
                  </a:cubicBezTo>
                  <a:cubicBezTo>
                    <a:pt x="6" y="40"/>
                    <a:pt x="3" y="41"/>
                    <a:pt x="2" y="39"/>
                  </a:cubicBezTo>
                  <a:cubicBezTo>
                    <a:pt x="0" y="36"/>
                    <a:pt x="0" y="32"/>
                    <a:pt x="1" y="29"/>
                  </a:cubicBezTo>
                  <a:cubicBezTo>
                    <a:pt x="2" y="27"/>
                    <a:pt x="5" y="28"/>
                    <a:pt x="6" y="29"/>
                  </a:cubicBezTo>
                  <a:cubicBezTo>
                    <a:pt x="7" y="29"/>
                    <a:pt x="7" y="32"/>
                    <a:pt x="8" y="31"/>
                  </a:cubicBezTo>
                  <a:cubicBezTo>
                    <a:pt x="9" y="28"/>
                    <a:pt x="9" y="24"/>
                    <a:pt x="10" y="21"/>
                  </a:cubicBezTo>
                  <a:cubicBezTo>
                    <a:pt x="10" y="19"/>
                    <a:pt x="10" y="16"/>
                    <a:pt x="11" y="13"/>
                  </a:cubicBezTo>
                  <a:cubicBezTo>
                    <a:pt x="12" y="10"/>
                    <a:pt x="14" y="8"/>
                    <a:pt x="16" y="5"/>
                  </a:cubicBezTo>
                  <a:cubicBezTo>
                    <a:pt x="17" y="4"/>
                    <a:pt x="18" y="2"/>
                    <a:pt x="20" y="2"/>
                  </a:cubicBezTo>
                  <a:cubicBezTo>
                    <a:pt x="23" y="1"/>
                    <a:pt x="26" y="0"/>
                    <a:pt x="30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7" y="3"/>
                    <a:pt x="49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0" name="Freeform 630"/>
            <p:cNvSpPr>
              <a:spLocks noChangeAspect="1"/>
            </p:cNvSpPr>
            <p:nvPr/>
          </p:nvSpPr>
          <p:spPr bwMode="auto">
            <a:xfrm>
              <a:off x="5630863" y="1933575"/>
              <a:ext cx="17462" cy="20638"/>
            </a:xfrm>
            <a:custGeom>
              <a:avLst/>
              <a:gdLst>
                <a:gd name="T0" fmla="*/ 3880 w 9"/>
                <a:gd name="T1" fmla="*/ 1876 h 11"/>
                <a:gd name="T2" fmla="*/ 1940 w 9"/>
                <a:gd name="T3" fmla="*/ 3752 h 11"/>
                <a:gd name="T4" fmla="*/ 15522 w 9"/>
                <a:gd name="T5" fmla="*/ 18762 h 11"/>
                <a:gd name="T6" fmla="*/ 17462 w 9"/>
                <a:gd name="T7" fmla="*/ 13133 h 11"/>
                <a:gd name="T8" fmla="*/ 11641 w 9"/>
                <a:gd name="T9" fmla="*/ 5629 h 11"/>
                <a:gd name="T10" fmla="*/ 3880 w 9"/>
                <a:gd name="T11" fmla="*/ 1876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11"/>
                <a:gd name="T20" fmla="*/ 9 w 9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11">
                  <a:moveTo>
                    <a:pt x="2" y="1"/>
                  </a:moveTo>
                  <a:cubicBezTo>
                    <a:pt x="1" y="0"/>
                    <a:pt x="0" y="2"/>
                    <a:pt x="1" y="2"/>
                  </a:cubicBezTo>
                  <a:cubicBezTo>
                    <a:pt x="3" y="5"/>
                    <a:pt x="5" y="8"/>
                    <a:pt x="8" y="10"/>
                  </a:cubicBezTo>
                  <a:cubicBezTo>
                    <a:pt x="9" y="11"/>
                    <a:pt x="9" y="8"/>
                    <a:pt x="9" y="7"/>
                  </a:cubicBezTo>
                  <a:cubicBezTo>
                    <a:pt x="8" y="6"/>
                    <a:pt x="7" y="4"/>
                    <a:pt x="6" y="3"/>
                  </a:cubicBezTo>
                  <a:cubicBezTo>
                    <a:pt x="5" y="2"/>
                    <a:pt x="3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1" name="Freeform 631"/>
            <p:cNvSpPr>
              <a:spLocks noChangeAspect="1"/>
            </p:cNvSpPr>
            <p:nvPr/>
          </p:nvSpPr>
          <p:spPr bwMode="auto">
            <a:xfrm>
              <a:off x="6430963" y="1728788"/>
              <a:ext cx="6350" cy="12700"/>
            </a:xfrm>
            <a:custGeom>
              <a:avLst/>
              <a:gdLst>
                <a:gd name="T0" fmla="*/ 4233 w 3"/>
                <a:gd name="T1" fmla="*/ 7257 h 7"/>
                <a:gd name="T2" fmla="*/ 2117 w 3"/>
                <a:gd name="T3" fmla="*/ 12700 h 7"/>
                <a:gd name="T4" fmla="*/ 0 w 3"/>
                <a:gd name="T5" fmla="*/ 7257 h 7"/>
                <a:gd name="T6" fmla="*/ 2117 w 3"/>
                <a:gd name="T7" fmla="*/ 1814 h 7"/>
                <a:gd name="T8" fmla="*/ 4233 w 3"/>
                <a:gd name="T9" fmla="*/ 725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2" y="4"/>
                  </a:moveTo>
                  <a:cubicBezTo>
                    <a:pt x="2" y="5"/>
                    <a:pt x="2" y="7"/>
                    <a:pt x="1" y="7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3"/>
                    <a:pt x="0" y="0"/>
                    <a:pt x="1" y="1"/>
                  </a:cubicBezTo>
                  <a:cubicBezTo>
                    <a:pt x="3" y="1"/>
                    <a:pt x="2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2" name="Freeform 632"/>
            <p:cNvSpPr>
              <a:spLocks noChangeAspect="1"/>
            </p:cNvSpPr>
            <p:nvPr/>
          </p:nvSpPr>
          <p:spPr bwMode="auto">
            <a:xfrm>
              <a:off x="6097588" y="1839913"/>
              <a:ext cx="9525" cy="4762"/>
            </a:xfrm>
            <a:custGeom>
              <a:avLst/>
              <a:gdLst>
                <a:gd name="T0" fmla="*/ 3810 w 5"/>
                <a:gd name="T1" fmla="*/ 4762 h 3"/>
                <a:gd name="T2" fmla="*/ 1905 w 5"/>
                <a:gd name="T3" fmla="*/ 4762 h 3"/>
                <a:gd name="T4" fmla="*/ 3810 w 5"/>
                <a:gd name="T5" fmla="*/ 1587 h 3"/>
                <a:gd name="T6" fmla="*/ 9525 w 5"/>
                <a:gd name="T7" fmla="*/ 1587 h 3"/>
                <a:gd name="T8" fmla="*/ 3810 w 5"/>
                <a:gd name="T9" fmla="*/ 476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3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1"/>
                    <a:pt x="5" y="0"/>
                    <a:pt x="5" y="1"/>
                  </a:cubicBezTo>
                  <a:cubicBezTo>
                    <a:pt x="5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3" name="Freeform 633"/>
            <p:cNvSpPr>
              <a:spLocks noChangeAspect="1"/>
            </p:cNvSpPr>
            <p:nvPr/>
          </p:nvSpPr>
          <p:spPr bwMode="auto">
            <a:xfrm>
              <a:off x="7434263" y="4056063"/>
              <a:ext cx="6350" cy="6350"/>
            </a:xfrm>
            <a:custGeom>
              <a:avLst/>
              <a:gdLst>
                <a:gd name="T0" fmla="*/ 3175 w 4"/>
                <a:gd name="T1" fmla="*/ 4762 h 4"/>
                <a:gd name="T2" fmla="*/ 0 w 4"/>
                <a:gd name="T3" fmla="*/ 4762 h 4"/>
                <a:gd name="T4" fmla="*/ 1588 w 4"/>
                <a:gd name="T5" fmla="*/ 1588 h 4"/>
                <a:gd name="T6" fmla="*/ 4762 w 4"/>
                <a:gd name="T7" fmla="*/ 0 h 4"/>
                <a:gd name="T8" fmla="*/ 3175 w 4"/>
                <a:gd name="T9" fmla="*/ 476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1" y="3"/>
                    <a:pt x="0" y="4"/>
                    <a:pt x="0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4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4" name="Freeform 634"/>
            <p:cNvSpPr>
              <a:spLocks noChangeAspect="1"/>
            </p:cNvSpPr>
            <p:nvPr/>
          </p:nvSpPr>
          <p:spPr bwMode="auto">
            <a:xfrm>
              <a:off x="5589588" y="1520825"/>
              <a:ext cx="3175" cy="7938"/>
            </a:xfrm>
            <a:custGeom>
              <a:avLst/>
              <a:gdLst>
                <a:gd name="T0" fmla="*/ 3175 w 2"/>
                <a:gd name="T1" fmla="*/ 5953 h 4"/>
                <a:gd name="T2" fmla="*/ 1588 w 2"/>
                <a:gd name="T3" fmla="*/ 7938 h 4"/>
                <a:gd name="T4" fmla="*/ 0 w 2"/>
                <a:gd name="T5" fmla="*/ 3969 h 4"/>
                <a:gd name="T6" fmla="*/ 1588 w 2"/>
                <a:gd name="T7" fmla="*/ 0 h 4"/>
                <a:gd name="T8" fmla="*/ 3175 w 2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3"/>
                  </a:moveTo>
                  <a:cubicBezTo>
                    <a:pt x="2" y="3"/>
                    <a:pt x="1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5" name="Freeform 635"/>
            <p:cNvSpPr>
              <a:spLocks noChangeAspect="1"/>
            </p:cNvSpPr>
            <p:nvPr/>
          </p:nvSpPr>
          <p:spPr bwMode="auto">
            <a:xfrm>
              <a:off x="5643563" y="1528763"/>
              <a:ext cx="7937" cy="6350"/>
            </a:xfrm>
            <a:custGeom>
              <a:avLst/>
              <a:gdLst>
                <a:gd name="T0" fmla="*/ 5953 w 4"/>
                <a:gd name="T1" fmla="*/ 2117 h 3"/>
                <a:gd name="T2" fmla="*/ 7937 w 4"/>
                <a:gd name="T3" fmla="*/ 6350 h 3"/>
                <a:gd name="T4" fmla="*/ 3969 w 4"/>
                <a:gd name="T5" fmla="*/ 6350 h 3"/>
                <a:gd name="T6" fmla="*/ 0 w 4"/>
                <a:gd name="T7" fmla="*/ 2117 h 3"/>
                <a:gd name="T8" fmla="*/ 5953 w 4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1"/>
                  </a:moveTo>
                  <a:cubicBezTo>
                    <a:pt x="3" y="2"/>
                    <a:pt x="4" y="2"/>
                    <a:pt x="4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2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6" name="Freeform 636"/>
            <p:cNvSpPr>
              <a:spLocks noChangeAspect="1"/>
            </p:cNvSpPr>
            <p:nvPr/>
          </p:nvSpPr>
          <p:spPr bwMode="auto">
            <a:xfrm>
              <a:off x="5670550" y="1520825"/>
              <a:ext cx="9525" cy="4763"/>
            </a:xfrm>
            <a:custGeom>
              <a:avLst/>
              <a:gdLst>
                <a:gd name="T0" fmla="*/ 5715 w 5"/>
                <a:gd name="T1" fmla="*/ 0 h 2"/>
                <a:gd name="T2" fmla="*/ 9525 w 5"/>
                <a:gd name="T3" fmla="*/ 2382 h 2"/>
                <a:gd name="T4" fmla="*/ 5715 w 5"/>
                <a:gd name="T5" fmla="*/ 4763 h 2"/>
                <a:gd name="T6" fmla="*/ 0 w 5"/>
                <a:gd name="T7" fmla="*/ 2382 h 2"/>
                <a:gd name="T8" fmla="*/ 5715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5" y="2"/>
                    <a:pt x="3" y="2"/>
                    <a:pt x="3" y="2"/>
                  </a:cubicBezTo>
                  <a:cubicBezTo>
                    <a:pt x="2" y="2"/>
                    <a:pt x="0" y="2"/>
                    <a:pt x="0" y="1"/>
                  </a:cubicBezTo>
                  <a:cubicBezTo>
                    <a:pt x="0" y="1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7" name="Freeform 637"/>
            <p:cNvSpPr>
              <a:spLocks noChangeAspect="1"/>
            </p:cNvSpPr>
            <p:nvPr/>
          </p:nvSpPr>
          <p:spPr bwMode="auto">
            <a:xfrm>
              <a:off x="5695950" y="1520825"/>
              <a:ext cx="7938" cy="4763"/>
            </a:xfrm>
            <a:custGeom>
              <a:avLst/>
              <a:gdLst>
                <a:gd name="T0" fmla="*/ 3969 w 4"/>
                <a:gd name="T1" fmla="*/ 0 h 2"/>
                <a:gd name="T2" fmla="*/ 7938 w 4"/>
                <a:gd name="T3" fmla="*/ 2382 h 2"/>
                <a:gd name="T4" fmla="*/ 3969 w 4"/>
                <a:gd name="T5" fmla="*/ 4763 h 2"/>
                <a:gd name="T6" fmla="*/ 0 w 4"/>
                <a:gd name="T7" fmla="*/ 2382 h 2"/>
                <a:gd name="T8" fmla="*/ 3969 w 4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0"/>
                  </a:moveTo>
                  <a:cubicBezTo>
                    <a:pt x="3" y="0"/>
                    <a:pt x="4" y="0"/>
                    <a:pt x="4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8" name="Freeform 638"/>
            <p:cNvSpPr>
              <a:spLocks noChangeAspect="1"/>
            </p:cNvSpPr>
            <p:nvPr/>
          </p:nvSpPr>
          <p:spPr bwMode="auto">
            <a:xfrm>
              <a:off x="6065838" y="1570038"/>
              <a:ext cx="17462" cy="9525"/>
            </a:xfrm>
            <a:custGeom>
              <a:avLst/>
              <a:gdLst>
                <a:gd name="T0" fmla="*/ 5821 w 9"/>
                <a:gd name="T1" fmla="*/ 7620 h 5"/>
                <a:gd name="T2" fmla="*/ 0 w 9"/>
                <a:gd name="T3" fmla="*/ 1905 h 5"/>
                <a:gd name="T4" fmla="*/ 9701 w 9"/>
                <a:gd name="T5" fmla="*/ 1905 h 5"/>
                <a:gd name="T6" fmla="*/ 17462 w 9"/>
                <a:gd name="T7" fmla="*/ 7620 h 5"/>
                <a:gd name="T8" fmla="*/ 5821 w 9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5"/>
                <a:gd name="T17" fmla="*/ 9 w 9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5">
                  <a:moveTo>
                    <a:pt x="3" y="4"/>
                  </a:moveTo>
                  <a:cubicBezTo>
                    <a:pt x="2" y="3"/>
                    <a:pt x="0" y="2"/>
                    <a:pt x="0" y="1"/>
                  </a:cubicBezTo>
                  <a:cubicBezTo>
                    <a:pt x="1" y="0"/>
                    <a:pt x="3" y="1"/>
                    <a:pt x="5" y="1"/>
                  </a:cubicBezTo>
                  <a:cubicBezTo>
                    <a:pt x="6" y="1"/>
                    <a:pt x="9" y="3"/>
                    <a:pt x="9" y="4"/>
                  </a:cubicBezTo>
                  <a:cubicBezTo>
                    <a:pt x="8" y="5"/>
                    <a:pt x="5" y="4"/>
                    <a:pt x="3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39" name="Freeform 639"/>
            <p:cNvSpPr>
              <a:spLocks noChangeAspect="1"/>
            </p:cNvSpPr>
            <p:nvPr/>
          </p:nvSpPr>
          <p:spPr bwMode="auto">
            <a:xfrm>
              <a:off x="8007350" y="2822575"/>
              <a:ext cx="12700" cy="17463"/>
            </a:xfrm>
            <a:custGeom>
              <a:avLst/>
              <a:gdLst>
                <a:gd name="T0" fmla="*/ 5443 w 7"/>
                <a:gd name="T1" fmla="*/ 11642 h 9"/>
                <a:gd name="T2" fmla="*/ 1814 w 7"/>
                <a:gd name="T3" fmla="*/ 15523 h 9"/>
                <a:gd name="T4" fmla="*/ 3629 w 7"/>
                <a:gd name="T5" fmla="*/ 7761 h 9"/>
                <a:gd name="T6" fmla="*/ 10886 w 7"/>
                <a:gd name="T7" fmla="*/ 1940 h 9"/>
                <a:gd name="T8" fmla="*/ 5443 w 7"/>
                <a:gd name="T9" fmla="*/ 11642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9"/>
                <a:gd name="T17" fmla="*/ 7 w 7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9">
                  <a:moveTo>
                    <a:pt x="3" y="6"/>
                  </a:moveTo>
                  <a:cubicBezTo>
                    <a:pt x="3" y="7"/>
                    <a:pt x="1" y="9"/>
                    <a:pt x="1" y="8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3" y="3"/>
                    <a:pt x="5" y="0"/>
                    <a:pt x="6" y="1"/>
                  </a:cubicBezTo>
                  <a:cubicBezTo>
                    <a:pt x="7" y="2"/>
                    <a:pt x="5" y="5"/>
                    <a:pt x="3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0" name="Freeform 640"/>
            <p:cNvSpPr>
              <a:spLocks noChangeAspect="1"/>
            </p:cNvSpPr>
            <p:nvPr/>
          </p:nvSpPr>
          <p:spPr bwMode="auto">
            <a:xfrm>
              <a:off x="7969250" y="2854325"/>
              <a:ext cx="17463" cy="22225"/>
            </a:xfrm>
            <a:custGeom>
              <a:avLst/>
              <a:gdLst>
                <a:gd name="T0" fmla="*/ 7761 w 9"/>
                <a:gd name="T1" fmla="*/ 14143 h 11"/>
                <a:gd name="T2" fmla="*/ 0 w 9"/>
                <a:gd name="T3" fmla="*/ 20205 h 11"/>
                <a:gd name="T4" fmla="*/ 5821 w 9"/>
                <a:gd name="T5" fmla="*/ 10102 h 11"/>
                <a:gd name="T6" fmla="*/ 15523 w 9"/>
                <a:gd name="T7" fmla="*/ 2020 h 11"/>
                <a:gd name="T8" fmla="*/ 7761 w 9"/>
                <a:gd name="T9" fmla="*/ 14143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1"/>
                <a:gd name="T17" fmla="*/ 9 w 9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1">
                  <a:moveTo>
                    <a:pt x="4" y="7"/>
                  </a:moveTo>
                  <a:cubicBezTo>
                    <a:pt x="3" y="9"/>
                    <a:pt x="1" y="11"/>
                    <a:pt x="0" y="10"/>
                  </a:cubicBezTo>
                  <a:cubicBezTo>
                    <a:pt x="0" y="9"/>
                    <a:pt x="1" y="7"/>
                    <a:pt x="3" y="5"/>
                  </a:cubicBezTo>
                  <a:cubicBezTo>
                    <a:pt x="4" y="3"/>
                    <a:pt x="7" y="0"/>
                    <a:pt x="8" y="1"/>
                  </a:cubicBezTo>
                  <a:cubicBezTo>
                    <a:pt x="9" y="2"/>
                    <a:pt x="6" y="5"/>
                    <a:pt x="4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1" name="Freeform 641"/>
            <p:cNvSpPr>
              <a:spLocks noChangeAspect="1"/>
            </p:cNvSpPr>
            <p:nvPr/>
          </p:nvSpPr>
          <p:spPr bwMode="auto">
            <a:xfrm>
              <a:off x="8048625" y="2744788"/>
              <a:ext cx="6350" cy="9525"/>
            </a:xfrm>
            <a:custGeom>
              <a:avLst/>
              <a:gdLst>
                <a:gd name="T0" fmla="*/ 4233 w 3"/>
                <a:gd name="T1" fmla="*/ 7620 h 5"/>
                <a:gd name="T2" fmla="*/ 0 w 3"/>
                <a:gd name="T3" fmla="*/ 9525 h 5"/>
                <a:gd name="T4" fmla="*/ 2117 w 3"/>
                <a:gd name="T5" fmla="*/ 5715 h 5"/>
                <a:gd name="T6" fmla="*/ 4233 w 3"/>
                <a:gd name="T7" fmla="*/ 1905 h 5"/>
                <a:gd name="T8" fmla="*/ 4233 w 3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4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5"/>
                    <a:pt x="0" y="3"/>
                    <a:pt x="1" y="3"/>
                  </a:cubicBezTo>
                  <a:cubicBezTo>
                    <a:pt x="1" y="2"/>
                    <a:pt x="2" y="0"/>
                    <a:pt x="2" y="1"/>
                  </a:cubicBezTo>
                  <a:cubicBezTo>
                    <a:pt x="3" y="1"/>
                    <a:pt x="2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2" name="Freeform 642"/>
            <p:cNvSpPr>
              <a:spLocks noChangeAspect="1"/>
            </p:cNvSpPr>
            <p:nvPr/>
          </p:nvSpPr>
          <p:spPr bwMode="auto">
            <a:xfrm>
              <a:off x="8040688" y="2765425"/>
              <a:ext cx="6350" cy="9525"/>
            </a:xfrm>
            <a:custGeom>
              <a:avLst/>
              <a:gdLst>
                <a:gd name="T0" fmla="*/ 4233 w 3"/>
                <a:gd name="T1" fmla="*/ 5715 h 5"/>
                <a:gd name="T2" fmla="*/ 0 w 3"/>
                <a:gd name="T3" fmla="*/ 7620 h 5"/>
                <a:gd name="T4" fmla="*/ 0 w 3"/>
                <a:gd name="T5" fmla="*/ 3810 h 5"/>
                <a:gd name="T6" fmla="*/ 4233 w 3"/>
                <a:gd name="T7" fmla="*/ 0 h 5"/>
                <a:gd name="T8" fmla="*/ 4233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3"/>
                  </a:moveTo>
                  <a:cubicBezTo>
                    <a:pt x="1" y="4"/>
                    <a:pt x="0" y="5"/>
                    <a:pt x="0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3" name="Freeform 643"/>
            <p:cNvSpPr>
              <a:spLocks noChangeAspect="1"/>
            </p:cNvSpPr>
            <p:nvPr/>
          </p:nvSpPr>
          <p:spPr bwMode="auto">
            <a:xfrm>
              <a:off x="7334250" y="1820863"/>
              <a:ext cx="14288" cy="11112"/>
            </a:xfrm>
            <a:custGeom>
              <a:avLst/>
              <a:gdLst>
                <a:gd name="T0" fmla="*/ 10206 w 7"/>
                <a:gd name="T1" fmla="*/ 5556 h 6"/>
                <a:gd name="T2" fmla="*/ 12247 w 7"/>
                <a:gd name="T3" fmla="*/ 9260 h 6"/>
                <a:gd name="T4" fmla="*/ 6123 w 7"/>
                <a:gd name="T5" fmla="*/ 7408 h 6"/>
                <a:gd name="T6" fmla="*/ 2041 w 7"/>
                <a:gd name="T7" fmla="*/ 1852 h 6"/>
                <a:gd name="T8" fmla="*/ 10206 w 7"/>
                <a:gd name="T9" fmla="*/ 555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5" y="3"/>
                  </a:moveTo>
                  <a:cubicBezTo>
                    <a:pt x="6" y="3"/>
                    <a:pt x="7" y="5"/>
                    <a:pt x="6" y="5"/>
                  </a:cubicBezTo>
                  <a:cubicBezTo>
                    <a:pt x="6" y="6"/>
                    <a:pt x="4" y="5"/>
                    <a:pt x="3" y="4"/>
                  </a:cubicBezTo>
                  <a:cubicBezTo>
                    <a:pt x="2" y="3"/>
                    <a:pt x="0" y="2"/>
                    <a:pt x="1" y="1"/>
                  </a:cubicBezTo>
                  <a:cubicBezTo>
                    <a:pt x="2" y="0"/>
                    <a:pt x="4" y="2"/>
                    <a:pt x="5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4" name="Freeform 644"/>
            <p:cNvSpPr>
              <a:spLocks noChangeAspect="1"/>
            </p:cNvSpPr>
            <p:nvPr/>
          </p:nvSpPr>
          <p:spPr bwMode="auto">
            <a:xfrm>
              <a:off x="6918325" y="1808163"/>
              <a:ext cx="6350" cy="7937"/>
            </a:xfrm>
            <a:custGeom>
              <a:avLst/>
              <a:gdLst>
                <a:gd name="T0" fmla="*/ 4233 w 3"/>
                <a:gd name="T1" fmla="*/ 5953 h 4"/>
                <a:gd name="T2" fmla="*/ 0 w 3"/>
                <a:gd name="T3" fmla="*/ 7937 h 4"/>
                <a:gd name="T4" fmla="*/ 2117 w 3"/>
                <a:gd name="T5" fmla="*/ 3969 h 4"/>
                <a:gd name="T6" fmla="*/ 4233 w 3"/>
                <a:gd name="T7" fmla="*/ 0 h 4"/>
                <a:gd name="T8" fmla="*/ 4233 w 3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3"/>
                  </a:moveTo>
                  <a:cubicBezTo>
                    <a:pt x="2" y="3"/>
                    <a:pt x="1" y="4"/>
                    <a:pt x="0" y="4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5" name="Freeform 645"/>
            <p:cNvSpPr>
              <a:spLocks noChangeAspect="1"/>
            </p:cNvSpPr>
            <p:nvPr/>
          </p:nvSpPr>
          <p:spPr bwMode="auto">
            <a:xfrm>
              <a:off x="6818313" y="1708150"/>
              <a:ext cx="9525" cy="9525"/>
            </a:xfrm>
            <a:custGeom>
              <a:avLst/>
              <a:gdLst>
                <a:gd name="T0" fmla="*/ 7620 w 5"/>
                <a:gd name="T1" fmla="*/ 3810 h 5"/>
                <a:gd name="T2" fmla="*/ 7620 w 5"/>
                <a:gd name="T3" fmla="*/ 7620 h 5"/>
                <a:gd name="T4" fmla="*/ 3810 w 5"/>
                <a:gd name="T5" fmla="*/ 5715 h 5"/>
                <a:gd name="T6" fmla="*/ 1905 w 5"/>
                <a:gd name="T7" fmla="*/ 1905 h 5"/>
                <a:gd name="T8" fmla="*/ 7620 w 5"/>
                <a:gd name="T9" fmla="*/ 381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2"/>
                  </a:moveTo>
                  <a:cubicBezTo>
                    <a:pt x="4" y="3"/>
                    <a:pt x="5" y="4"/>
                    <a:pt x="4" y="4"/>
                  </a:cubicBezTo>
                  <a:cubicBezTo>
                    <a:pt x="4" y="5"/>
                    <a:pt x="3" y="4"/>
                    <a:pt x="2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3" y="2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6" name="Freeform 646"/>
            <p:cNvSpPr>
              <a:spLocks noChangeAspect="1"/>
            </p:cNvSpPr>
            <p:nvPr/>
          </p:nvSpPr>
          <p:spPr bwMode="auto">
            <a:xfrm>
              <a:off x="6213475" y="1738313"/>
              <a:ext cx="7938" cy="3175"/>
            </a:xfrm>
            <a:custGeom>
              <a:avLst/>
              <a:gdLst>
                <a:gd name="T0" fmla="*/ 3969 w 4"/>
                <a:gd name="T1" fmla="*/ 3175 h 2"/>
                <a:gd name="T2" fmla="*/ 0 w 4"/>
                <a:gd name="T3" fmla="*/ 1588 h 2"/>
                <a:gd name="T4" fmla="*/ 3969 w 4"/>
                <a:gd name="T5" fmla="*/ 0 h 2"/>
                <a:gd name="T6" fmla="*/ 7938 w 4"/>
                <a:gd name="T7" fmla="*/ 0 h 2"/>
                <a:gd name="T8" fmla="*/ 3969 w 4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1"/>
                    <a:pt x="3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7" name="Freeform 647"/>
            <p:cNvSpPr>
              <a:spLocks noChangeAspect="1"/>
            </p:cNvSpPr>
            <p:nvPr/>
          </p:nvSpPr>
          <p:spPr bwMode="auto">
            <a:xfrm>
              <a:off x="6242050" y="1816100"/>
              <a:ext cx="9525" cy="4763"/>
            </a:xfrm>
            <a:custGeom>
              <a:avLst/>
              <a:gdLst>
                <a:gd name="T0" fmla="*/ 5715 w 5"/>
                <a:gd name="T1" fmla="*/ 2382 h 2"/>
                <a:gd name="T2" fmla="*/ 7620 w 5"/>
                <a:gd name="T3" fmla="*/ 4763 h 2"/>
                <a:gd name="T4" fmla="*/ 3810 w 5"/>
                <a:gd name="T5" fmla="*/ 4763 h 2"/>
                <a:gd name="T6" fmla="*/ 0 w 5"/>
                <a:gd name="T7" fmla="*/ 2382 h 2"/>
                <a:gd name="T8" fmla="*/ 5715 w 5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3" y="1"/>
                  </a:moveTo>
                  <a:cubicBezTo>
                    <a:pt x="3" y="1"/>
                    <a:pt x="5" y="1"/>
                    <a:pt x="4" y="2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2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8" name="Freeform 648"/>
            <p:cNvSpPr>
              <a:spLocks noChangeAspect="1"/>
            </p:cNvSpPr>
            <p:nvPr/>
          </p:nvSpPr>
          <p:spPr bwMode="auto">
            <a:xfrm>
              <a:off x="6283325" y="1787525"/>
              <a:ext cx="11113" cy="4763"/>
            </a:xfrm>
            <a:custGeom>
              <a:avLst/>
              <a:gdLst>
                <a:gd name="T0" fmla="*/ 7409 w 6"/>
                <a:gd name="T1" fmla="*/ 2382 h 2"/>
                <a:gd name="T2" fmla="*/ 11113 w 6"/>
                <a:gd name="T3" fmla="*/ 4763 h 2"/>
                <a:gd name="T4" fmla="*/ 5557 w 6"/>
                <a:gd name="T5" fmla="*/ 4763 h 2"/>
                <a:gd name="T6" fmla="*/ 0 w 6"/>
                <a:gd name="T7" fmla="*/ 2382 h 2"/>
                <a:gd name="T8" fmla="*/ 7409 w 6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4" y="1"/>
                  </a:moveTo>
                  <a:cubicBezTo>
                    <a:pt x="5" y="1"/>
                    <a:pt x="6" y="1"/>
                    <a:pt x="6" y="2"/>
                  </a:cubicBezTo>
                  <a:cubicBezTo>
                    <a:pt x="5" y="2"/>
                    <a:pt x="4" y="2"/>
                    <a:pt x="3" y="2"/>
                  </a:cubicBezTo>
                  <a:cubicBezTo>
                    <a:pt x="2" y="2"/>
                    <a:pt x="0" y="2"/>
                    <a:pt x="0" y="1"/>
                  </a:cubicBezTo>
                  <a:cubicBezTo>
                    <a:pt x="1" y="0"/>
                    <a:pt x="3" y="0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49" name="Freeform 649"/>
            <p:cNvSpPr>
              <a:spLocks noChangeAspect="1"/>
            </p:cNvSpPr>
            <p:nvPr/>
          </p:nvSpPr>
          <p:spPr bwMode="auto">
            <a:xfrm>
              <a:off x="7473950" y="4019550"/>
              <a:ext cx="9525" cy="4763"/>
            </a:xfrm>
            <a:custGeom>
              <a:avLst/>
              <a:gdLst>
                <a:gd name="T0" fmla="*/ 3810 w 5"/>
                <a:gd name="T1" fmla="*/ 4763 h 3"/>
                <a:gd name="T2" fmla="*/ 0 w 5"/>
                <a:gd name="T3" fmla="*/ 3175 h 3"/>
                <a:gd name="T4" fmla="*/ 3810 w 5"/>
                <a:gd name="T5" fmla="*/ 1588 h 3"/>
                <a:gd name="T6" fmla="*/ 9525 w 5"/>
                <a:gd name="T7" fmla="*/ 3175 h 3"/>
                <a:gd name="T8" fmla="*/ 3810 w 5"/>
                <a:gd name="T9" fmla="*/ 476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3"/>
                  </a:moveTo>
                  <a:cubicBezTo>
                    <a:pt x="2" y="3"/>
                    <a:pt x="0" y="3"/>
                    <a:pt x="0" y="2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3" y="1"/>
                    <a:pt x="5" y="0"/>
                    <a:pt x="5" y="2"/>
                  </a:cubicBezTo>
                  <a:cubicBezTo>
                    <a:pt x="5" y="3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0" name="Freeform 650"/>
            <p:cNvSpPr>
              <a:spLocks noChangeAspect="1"/>
            </p:cNvSpPr>
            <p:nvPr/>
          </p:nvSpPr>
          <p:spPr bwMode="auto">
            <a:xfrm>
              <a:off x="7454900" y="4037013"/>
              <a:ext cx="4763" cy="3175"/>
            </a:xfrm>
            <a:custGeom>
              <a:avLst/>
              <a:gdLst>
                <a:gd name="T0" fmla="*/ 1588 w 3"/>
                <a:gd name="T1" fmla="*/ 3175 h 2"/>
                <a:gd name="T2" fmla="*/ 0 w 3"/>
                <a:gd name="T3" fmla="*/ 1588 h 2"/>
                <a:gd name="T4" fmla="*/ 1588 w 3"/>
                <a:gd name="T5" fmla="*/ 0 h 2"/>
                <a:gd name="T6" fmla="*/ 4763 w 3"/>
                <a:gd name="T7" fmla="*/ 1588 h 2"/>
                <a:gd name="T8" fmla="*/ 1588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1" name="Freeform 651"/>
            <p:cNvSpPr>
              <a:spLocks noChangeAspect="1"/>
            </p:cNvSpPr>
            <p:nvPr/>
          </p:nvSpPr>
          <p:spPr bwMode="auto">
            <a:xfrm>
              <a:off x="5629275" y="1536700"/>
              <a:ext cx="4763" cy="7938"/>
            </a:xfrm>
            <a:custGeom>
              <a:avLst/>
              <a:gdLst>
                <a:gd name="T0" fmla="*/ 3175 w 3"/>
                <a:gd name="T1" fmla="*/ 5953 h 4"/>
                <a:gd name="T2" fmla="*/ 1588 w 3"/>
                <a:gd name="T3" fmla="*/ 5953 h 4"/>
                <a:gd name="T4" fmla="*/ 1588 w 3"/>
                <a:gd name="T5" fmla="*/ 3969 h 4"/>
                <a:gd name="T6" fmla="*/ 3175 w 3"/>
                <a:gd name="T7" fmla="*/ 1985 h 4"/>
                <a:gd name="T8" fmla="*/ 3175 w 3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3"/>
                  </a:moveTo>
                  <a:cubicBezTo>
                    <a:pt x="2" y="3"/>
                    <a:pt x="1" y="4"/>
                    <a:pt x="1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3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2" name="Freeform 652"/>
            <p:cNvSpPr>
              <a:spLocks noChangeAspect="1"/>
            </p:cNvSpPr>
            <p:nvPr/>
          </p:nvSpPr>
          <p:spPr bwMode="auto">
            <a:xfrm>
              <a:off x="7591425" y="2555875"/>
              <a:ext cx="7938" cy="6350"/>
            </a:xfrm>
            <a:custGeom>
              <a:avLst/>
              <a:gdLst>
                <a:gd name="T0" fmla="*/ 7938 w 4"/>
                <a:gd name="T1" fmla="*/ 4233 h 3"/>
                <a:gd name="T2" fmla="*/ 3969 w 4"/>
                <a:gd name="T3" fmla="*/ 6350 h 3"/>
                <a:gd name="T4" fmla="*/ 0 w 4"/>
                <a:gd name="T5" fmla="*/ 4233 h 3"/>
                <a:gd name="T6" fmla="*/ 3969 w 4"/>
                <a:gd name="T7" fmla="*/ 0 h 3"/>
                <a:gd name="T8" fmla="*/ 7938 w 4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4" y="2"/>
                  </a:moveTo>
                  <a:cubicBezTo>
                    <a:pt x="4" y="3"/>
                    <a:pt x="3" y="3"/>
                    <a:pt x="2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4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3" name="Freeform 653"/>
            <p:cNvSpPr>
              <a:spLocks noChangeAspect="1"/>
            </p:cNvSpPr>
            <p:nvPr/>
          </p:nvSpPr>
          <p:spPr bwMode="auto">
            <a:xfrm>
              <a:off x="7902575" y="1963738"/>
              <a:ext cx="7938" cy="11112"/>
            </a:xfrm>
            <a:custGeom>
              <a:avLst/>
              <a:gdLst>
                <a:gd name="T0" fmla="*/ 7938 w 4"/>
                <a:gd name="T1" fmla="*/ 5556 h 6"/>
                <a:gd name="T2" fmla="*/ 5953 w 4"/>
                <a:gd name="T3" fmla="*/ 11112 h 6"/>
                <a:gd name="T4" fmla="*/ 1985 w 4"/>
                <a:gd name="T5" fmla="*/ 7408 h 6"/>
                <a:gd name="T6" fmla="*/ 1985 w 4"/>
                <a:gd name="T7" fmla="*/ 0 h 6"/>
                <a:gd name="T8" fmla="*/ 7938 w 4"/>
                <a:gd name="T9" fmla="*/ 555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3"/>
                  </a:moveTo>
                  <a:cubicBezTo>
                    <a:pt x="4" y="4"/>
                    <a:pt x="4" y="5"/>
                    <a:pt x="3" y="6"/>
                  </a:cubicBezTo>
                  <a:cubicBezTo>
                    <a:pt x="2" y="6"/>
                    <a:pt x="1" y="4"/>
                    <a:pt x="1" y="4"/>
                  </a:cubicBezTo>
                  <a:cubicBezTo>
                    <a:pt x="1" y="3"/>
                    <a:pt x="0" y="0"/>
                    <a:pt x="1" y="0"/>
                  </a:cubicBezTo>
                  <a:cubicBezTo>
                    <a:pt x="3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4" name="Oval 654"/>
            <p:cNvSpPr>
              <a:spLocks noChangeAspect="1" noChangeArrowheads="1"/>
            </p:cNvSpPr>
            <p:nvPr/>
          </p:nvSpPr>
          <p:spPr bwMode="auto">
            <a:xfrm>
              <a:off x="7645400" y="1730375"/>
              <a:ext cx="3175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5" name="Freeform 655"/>
            <p:cNvSpPr>
              <a:spLocks noChangeAspect="1"/>
            </p:cNvSpPr>
            <p:nvPr/>
          </p:nvSpPr>
          <p:spPr bwMode="auto">
            <a:xfrm>
              <a:off x="6711950" y="1674813"/>
              <a:ext cx="4763" cy="6350"/>
            </a:xfrm>
            <a:custGeom>
              <a:avLst/>
              <a:gdLst>
                <a:gd name="T0" fmla="*/ 4763 w 3"/>
                <a:gd name="T1" fmla="*/ 4233 h 3"/>
                <a:gd name="T2" fmla="*/ 3175 w 3"/>
                <a:gd name="T3" fmla="*/ 6350 h 3"/>
                <a:gd name="T4" fmla="*/ 0 w 3"/>
                <a:gd name="T5" fmla="*/ 2117 h 3"/>
                <a:gd name="T6" fmla="*/ 3175 w 3"/>
                <a:gd name="T7" fmla="*/ 0 h 3"/>
                <a:gd name="T8" fmla="*/ 476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3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6" name="Freeform 656"/>
            <p:cNvSpPr>
              <a:spLocks noChangeAspect="1"/>
            </p:cNvSpPr>
            <p:nvPr/>
          </p:nvSpPr>
          <p:spPr bwMode="auto">
            <a:xfrm>
              <a:off x="6350000" y="1677988"/>
              <a:ext cx="3175" cy="4762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2 h 3"/>
                <a:gd name="T4" fmla="*/ 0 w 2"/>
                <a:gd name="T5" fmla="*/ 3175 h 3"/>
                <a:gd name="T6" fmla="*/ 1588 w 2"/>
                <a:gd name="T7" fmla="*/ 0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2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7" name="Freeform 657"/>
            <p:cNvSpPr>
              <a:spLocks noChangeAspect="1"/>
            </p:cNvSpPr>
            <p:nvPr/>
          </p:nvSpPr>
          <p:spPr bwMode="auto">
            <a:xfrm>
              <a:off x="6299200" y="1801813"/>
              <a:ext cx="4763" cy="4762"/>
            </a:xfrm>
            <a:custGeom>
              <a:avLst/>
              <a:gdLst>
                <a:gd name="T0" fmla="*/ 2382 w 2"/>
                <a:gd name="T1" fmla="*/ 3175 h 3"/>
                <a:gd name="T2" fmla="*/ 0 w 2"/>
                <a:gd name="T3" fmla="*/ 4762 h 3"/>
                <a:gd name="T4" fmla="*/ 0 w 2"/>
                <a:gd name="T5" fmla="*/ 3175 h 3"/>
                <a:gd name="T6" fmla="*/ 2382 w 2"/>
                <a:gd name="T7" fmla="*/ 0 h 3"/>
                <a:gd name="T8" fmla="*/ 2382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8" name="Freeform 658"/>
            <p:cNvSpPr>
              <a:spLocks noChangeAspect="1"/>
            </p:cNvSpPr>
            <p:nvPr/>
          </p:nvSpPr>
          <p:spPr bwMode="auto">
            <a:xfrm>
              <a:off x="6289675" y="1798638"/>
              <a:ext cx="6350" cy="6350"/>
            </a:xfrm>
            <a:custGeom>
              <a:avLst/>
              <a:gdLst>
                <a:gd name="T0" fmla="*/ 6350 w 3"/>
                <a:gd name="T1" fmla="*/ 4233 h 3"/>
                <a:gd name="T2" fmla="*/ 4233 w 3"/>
                <a:gd name="T3" fmla="*/ 6350 h 3"/>
                <a:gd name="T4" fmla="*/ 2117 w 3"/>
                <a:gd name="T5" fmla="*/ 4233 h 3"/>
                <a:gd name="T6" fmla="*/ 4233 w 3"/>
                <a:gd name="T7" fmla="*/ 0 h 3"/>
                <a:gd name="T8" fmla="*/ 6350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3" y="3"/>
                    <a:pt x="2" y="3"/>
                  </a:cubicBezTo>
                  <a:cubicBezTo>
                    <a:pt x="1" y="3"/>
                    <a:pt x="0" y="2"/>
                    <a:pt x="1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59" name="Freeform 659"/>
            <p:cNvSpPr>
              <a:spLocks noChangeAspect="1"/>
            </p:cNvSpPr>
            <p:nvPr/>
          </p:nvSpPr>
          <p:spPr bwMode="auto">
            <a:xfrm>
              <a:off x="5954713" y="2016125"/>
              <a:ext cx="4762" cy="6350"/>
            </a:xfrm>
            <a:custGeom>
              <a:avLst/>
              <a:gdLst>
                <a:gd name="T0" fmla="*/ 4762 w 2"/>
                <a:gd name="T1" fmla="*/ 4233 h 3"/>
                <a:gd name="T2" fmla="*/ 2381 w 2"/>
                <a:gd name="T3" fmla="*/ 6350 h 3"/>
                <a:gd name="T4" fmla="*/ 0 w 2"/>
                <a:gd name="T5" fmla="*/ 2117 h 3"/>
                <a:gd name="T6" fmla="*/ 2381 w 2"/>
                <a:gd name="T7" fmla="*/ 0 h 3"/>
                <a:gd name="T8" fmla="*/ 4762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0" name="Freeform 660"/>
            <p:cNvSpPr>
              <a:spLocks noChangeAspect="1"/>
            </p:cNvSpPr>
            <p:nvPr/>
          </p:nvSpPr>
          <p:spPr bwMode="auto">
            <a:xfrm>
              <a:off x="7361238" y="3998913"/>
              <a:ext cx="6350" cy="4762"/>
            </a:xfrm>
            <a:custGeom>
              <a:avLst/>
              <a:gdLst>
                <a:gd name="T0" fmla="*/ 2117 w 3"/>
                <a:gd name="T1" fmla="*/ 3175 h 3"/>
                <a:gd name="T2" fmla="*/ 0 w 3"/>
                <a:gd name="T3" fmla="*/ 3175 h 3"/>
                <a:gd name="T4" fmla="*/ 2117 w 3"/>
                <a:gd name="T5" fmla="*/ 1587 h 3"/>
                <a:gd name="T6" fmla="*/ 4233 w 3"/>
                <a:gd name="T7" fmla="*/ 1587 h 3"/>
                <a:gd name="T8" fmla="*/ 2117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2"/>
                    <a:pt x="0" y="3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1" name="Freeform 661"/>
            <p:cNvSpPr>
              <a:spLocks noChangeAspect="1"/>
            </p:cNvSpPr>
            <p:nvPr/>
          </p:nvSpPr>
          <p:spPr bwMode="auto">
            <a:xfrm>
              <a:off x="5405438" y="5556250"/>
              <a:ext cx="4762" cy="6350"/>
            </a:xfrm>
            <a:custGeom>
              <a:avLst/>
              <a:gdLst>
                <a:gd name="T0" fmla="*/ 2381 w 2"/>
                <a:gd name="T1" fmla="*/ 4233 h 3"/>
                <a:gd name="T2" fmla="*/ 0 w 2"/>
                <a:gd name="T3" fmla="*/ 4233 h 3"/>
                <a:gd name="T4" fmla="*/ 2381 w 2"/>
                <a:gd name="T5" fmla="*/ 2117 h 3"/>
                <a:gd name="T6" fmla="*/ 4762 w 2"/>
                <a:gd name="T7" fmla="*/ 2117 h 3"/>
                <a:gd name="T8" fmla="*/ 2381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0" y="3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2" name="Freeform 662"/>
            <p:cNvSpPr>
              <a:spLocks noChangeAspect="1"/>
            </p:cNvSpPr>
            <p:nvPr/>
          </p:nvSpPr>
          <p:spPr bwMode="auto">
            <a:xfrm>
              <a:off x="5518150" y="1547813"/>
              <a:ext cx="1588" cy="3175"/>
            </a:xfrm>
            <a:custGeom>
              <a:avLst/>
              <a:gdLst>
                <a:gd name="T0" fmla="*/ 1588 w 1"/>
                <a:gd name="T1" fmla="*/ 1588 h 2"/>
                <a:gd name="T2" fmla="*/ 0 w 1"/>
                <a:gd name="T3" fmla="*/ 3175 h 2"/>
                <a:gd name="T4" fmla="*/ 0 w 1"/>
                <a:gd name="T5" fmla="*/ 1588 h 2"/>
                <a:gd name="T6" fmla="*/ 0 w 1"/>
                <a:gd name="T7" fmla="*/ 0 h 2"/>
                <a:gd name="T8" fmla="*/ 1588 w 1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3" name="Freeform 663"/>
            <p:cNvSpPr>
              <a:spLocks noChangeAspect="1"/>
            </p:cNvSpPr>
            <p:nvPr/>
          </p:nvSpPr>
          <p:spPr bwMode="auto">
            <a:xfrm>
              <a:off x="5610225" y="1538288"/>
              <a:ext cx="1588" cy="6350"/>
            </a:xfrm>
            <a:custGeom>
              <a:avLst/>
              <a:gdLst>
                <a:gd name="T0" fmla="*/ 1588 w 1"/>
                <a:gd name="T1" fmla="*/ 4233 h 3"/>
                <a:gd name="T2" fmla="*/ 0 w 1"/>
                <a:gd name="T3" fmla="*/ 4233 h 3"/>
                <a:gd name="T4" fmla="*/ 0 w 1"/>
                <a:gd name="T5" fmla="*/ 2117 h 3"/>
                <a:gd name="T6" fmla="*/ 1588 w 1"/>
                <a:gd name="T7" fmla="*/ 0 h 3"/>
                <a:gd name="T8" fmla="*/ 1588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4" name="Freeform 664"/>
            <p:cNvSpPr>
              <a:spLocks noChangeAspect="1"/>
            </p:cNvSpPr>
            <p:nvPr/>
          </p:nvSpPr>
          <p:spPr bwMode="auto">
            <a:xfrm>
              <a:off x="5629275" y="1530350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5" name="Freeform 665"/>
            <p:cNvSpPr>
              <a:spLocks noChangeAspect="1"/>
            </p:cNvSpPr>
            <p:nvPr/>
          </p:nvSpPr>
          <p:spPr bwMode="auto">
            <a:xfrm>
              <a:off x="5621338" y="1525588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3175 w 2"/>
                <a:gd name="T3" fmla="*/ 3175 h 2"/>
                <a:gd name="T4" fmla="*/ 1588 w 2"/>
                <a:gd name="T5" fmla="*/ 1588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6" name="Freeform 666"/>
            <p:cNvSpPr>
              <a:spLocks noChangeAspect="1"/>
            </p:cNvSpPr>
            <p:nvPr/>
          </p:nvSpPr>
          <p:spPr bwMode="auto">
            <a:xfrm>
              <a:off x="5629275" y="1522413"/>
              <a:ext cx="4763" cy="4762"/>
            </a:xfrm>
            <a:custGeom>
              <a:avLst/>
              <a:gdLst>
                <a:gd name="T0" fmla="*/ 3175 w 3"/>
                <a:gd name="T1" fmla="*/ 2381 h 2"/>
                <a:gd name="T2" fmla="*/ 3175 w 3"/>
                <a:gd name="T3" fmla="*/ 4762 h 2"/>
                <a:gd name="T4" fmla="*/ 1588 w 3"/>
                <a:gd name="T5" fmla="*/ 4762 h 2"/>
                <a:gd name="T6" fmla="*/ 1588 w 3"/>
                <a:gd name="T7" fmla="*/ 0 h 2"/>
                <a:gd name="T8" fmla="*/ 3175 w 3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3" y="1"/>
                    <a:pt x="3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7" name="Freeform 667"/>
            <p:cNvSpPr>
              <a:spLocks noChangeAspect="1"/>
            </p:cNvSpPr>
            <p:nvPr/>
          </p:nvSpPr>
          <p:spPr bwMode="auto">
            <a:xfrm>
              <a:off x="5734050" y="1492250"/>
              <a:ext cx="4763" cy="6350"/>
            </a:xfrm>
            <a:custGeom>
              <a:avLst/>
              <a:gdLst>
                <a:gd name="T0" fmla="*/ 3175 w 3"/>
                <a:gd name="T1" fmla="*/ 2117 h 3"/>
                <a:gd name="T2" fmla="*/ 3175 w 3"/>
                <a:gd name="T3" fmla="*/ 4233 h 3"/>
                <a:gd name="T4" fmla="*/ 1588 w 3"/>
                <a:gd name="T5" fmla="*/ 4233 h 3"/>
                <a:gd name="T6" fmla="*/ 1588 w 3"/>
                <a:gd name="T7" fmla="*/ 0 h 3"/>
                <a:gd name="T8" fmla="*/ 3175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3" y="2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1"/>
                    <a:pt x="0" y="1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8" name="Freeform 668"/>
            <p:cNvSpPr>
              <a:spLocks noChangeAspect="1"/>
            </p:cNvSpPr>
            <p:nvPr/>
          </p:nvSpPr>
          <p:spPr bwMode="auto">
            <a:xfrm>
              <a:off x="5761038" y="1481138"/>
              <a:ext cx="4762" cy="3175"/>
            </a:xfrm>
            <a:custGeom>
              <a:avLst/>
              <a:gdLst>
                <a:gd name="T0" fmla="*/ 3175 w 3"/>
                <a:gd name="T1" fmla="*/ 3175 h 2"/>
                <a:gd name="T2" fmla="*/ 1587 w 3"/>
                <a:gd name="T3" fmla="*/ 3175 h 2"/>
                <a:gd name="T4" fmla="*/ 1587 w 3"/>
                <a:gd name="T5" fmla="*/ 1588 h 2"/>
                <a:gd name="T6" fmla="*/ 3175 w 3"/>
                <a:gd name="T7" fmla="*/ 0 h 2"/>
                <a:gd name="T8" fmla="*/ 3175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69" name="Freeform 669"/>
            <p:cNvSpPr>
              <a:spLocks noChangeAspect="1"/>
            </p:cNvSpPr>
            <p:nvPr/>
          </p:nvSpPr>
          <p:spPr bwMode="auto">
            <a:xfrm>
              <a:off x="5618163" y="1530350"/>
              <a:ext cx="3175" cy="6350"/>
            </a:xfrm>
            <a:custGeom>
              <a:avLst/>
              <a:gdLst>
                <a:gd name="T0" fmla="*/ 3175 w 2"/>
                <a:gd name="T1" fmla="*/ 6350 h 3"/>
                <a:gd name="T2" fmla="*/ 1588 w 2"/>
                <a:gd name="T3" fmla="*/ 6350 h 3"/>
                <a:gd name="T4" fmla="*/ 1588 w 2"/>
                <a:gd name="T5" fmla="*/ 4233 h 3"/>
                <a:gd name="T6" fmla="*/ 3175 w 2"/>
                <a:gd name="T7" fmla="*/ 2117 h 3"/>
                <a:gd name="T8" fmla="*/ 3175 w 2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0" name="Freeform 670"/>
            <p:cNvSpPr>
              <a:spLocks noChangeAspect="1"/>
            </p:cNvSpPr>
            <p:nvPr/>
          </p:nvSpPr>
          <p:spPr bwMode="auto">
            <a:xfrm>
              <a:off x="5707063" y="1557338"/>
              <a:ext cx="6350" cy="3175"/>
            </a:xfrm>
            <a:custGeom>
              <a:avLst/>
              <a:gdLst>
                <a:gd name="T0" fmla="*/ 4233 w 3"/>
                <a:gd name="T1" fmla="*/ 1588 h 2"/>
                <a:gd name="T2" fmla="*/ 6350 w 3"/>
                <a:gd name="T3" fmla="*/ 3175 h 2"/>
                <a:gd name="T4" fmla="*/ 2117 w 3"/>
                <a:gd name="T5" fmla="*/ 3175 h 2"/>
                <a:gd name="T6" fmla="*/ 2117 w 3"/>
                <a:gd name="T7" fmla="*/ 0 h 2"/>
                <a:gd name="T8" fmla="*/ 4233 w 3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3" y="1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1" name="Freeform 671"/>
            <p:cNvSpPr>
              <a:spLocks noChangeAspect="1"/>
            </p:cNvSpPr>
            <p:nvPr/>
          </p:nvSpPr>
          <p:spPr bwMode="auto">
            <a:xfrm>
              <a:off x="5726113" y="1544638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4233 w 3"/>
                <a:gd name="T3" fmla="*/ 3175 h 2"/>
                <a:gd name="T4" fmla="*/ 2117 w 3"/>
                <a:gd name="T5" fmla="*/ 3175 h 2"/>
                <a:gd name="T6" fmla="*/ 0 w 3"/>
                <a:gd name="T7" fmla="*/ 0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1"/>
                    <a:pt x="3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2" name="Freeform 672"/>
            <p:cNvSpPr>
              <a:spLocks noChangeAspect="1"/>
            </p:cNvSpPr>
            <p:nvPr/>
          </p:nvSpPr>
          <p:spPr bwMode="auto">
            <a:xfrm>
              <a:off x="8072438" y="2701925"/>
              <a:ext cx="3175" cy="4763"/>
            </a:xfrm>
            <a:custGeom>
              <a:avLst/>
              <a:gdLst>
                <a:gd name="T0" fmla="*/ 3175 w 2"/>
                <a:gd name="T1" fmla="*/ 2382 h 2"/>
                <a:gd name="T2" fmla="*/ 1588 w 2"/>
                <a:gd name="T3" fmla="*/ 4763 h 2"/>
                <a:gd name="T4" fmla="*/ 0 w 2"/>
                <a:gd name="T5" fmla="*/ 2382 h 2"/>
                <a:gd name="T6" fmla="*/ 1588 w 2"/>
                <a:gd name="T7" fmla="*/ 0 h 2"/>
                <a:gd name="T8" fmla="*/ 3175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3" name="Freeform 673"/>
            <p:cNvSpPr>
              <a:spLocks noChangeAspect="1"/>
            </p:cNvSpPr>
            <p:nvPr/>
          </p:nvSpPr>
          <p:spPr bwMode="auto">
            <a:xfrm>
              <a:off x="8027988" y="2803525"/>
              <a:ext cx="1587" cy="3175"/>
            </a:xfrm>
            <a:custGeom>
              <a:avLst/>
              <a:gdLst>
                <a:gd name="T0" fmla="*/ 1587 w 1"/>
                <a:gd name="T1" fmla="*/ 1588 h 2"/>
                <a:gd name="T2" fmla="*/ 0 w 1"/>
                <a:gd name="T3" fmla="*/ 3175 h 2"/>
                <a:gd name="T4" fmla="*/ 0 w 1"/>
                <a:gd name="T5" fmla="*/ 1588 h 2"/>
                <a:gd name="T6" fmla="*/ 0 w 1"/>
                <a:gd name="T7" fmla="*/ 0 h 2"/>
                <a:gd name="T8" fmla="*/ 1587 w 1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4" name="Freeform 674"/>
            <p:cNvSpPr>
              <a:spLocks noChangeAspect="1"/>
            </p:cNvSpPr>
            <p:nvPr/>
          </p:nvSpPr>
          <p:spPr bwMode="auto">
            <a:xfrm>
              <a:off x="7948613" y="1981200"/>
              <a:ext cx="3175" cy="4763"/>
            </a:xfrm>
            <a:custGeom>
              <a:avLst/>
              <a:gdLst>
                <a:gd name="T0" fmla="*/ 1588 w 2"/>
                <a:gd name="T1" fmla="*/ 3175 h 3"/>
                <a:gd name="T2" fmla="*/ 1588 w 2"/>
                <a:gd name="T3" fmla="*/ 4763 h 3"/>
                <a:gd name="T4" fmla="*/ 0 w 2"/>
                <a:gd name="T5" fmla="*/ 3175 h 3"/>
                <a:gd name="T6" fmla="*/ 1588 w 2"/>
                <a:gd name="T7" fmla="*/ 0 h 3"/>
                <a:gd name="T8" fmla="*/ 1588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5" name="Freeform 675"/>
            <p:cNvSpPr>
              <a:spLocks noChangeAspect="1"/>
            </p:cNvSpPr>
            <p:nvPr/>
          </p:nvSpPr>
          <p:spPr bwMode="auto">
            <a:xfrm>
              <a:off x="7926388" y="1968500"/>
              <a:ext cx="3175" cy="6350"/>
            </a:xfrm>
            <a:custGeom>
              <a:avLst/>
              <a:gdLst>
                <a:gd name="T0" fmla="*/ 3175 w 1"/>
                <a:gd name="T1" fmla="*/ 4233 h 3"/>
                <a:gd name="T2" fmla="*/ 0 w 1"/>
                <a:gd name="T3" fmla="*/ 6350 h 3"/>
                <a:gd name="T4" fmla="*/ 0 w 1"/>
                <a:gd name="T5" fmla="*/ 2117 h 3"/>
                <a:gd name="T6" fmla="*/ 3175 w 1"/>
                <a:gd name="T7" fmla="*/ 0 h 3"/>
                <a:gd name="T8" fmla="*/ 3175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6" name="Freeform 676"/>
            <p:cNvSpPr>
              <a:spLocks noChangeAspect="1"/>
            </p:cNvSpPr>
            <p:nvPr/>
          </p:nvSpPr>
          <p:spPr bwMode="auto">
            <a:xfrm>
              <a:off x="7923213" y="1958975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2117 w 3"/>
                <a:gd name="T3" fmla="*/ 6350 h 3"/>
                <a:gd name="T4" fmla="*/ 0 w 3"/>
                <a:gd name="T5" fmla="*/ 4233 h 3"/>
                <a:gd name="T6" fmla="*/ 2117 w 3"/>
                <a:gd name="T7" fmla="*/ 2117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3"/>
                    <a:pt x="2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3" y="1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7" name="Freeform 677"/>
            <p:cNvSpPr>
              <a:spLocks noChangeAspect="1"/>
            </p:cNvSpPr>
            <p:nvPr/>
          </p:nvSpPr>
          <p:spPr bwMode="auto">
            <a:xfrm>
              <a:off x="7526338" y="1722438"/>
              <a:ext cx="3175" cy="6350"/>
            </a:xfrm>
            <a:custGeom>
              <a:avLst/>
              <a:gdLst>
                <a:gd name="T0" fmla="*/ 3175 w 1"/>
                <a:gd name="T1" fmla="*/ 4233 h 3"/>
                <a:gd name="T2" fmla="*/ 3175 w 1"/>
                <a:gd name="T3" fmla="*/ 6350 h 3"/>
                <a:gd name="T4" fmla="*/ 0 w 1"/>
                <a:gd name="T5" fmla="*/ 2117 h 3"/>
                <a:gd name="T6" fmla="*/ 3175 w 1"/>
                <a:gd name="T7" fmla="*/ 0 h 3"/>
                <a:gd name="T8" fmla="*/ 3175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8" name="Freeform 678"/>
            <p:cNvSpPr>
              <a:spLocks noChangeAspect="1"/>
            </p:cNvSpPr>
            <p:nvPr/>
          </p:nvSpPr>
          <p:spPr bwMode="auto">
            <a:xfrm>
              <a:off x="6840538" y="1719263"/>
              <a:ext cx="4762" cy="3175"/>
            </a:xfrm>
            <a:custGeom>
              <a:avLst/>
              <a:gdLst>
                <a:gd name="T0" fmla="*/ 4762 w 2"/>
                <a:gd name="T1" fmla="*/ 1588 h 2"/>
                <a:gd name="T2" fmla="*/ 4762 w 2"/>
                <a:gd name="T3" fmla="*/ 3175 h 2"/>
                <a:gd name="T4" fmla="*/ 2381 w 2"/>
                <a:gd name="T5" fmla="*/ 3175 h 2"/>
                <a:gd name="T6" fmla="*/ 0 w 2"/>
                <a:gd name="T7" fmla="*/ 0 h 2"/>
                <a:gd name="T8" fmla="*/ 4762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79" name="Freeform 679"/>
            <p:cNvSpPr>
              <a:spLocks noChangeAspect="1"/>
            </p:cNvSpPr>
            <p:nvPr/>
          </p:nvSpPr>
          <p:spPr bwMode="auto">
            <a:xfrm>
              <a:off x="6372225" y="157638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2117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0" name="Freeform 680"/>
            <p:cNvSpPr>
              <a:spLocks noChangeAspect="1"/>
            </p:cNvSpPr>
            <p:nvPr/>
          </p:nvSpPr>
          <p:spPr bwMode="auto">
            <a:xfrm>
              <a:off x="6361113" y="1565275"/>
              <a:ext cx="4762" cy="3175"/>
            </a:xfrm>
            <a:custGeom>
              <a:avLst/>
              <a:gdLst>
                <a:gd name="T0" fmla="*/ 3175 w 3"/>
                <a:gd name="T1" fmla="*/ 0 h 2"/>
                <a:gd name="T2" fmla="*/ 3175 w 3"/>
                <a:gd name="T3" fmla="*/ 1588 h 2"/>
                <a:gd name="T4" fmla="*/ 1587 w 3"/>
                <a:gd name="T5" fmla="*/ 3175 h 2"/>
                <a:gd name="T6" fmla="*/ 0 w 3"/>
                <a:gd name="T7" fmla="*/ 1588 h 2"/>
                <a:gd name="T8" fmla="*/ 3175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1" name="Freeform 681"/>
            <p:cNvSpPr>
              <a:spLocks noChangeAspect="1"/>
            </p:cNvSpPr>
            <p:nvPr/>
          </p:nvSpPr>
          <p:spPr bwMode="auto">
            <a:xfrm>
              <a:off x="6384925" y="1577975"/>
              <a:ext cx="6350" cy="4763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2382 h 2"/>
                <a:gd name="T4" fmla="*/ 4233 w 3"/>
                <a:gd name="T5" fmla="*/ 4763 h 2"/>
                <a:gd name="T6" fmla="*/ 0 w 3"/>
                <a:gd name="T7" fmla="*/ 2382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2" name="Freeform 682"/>
            <p:cNvSpPr>
              <a:spLocks noChangeAspect="1"/>
            </p:cNvSpPr>
            <p:nvPr/>
          </p:nvSpPr>
          <p:spPr bwMode="auto">
            <a:xfrm>
              <a:off x="6696075" y="1663700"/>
              <a:ext cx="3175" cy="6350"/>
            </a:xfrm>
            <a:custGeom>
              <a:avLst/>
              <a:gdLst>
                <a:gd name="T0" fmla="*/ 1588 w 2"/>
                <a:gd name="T1" fmla="*/ 6350 h 3"/>
                <a:gd name="T2" fmla="*/ 0 w 2"/>
                <a:gd name="T3" fmla="*/ 6350 h 3"/>
                <a:gd name="T4" fmla="*/ 0 w 2"/>
                <a:gd name="T5" fmla="*/ 4233 h 3"/>
                <a:gd name="T6" fmla="*/ 3175 w 2"/>
                <a:gd name="T7" fmla="*/ 2117 h 3"/>
                <a:gd name="T8" fmla="*/ 1588 w 2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3"/>
                  </a:moveTo>
                  <a:cubicBezTo>
                    <a:pt x="1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1"/>
                  </a:cubicBezTo>
                  <a:cubicBezTo>
                    <a:pt x="2" y="1"/>
                    <a:pt x="1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3" name="Freeform 683"/>
            <p:cNvSpPr>
              <a:spLocks noChangeAspect="1"/>
            </p:cNvSpPr>
            <p:nvPr/>
          </p:nvSpPr>
          <p:spPr bwMode="auto">
            <a:xfrm>
              <a:off x="6391275" y="1654175"/>
              <a:ext cx="1588" cy="4763"/>
            </a:xfrm>
            <a:custGeom>
              <a:avLst/>
              <a:gdLst>
                <a:gd name="T0" fmla="*/ 1588 w 1"/>
                <a:gd name="T1" fmla="*/ 2382 h 2"/>
                <a:gd name="T2" fmla="*/ 0 w 1"/>
                <a:gd name="T3" fmla="*/ 4763 h 2"/>
                <a:gd name="T4" fmla="*/ 0 w 1"/>
                <a:gd name="T5" fmla="*/ 2382 h 2"/>
                <a:gd name="T6" fmla="*/ 0 w 1"/>
                <a:gd name="T7" fmla="*/ 0 h 2"/>
                <a:gd name="T8" fmla="*/ 1588 w 1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4" name="Freeform 684"/>
            <p:cNvSpPr>
              <a:spLocks noChangeAspect="1"/>
            </p:cNvSpPr>
            <p:nvPr/>
          </p:nvSpPr>
          <p:spPr bwMode="auto">
            <a:xfrm>
              <a:off x="6505575" y="1716088"/>
              <a:ext cx="3175" cy="4762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2 h 3"/>
                <a:gd name="T4" fmla="*/ 0 w 2"/>
                <a:gd name="T5" fmla="*/ 3175 h 3"/>
                <a:gd name="T6" fmla="*/ 1588 w 2"/>
                <a:gd name="T7" fmla="*/ 0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5" name="Freeform 685"/>
            <p:cNvSpPr>
              <a:spLocks noChangeAspect="1"/>
            </p:cNvSpPr>
            <p:nvPr/>
          </p:nvSpPr>
          <p:spPr bwMode="auto">
            <a:xfrm>
              <a:off x="6421438" y="1636713"/>
              <a:ext cx="6350" cy="4762"/>
            </a:xfrm>
            <a:custGeom>
              <a:avLst/>
              <a:gdLst>
                <a:gd name="T0" fmla="*/ 4233 w 3"/>
                <a:gd name="T1" fmla="*/ 2381 h 2"/>
                <a:gd name="T2" fmla="*/ 4233 w 3"/>
                <a:gd name="T3" fmla="*/ 4762 h 2"/>
                <a:gd name="T4" fmla="*/ 2117 w 3"/>
                <a:gd name="T5" fmla="*/ 2381 h 2"/>
                <a:gd name="T6" fmla="*/ 2117 w 3"/>
                <a:gd name="T7" fmla="*/ 0 h 2"/>
                <a:gd name="T8" fmla="*/ 4233 w 3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3" y="1"/>
                    <a:pt x="3" y="2"/>
                    <a:pt x="2" y="2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6" name="Freeform 686"/>
            <p:cNvSpPr>
              <a:spLocks noChangeAspect="1"/>
            </p:cNvSpPr>
            <p:nvPr/>
          </p:nvSpPr>
          <p:spPr bwMode="auto">
            <a:xfrm>
              <a:off x="6465888" y="1706563"/>
              <a:ext cx="3175" cy="3175"/>
            </a:xfrm>
            <a:custGeom>
              <a:avLst/>
              <a:gdLst>
                <a:gd name="T0" fmla="*/ 1588 w 2"/>
                <a:gd name="T1" fmla="*/ 3175 h 2"/>
                <a:gd name="T2" fmla="*/ 0 w 2"/>
                <a:gd name="T3" fmla="*/ 3175 h 2"/>
                <a:gd name="T4" fmla="*/ 1588 w 2"/>
                <a:gd name="T5" fmla="*/ 0 h 2"/>
                <a:gd name="T6" fmla="*/ 3175 w 2"/>
                <a:gd name="T7" fmla="*/ 0 h 2"/>
                <a:gd name="T8" fmla="*/ 1588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7" name="Freeform 687"/>
            <p:cNvSpPr>
              <a:spLocks noChangeAspect="1"/>
            </p:cNvSpPr>
            <p:nvPr/>
          </p:nvSpPr>
          <p:spPr bwMode="auto">
            <a:xfrm>
              <a:off x="6486525" y="1703388"/>
              <a:ext cx="6350" cy="4762"/>
            </a:xfrm>
            <a:custGeom>
              <a:avLst/>
              <a:gdLst>
                <a:gd name="T0" fmla="*/ 4233 w 3"/>
                <a:gd name="T1" fmla="*/ 4762 h 2"/>
                <a:gd name="T2" fmla="*/ 0 w 3"/>
                <a:gd name="T3" fmla="*/ 4762 h 2"/>
                <a:gd name="T4" fmla="*/ 2117 w 3"/>
                <a:gd name="T5" fmla="*/ 2381 h 2"/>
                <a:gd name="T6" fmla="*/ 4233 w 3"/>
                <a:gd name="T7" fmla="*/ 0 h 2"/>
                <a:gd name="T8" fmla="*/ 4233 w 3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8" name="Freeform 688"/>
            <p:cNvSpPr>
              <a:spLocks noChangeAspect="1"/>
            </p:cNvSpPr>
            <p:nvPr/>
          </p:nvSpPr>
          <p:spPr bwMode="auto">
            <a:xfrm>
              <a:off x="6278563" y="1798638"/>
              <a:ext cx="4762" cy="6350"/>
            </a:xfrm>
            <a:custGeom>
              <a:avLst/>
              <a:gdLst>
                <a:gd name="T0" fmla="*/ 4762 w 2"/>
                <a:gd name="T1" fmla="*/ 4233 h 3"/>
                <a:gd name="T2" fmla="*/ 2381 w 2"/>
                <a:gd name="T3" fmla="*/ 6350 h 3"/>
                <a:gd name="T4" fmla="*/ 0 w 2"/>
                <a:gd name="T5" fmla="*/ 4233 h 3"/>
                <a:gd name="T6" fmla="*/ 2381 w 2"/>
                <a:gd name="T7" fmla="*/ 0 h 3"/>
                <a:gd name="T8" fmla="*/ 4762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89" name="Freeform 689"/>
            <p:cNvSpPr>
              <a:spLocks noChangeAspect="1"/>
            </p:cNvSpPr>
            <p:nvPr/>
          </p:nvSpPr>
          <p:spPr bwMode="auto">
            <a:xfrm>
              <a:off x="6267450" y="1822450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1588 h 2"/>
                <a:gd name="T4" fmla="*/ 4233 w 3"/>
                <a:gd name="T5" fmla="*/ 3175 h 2"/>
                <a:gd name="T6" fmla="*/ 0 w 3"/>
                <a:gd name="T7" fmla="*/ 1588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0" name="Freeform 690"/>
            <p:cNvSpPr>
              <a:spLocks noChangeAspect="1"/>
            </p:cNvSpPr>
            <p:nvPr/>
          </p:nvSpPr>
          <p:spPr bwMode="auto">
            <a:xfrm>
              <a:off x="6232525" y="1816100"/>
              <a:ext cx="4763" cy="6350"/>
            </a:xfrm>
            <a:custGeom>
              <a:avLst/>
              <a:gdLst>
                <a:gd name="T0" fmla="*/ 4763 w 2"/>
                <a:gd name="T1" fmla="*/ 2117 h 3"/>
                <a:gd name="T2" fmla="*/ 2382 w 2"/>
                <a:gd name="T3" fmla="*/ 4233 h 3"/>
                <a:gd name="T4" fmla="*/ 0 w 2"/>
                <a:gd name="T5" fmla="*/ 4233 h 3"/>
                <a:gd name="T6" fmla="*/ 0 w 2"/>
                <a:gd name="T7" fmla="*/ 0 h 3"/>
                <a:gd name="T8" fmla="*/ 4763 w 2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1" name="Freeform 691"/>
            <p:cNvSpPr>
              <a:spLocks noChangeAspect="1"/>
            </p:cNvSpPr>
            <p:nvPr/>
          </p:nvSpPr>
          <p:spPr bwMode="auto">
            <a:xfrm>
              <a:off x="6172200" y="1797050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2117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2" name="Freeform 692"/>
            <p:cNvSpPr>
              <a:spLocks noChangeAspect="1"/>
            </p:cNvSpPr>
            <p:nvPr/>
          </p:nvSpPr>
          <p:spPr bwMode="auto">
            <a:xfrm>
              <a:off x="6116638" y="1851025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1588 h 2"/>
                <a:gd name="T4" fmla="*/ 2117 w 3"/>
                <a:gd name="T5" fmla="*/ 0 h 2"/>
                <a:gd name="T6" fmla="*/ 6350 w 3"/>
                <a:gd name="T7" fmla="*/ 1588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3" name="Freeform 693"/>
            <p:cNvSpPr>
              <a:spLocks noChangeAspect="1"/>
            </p:cNvSpPr>
            <p:nvPr/>
          </p:nvSpPr>
          <p:spPr bwMode="auto">
            <a:xfrm>
              <a:off x="5949950" y="2022475"/>
              <a:ext cx="4763" cy="3175"/>
            </a:xfrm>
            <a:custGeom>
              <a:avLst/>
              <a:gdLst>
                <a:gd name="T0" fmla="*/ 3175 w 3"/>
                <a:gd name="T1" fmla="*/ 0 h 2"/>
                <a:gd name="T2" fmla="*/ 3175 w 3"/>
                <a:gd name="T3" fmla="*/ 1588 h 2"/>
                <a:gd name="T4" fmla="*/ 1588 w 3"/>
                <a:gd name="T5" fmla="*/ 3175 h 2"/>
                <a:gd name="T6" fmla="*/ 0 w 3"/>
                <a:gd name="T7" fmla="*/ 0 h 2"/>
                <a:gd name="T8" fmla="*/ 3175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4" name="Freeform 694"/>
            <p:cNvSpPr>
              <a:spLocks noChangeAspect="1"/>
            </p:cNvSpPr>
            <p:nvPr/>
          </p:nvSpPr>
          <p:spPr bwMode="auto">
            <a:xfrm>
              <a:off x="5981700" y="1836738"/>
              <a:ext cx="39688" cy="26987"/>
            </a:xfrm>
            <a:custGeom>
              <a:avLst/>
              <a:gdLst>
                <a:gd name="T0" fmla="*/ 13229 w 21"/>
                <a:gd name="T1" fmla="*/ 0 h 14"/>
                <a:gd name="T2" fmla="*/ 20789 w 21"/>
                <a:gd name="T3" fmla="*/ 3855 h 14"/>
                <a:gd name="T4" fmla="*/ 22679 w 21"/>
                <a:gd name="T5" fmla="*/ 13494 h 14"/>
                <a:gd name="T6" fmla="*/ 28349 w 21"/>
                <a:gd name="T7" fmla="*/ 11566 h 14"/>
                <a:gd name="T8" fmla="*/ 35908 w 21"/>
                <a:gd name="T9" fmla="*/ 21204 h 14"/>
                <a:gd name="T10" fmla="*/ 18899 w 21"/>
                <a:gd name="T11" fmla="*/ 23132 h 14"/>
                <a:gd name="T12" fmla="*/ 7560 w 21"/>
                <a:gd name="T13" fmla="*/ 25059 h 14"/>
                <a:gd name="T14" fmla="*/ 5670 w 21"/>
                <a:gd name="T15" fmla="*/ 23132 h 14"/>
                <a:gd name="T16" fmla="*/ 1890 w 21"/>
                <a:gd name="T17" fmla="*/ 25059 h 14"/>
                <a:gd name="T18" fmla="*/ 1890 w 21"/>
                <a:gd name="T19" fmla="*/ 15421 h 14"/>
                <a:gd name="T20" fmla="*/ 1890 w 21"/>
                <a:gd name="T21" fmla="*/ 5783 h 14"/>
                <a:gd name="T22" fmla="*/ 13229 w 21"/>
                <a:gd name="T23" fmla="*/ 0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1"/>
                <a:gd name="T37" fmla="*/ 0 h 14"/>
                <a:gd name="T38" fmla="*/ 21 w 21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1" h="14">
                  <a:moveTo>
                    <a:pt x="7" y="0"/>
                  </a:moveTo>
                  <a:cubicBezTo>
                    <a:pt x="9" y="0"/>
                    <a:pt x="10" y="1"/>
                    <a:pt x="11" y="2"/>
                  </a:cubicBezTo>
                  <a:cubicBezTo>
                    <a:pt x="12" y="4"/>
                    <a:pt x="11" y="6"/>
                    <a:pt x="12" y="7"/>
                  </a:cubicBezTo>
                  <a:cubicBezTo>
                    <a:pt x="13" y="8"/>
                    <a:pt x="14" y="5"/>
                    <a:pt x="15" y="6"/>
                  </a:cubicBezTo>
                  <a:cubicBezTo>
                    <a:pt x="17" y="7"/>
                    <a:pt x="21" y="9"/>
                    <a:pt x="19" y="11"/>
                  </a:cubicBezTo>
                  <a:cubicBezTo>
                    <a:pt x="18" y="13"/>
                    <a:pt x="13" y="11"/>
                    <a:pt x="10" y="12"/>
                  </a:cubicBezTo>
                  <a:cubicBezTo>
                    <a:pt x="8" y="12"/>
                    <a:pt x="6" y="13"/>
                    <a:pt x="4" y="13"/>
                  </a:cubicBezTo>
                  <a:cubicBezTo>
                    <a:pt x="4" y="13"/>
                    <a:pt x="4" y="12"/>
                    <a:pt x="3" y="12"/>
                  </a:cubicBezTo>
                  <a:cubicBezTo>
                    <a:pt x="2" y="12"/>
                    <a:pt x="1" y="14"/>
                    <a:pt x="1" y="13"/>
                  </a:cubicBezTo>
                  <a:cubicBezTo>
                    <a:pt x="0" y="12"/>
                    <a:pt x="1" y="9"/>
                    <a:pt x="1" y="8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5" y="0"/>
                    <a:pt x="7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5" name="Freeform 695"/>
            <p:cNvSpPr>
              <a:spLocks noChangeAspect="1"/>
            </p:cNvSpPr>
            <p:nvPr/>
          </p:nvSpPr>
          <p:spPr bwMode="auto">
            <a:xfrm>
              <a:off x="6078538" y="1860550"/>
              <a:ext cx="11112" cy="12700"/>
            </a:xfrm>
            <a:custGeom>
              <a:avLst/>
              <a:gdLst>
                <a:gd name="T0" fmla="*/ 7408 w 6"/>
                <a:gd name="T1" fmla="*/ 1814 h 7"/>
                <a:gd name="T2" fmla="*/ 7408 w 6"/>
                <a:gd name="T3" fmla="*/ 10886 h 7"/>
                <a:gd name="T4" fmla="*/ 1852 w 6"/>
                <a:gd name="T5" fmla="*/ 5443 h 7"/>
                <a:gd name="T6" fmla="*/ 1852 w 6"/>
                <a:gd name="T7" fmla="*/ 0 h 7"/>
                <a:gd name="T8" fmla="*/ 7408 w 6"/>
                <a:gd name="T9" fmla="*/ 1814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4" y="1"/>
                  </a:moveTo>
                  <a:cubicBezTo>
                    <a:pt x="5" y="2"/>
                    <a:pt x="6" y="5"/>
                    <a:pt x="4" y="6"/>
                  </a:cubicBezTo>
                  <a:cubicBezTo>
                    <a:pt x="3" y="7"/>
                    <a:pt x="1" y="5"/>
                    <a:pt x="1" y="3"/>
                  </a:cubicBezTo>
                  <a:cubicBezTo>
                    <a:pt x="0" y="3"/>
                    <a:pt x="0" y="1"/>
                    <a:pt x="1" y="0"/>
                  </a:cubicBezTo>
                  <a:cubicBezTo>
                    <a:pt x="2" y="0"/>
                    <a:pt x="4" y="0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6" name="Freeform 696"/>
            <p:cNvSpPr>
              <a:spLocks noChangeAspect="1"/>
            </p:cNvSpPr>
            <p:nvPr/>
          </p:nvSpPr>
          <p:spPr bwMode="auto">
            <a:xfrm>
              <a:off x="6165850" y="1854200"/>
              <a:ext cx="19050" cy="23813"/>
            </a:xfrm>
            <a:custGeom>
              <a:avLst/>
              <a:gdLst>
                <a:gd name="T0" fmla="*/ 13335 w 10"/>
                <a:gd name="T1" fmla="*/ 1984 h 12"/>
                <a:gd name="T2" fmla="*/ 7620 w 10"/>
                <a:gd name="T3" fmla="*/ 0 h 12"/>
                <a:gd name="T4" fmla="*/ 0 w 10"/>
                <a:gd name="T5" fmla="*/ 15875 h 12"/>
                <a:gd name="T6" fmla="*/ 9525 w 10"/>
                <a:gd name="T7" fmla="*/ 23813 h 12"/>
                <a:gd name="T8" fmla="*/ 17145 w 10"/>
                <a:gd name="T9" fmla="*/ 21829 h 12"/>
                <a:gd name="T10" fmla="*/ 15240 w 10"/>
                <a:gd name="T11" fmla="*/ 15875 h 12"/>
                <a:gd name="T12" fmla="*/ 15240 w 10"/>
                <a:gd name="T13" fmla="*/ 7938 h 12"/>
                <a:gd name="T14" fmla="*/ 13335 w 10"/>
                <a:gd name="T15" fmla="*/ 198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2"/>
                <a:gd name="T26" fmla="*/ 10 w 10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2">
                  <a:moveTo>
                    <a:pt x="7" y="1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2" y="2"/>
                    <a:pt x="0" y="5"/>
                    <a:pt x="0" y="8"/>
                  </a:cubicBezTo>
                  <a:cubicBezTo>
                    <a:pt x="1" y="10"/>
                    <a:pt x="3" y="11"/>
                    <a:pt x="5" y="12"/>
                  </a:cubicBezTo>
                  <a:cubicBezTo>
                    <a:pt x="6" y="12"/>
                    <a:pt x="8" y="12"/>
                    <a:pt x="9" y="11"/>
                  </a:cubicBezTo>
                  <a:cubicBezTo>
                    <a:pt x="10" y="10"/>
                    <a:pt x="8" y="9"/>
                    <a:pt x="8" y="8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7" y="3"/>
                    <a:pt x="8" y="2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7" name="Freeform 697"/>
            <p:cNvSpPr>
              <a:spLocks noChangeAspect="1"/>
            </p:cNvSpPr>
            <p:nvPr/>
          </p:nvSpPr>
          <p:spPr bwMode="auto">
            <a:xfrm>
              <a:off x="6135688" y="1878013"/>
              <a:ext cx="28575" cy="20637"/>
            </a:xfrm>
            <a:custGeom>
              <a:avLst/>
              <a:gdLst>
                <a:gd name="T0" fmla="*/ 13335 w 15"/>
                <a:gd name="T1" fmla="*/ 1876 h 11"/>
                <a:gd name="T2" fmla="*/ 26670 w 15"/>
                <a:gd name="T3" fmla="*/ 3752 h 11"/>
                <a:gd name="T4" fmla="*/ 24765 w 15"/>
                <a:gd name="T5" fmla="*/ 9380 h 11"/>
                <a:gd name="T6" fmla="*/ 17145 w 15"/>
                <a:gd name="T7" fmla="*/ 16885 h 11"/>
                <a:gd name="T8" fmla="*/ 3810 w 15"/>
                <a:gd name="T9" fmla="*/ 20637 h 11"/>
                <a:gd name="T10" fmla="*/ 1905 w 15"/>
                <a:gd name="T11" fmla="*/ 16885 h 11"/>
                <a:gd name="T12" fmla="*/ 9525 w 15"/>
                <a:gd name="T13" fmla="*/ 7504 h 11"/>
                <a:gd name="T14" fmla="*/ 13335 w 15"/>
                <a:gd name="T15" fmla="*/ 1876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11"/>
                <a:gd name="T26" fmla="*/ 15 w 15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11">
                  <a:moveTo>
                    <a:pt x="7" y="1"/>
                  </a:moveTo>
                  <a:cubicBezTo>
                    <a:pt x="9" y="0"/>
                    <a:pt x="12" y="1"/>
                    <a:pt x="14" y="2"/>
                  </a:cubicBezTo>
                  <a:cubicBezTo>
                    <a:pt x="15" y="3"/>
                    <a:pt x="14" y="4"/>
                    <a:pt x="13" y="5"/>
                  </a:cubicBezTo>
                  <a:cubicBezTo>
                    <a:pt x="12" y="7"/>
                    <a:pt x="11" y="9"/>
                    <a:pt x="9" y="9"/>
                  </a:cubicBezTo>
                  <a:cubicBezTo>
                    <a:pt x="7" y="11"/>
                    <a:pt x="4" y="11"/>
                    <a:pt x="2" y="11"/>
                  </a:cubicBezTo>
                  <a:cubicBezTo>
                    <a:pt x="1" y="11"/>
                    <a:pt x="0" y="9"/>
                    <a:pt x="1" y="9"/>
                  </a:cubicBezTo>
                  <a:cubicBezTo>
                    <a:pt x="1" y="7"/>
                    <a:pt x="3" y="5"/>
                    <a:pt x="5" y="4"/>
                  </a:cubicBezTo>
                  <a:cubicBezTo>
                    <a:pt x="5" y="3"/>
                    <a:pt x="6" y="1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8" name="Freeform 698"/>
            <p:cNvSpPr>
              <a:spLocks noChangeAspect="1"/>
            </p:cNvSpPr>
            <p:nvPr/>
          </p:nvSpPr>
          <p:spPr bwMode="auto">
            <a:xfrm>
              <a:off x="6203950" y="1755775"/>
              <a:ext cx="15875" cy="20638"/>
            </a:xfrm>
            <a:custGeom>
              <a:avLst/>
              <a:gdLst>
                <a:gd name="T0" fmla="*/ 11906 w 8"/>
                <a:gd name="T1" fmla="*/ 1876 h 11"/>
                <a:gd name="T2" fmla="*/ 13891 w 8"/>
                <a:gd name="T3" fmla="*/ 11257 h 11"/>
                <a:gd name="T4" fmla="*/ 9922 w 8"/>
                <a:gd name="T5" fmla="*/ 18762 h 11"/>
                <a:gd name="T6" fmla="*/ 3969 w 8"/>
                <a:gd name="T7" fmla="*/ 11257 h 11"/>
                <a:gd name="T8" fmla="*/ 11906 w 8"/>
                <a:gd name="T9" fmla="*/ 187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1"/>
                <a:gd name="T17" fmla="*/ 8 w 8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1">
                  <a:moveTo>
                    <a:pt x="6" y="1"/>
                  </a:moveTo>
                  <a:cubicBezTo>
                    <a:pt x="7" y="0"/>
                    <a:pt x="8" y="4"/>
                    <a:pt x="7" y="6"/>
                  </a:cubicBezTo>
                  <a:cubicBezTo>
                    <a:pt x="7" y="7"/>
                    <a:pt x="6" y="11"/>
                    <a:pt x="5" y="10"/>
                  </a:cubicBezTo>
                  <a:cubicBezTo>
                    <a:pt x="5" y="8"/>
                    <a:pt x="3" y="6"/>
                    <a:pt x="2" y="6"/>
                  </a:cubicBezTo>
                  <a:cubicBezTo>
                    <a:pt x="0" y="7"/>
                    <a:pt x="4" y="2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699" name="Freeform 699"/>
            <p:cNvSpPr>
              <a:spLocks noChangeAspect="1"/>
            </p:cNvSpPr>
            <p:nvPr/>
          </p:nvSpPr>
          <p:spPr bwMode="auto">
            <a:xfrm>
              <a:off x="6450013" y="1681163"/>
              <a:ext cx="19050" cy="17462"/>
            </a:xfrm>
            <a:custGeom>
              <a:avLst/>
              <a:gdLst>
                <a:gd name="T0" fmla="*/ 13335 w 10"/>
                <a:gd name="T1" fmla="*/ 0 h 9"/>
                <a:gd name="T2" fmla="*/ 19050 w 10"/>
                <a:gd name="T3" fmla="*/ 1940 h 9"/>
                <a:gd name="T4" fmla="*/ 11430 w 10"/>
                <a:gd name="T5" fmla="*/ 17462 h 9"/>
                <a:gd name="T6" fmla="*/ 7620 w 10"/>
                <a:gd name="T7" fmla="*/ 13582 h 9"/>
                <a:gd name="T8" fmla="*/ 0 w 10"/>
                <a:gd name="T9" fmla="*/ 11641 h 9"/>
                <a:gd name="T10" fmla="*/ 11430 w 10"/>
                <a:gd name="T11" fmla="*/ 5821 h 9"/>
                <a:gd name="T12" fmla="*/ 13335 w 10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9"/>
                <a:gd name="T23" fmla="*/ 10 w 10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9">
                  <a:moveTo>
                    <a:pt x="7" y="0"/>
                  </a:moveTo>
                  <a:cubicBezTo>
                    <a:pt x="8" y="0"/>
                    <a:pt x="10" y="0"/>
                    <a:pt x="10" y="1"/>
                  </a:cubicBezTo>
                  <a:cubicBezTo>
                    <a:pt x="10" y="4"/>
                    <a:pt x="8" y="7"/>
                    <a:pt x="6" y="9"/>
                  </a:cubicBezTo>
                  <a:cubicBezTo>
                    <a:pt x="5" y="9"/>
                    <a:pt x="5" y="7"/>
                    <a:pt x="4" y="7"/>
                  </a:cubicBezTo>
                  <a:cubicBezTo>
                    <a:pt x="3" y="6"/>
                    <a:pt x="0" y="8"/>
                    <a:pt x="0" y="6"/>
                  </a:cubicBezTo>
                  <a:cubicBezTo>
                    <a:pt x="1" y="4"/>
                    <a:pt x="4" y="4"/>
                    <a:pt x="6" y="3"/>
                  </a:cubicBezTo>
                  <a:cubicBezTo>
                    <a:pt x="7" y="2"/>
                    <a:pt x="6" y="1"/>
                    <a:pt x="7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0" name="Freeform 700"/>
            <p:cNvSpPr>
              <a:spLocks noChangeAspect="1"/>
            </p:cNvSpPr>
            <p:nvPr/>
          </p:nvSpPr>
          <p:spPr bwMode="auto">
            <a:xfrm>
              <a:off x="6480175" y="1717675"/>
              <a:ext cx="23813" cy="11113"/>
            </a:xfrm>
            <a:custGeom>
              <a:avLst/>
              <a:gdLst>
                <a:gd name="T0" fmla="*/ 5953 w 12"/>
                <a:gd name="T1" fmla="*/ 0 h 6"/>
                <a:gd name="T2" fmla="*/ 1984 w 12"/>
                <a:gd name="T3" fmla="*/ 7409 h 6"/>
                <a:gd name="T4" fmla="*/ 15875 w 12"/>
                <a:gd name="T5" fmla="*/ 11113 h 6"/>
                <a:gd name="T6" fmla="*/ 23813 w 12"/>
                <a:gd name="T7" fmla="*/ 9261 h 6"/>
                <a:gd name="T8" fmla="*/ 15875 w 12"/>
                <a:gd name="T9" fmla="*/ 3704 h 6"/>
                <a:gd name="T10" fmla="*/ 5953 w 1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6"/>
                <a:gd name="T20" fmla="*/ 12 w 1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6">
                  <a:moveTo>
                    <a:pt x="3" y="0"/>
                  </a:moveTo>
                  <a:cubicBezTo>
                    <a:pt x="2" y="1"/>
                    <a:pt x="0" y="3"/>
                    <a:pt x="1" y="4"/>
                  </a:cubicBezTo>
                  <a:cubicBezTo>
                    <a:pt x="3" y="5"/>
                    <a:pt x="6" y="6"/>
                    <a:pt x="8" y="6"/>
                  </a:cubicBezTo>
                  <a:cubicBezTo>
                    <a:pt x="10" y="6"/>
                    <a:pt x="12" y="6"/>
                    <a:pt x="12" y="5"/>
                  </a:cubicBezTo>
                  <a:cubicBezTo>
                    <a:pt x="12" y="3"/>
                    <a:pt x="10" y="2"/>
                    <a:pt x="8" y="2"/>
                  </a:cubicBezTo>
                  <a:cubicBezTo>
                    <a:pt x="7" y="1"/>
                    <a:pt x="5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1" name="Freeform 701"/>
            <p:cNvSpPr>
              <a:spLocks noChangeAspect="1"/>
            </p:cNvSpPr>
            <p:nvPr/>
          </p:nvSpPr>
          <p:spPr bwMode="auto">
            <a:xfrm>
              <a:off x="6684963" y="1635125"/>
              <a:ext cx="23812" cy="11113"/>
            </a:xfrm>
            <a:custGeom>
              <a:avLst/>
              <a:gdLst>
                <a:gd name="T0" fmla="*/ 20149 w 13"/>
                <a:gd name="T1" fmla="*/ 0 h 6"/>
                <a:gd name="T2" fmla="*/ 23812 w 13"/>
                <a:gd name="T3" fmla="*/ 5557 h 6"/>
                <a:gd name="T4" fmla="*/ 20149 w 13"/>
                <a:gd name="T5" fmla="*/ 11113 h 6"/>
                <a:gd name="T6" fmla="*/ 12822 w 13"/>
                <a:gd name="T7" fmla="*/ 9261 h 6"/>
                <a:gd name="T8" fmla="*/ 1832 w 13"/>
                <a:gd name="T9" fmla="*/ 7409 h 6"/>
                <a:gd name="T10" fmla="*/ 0 w 13"/>
                <a:gd name="T11" fmla="*/ 3704 h 6"/>
                <a:gd name="T12" fmla="*/ 7327 w 13"/>
                <a:gd name="T13" fmla="*/ 1852 h 6"/>
                <a:gd name="T14" fmla="*/ 12822 w 13"/>
                <a:gd name="T15" fmla="*/ 1852 h 6"/>
                <a:gd name="T16" fmla="*/ 20149 w 13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6"/>
                <a:gd name="T29" fmla="*/ 13 w 13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6">
                  <a:moveTo>
                    <a:pt x="11" y="0"/>
                  </a:moveTo>
                  <a:cubicBezTo>
                    <a:pt x="12" y="0"/>
                    <a:pt x="13" y="2"/>
                    <a:pt x="13" y="3"/>
                  </a:cubicBezTo>
                  <a:cubicBezTo>
                    <a:pt x="13" y="4"/>
                    <a:pt x="12" y="6"/>
                    <a:pt x="11" y="6"/>
                  </a:cubicBezTo>
                  <a:cubicBezTo>
                    <a:pt x="9" y="6"/>
                    <a:pt x="8" y="5"/>
                    <a:pt x="7" y="5"/>
                  </a:cubicBezTo>
                  <a:cubicBezTo>
                    <a:pt x="5" y="4"/>
                    <a:pt x="3" y="5"/>
                    <a:pt x="1" y="4"/>
                  </a:cubicBezTo>
                  <a:cubicBezTo>
                    <a:pt x="0" y="4"/>
                    <a:pt x="0" y="2"/>
                    <a:pt x="0" y="2"/>
                  </a:cubicBezTo>
                  <a:cubicBezTo>
                    <a:pt x="1" y="1"/>
                    <a:pt x="3" y="1"/>
                    <a:pt x="4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9" y="1"/>
                    <a:pt x="10" y="0"/>
                    <a:pt x="1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2" name="Freeform 702"/>
            <p:cNvSpPr>
              <a:spLocks noChangeAspect="1"/>
            </p:cNvSpPr>
            <p:nvPr/>
          </p:nvSpPr>
          <p:spPr bwMode="auto">
            <a:xfrm>
              <a:off x="6673850" y="1627188"/>
              <a:ext cx="12700" cy="9525"/>
            </a:xfrm>
            <a:custGeom>
              <a:avLst/>
              <a:gdLst>
                <a:gd name="T0" fmla="*/ 7257 w 7"/>
                <a:gd name="T1" fmla="*/ 0 h 5"/>
                <a:gd name="T2" fmla="*/ 12700 w 7"/>
                <a:gd name="T3" fmla="*/ 3810 h 5"/>
                <a:gd name="T4" fmla="*/ 7257 w 7"/>
                <a:gd name="T5" fmla="*/ 5715 h 5"/>
                <a:gd name="T6" fmla="*/ 3629 w 7"/>
                <a:gd name="T7" fmla="*/ 9525 h 5"/>
                <a:gd name="T8" fmla="*/ 0 w 7"/>
                <a:gd name="T9" fmla="*/ 5715 h 5"/>
                <a:gd name="T10" fmla="*/ 3629 w 7"/>
                <a:gd name="T11" fmla="*/ 1905 h 5"/>
                <a:gd name="T12" fmla="*/ 7257 w 7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5"/>
                <a:gd name="T23" fmla="*/ 7 w 7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5">
                  <a:moveTo>
                    <a:pt x="4" y="0"/>
                  </a:moveTo>
                  <a:cubicBezTo>
                    <a:pt x="5" y="0"/>
                    <a:pt x="7" y="1"/>
                    <a:pt x="7" y="2"/>
                  </a:cubicBezTo>
                  <a:cubicBezTo>
                    <a:pt x="7" y="3"/>
                    <a:pt x="5" y="2"/>
                    <a:pt x="4" y="3"/>
                  </a:cubicBezTo>
                  <a:cubicBezTo>
                    <a:pt x="3" y="3"/>
                    <a:pt x="3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2" y="2"/>
                    <a:pt x="2" y="1"/>
                  </a:cubicBezTo>
                  <a:cubicBezTo>
                    <a:pt x="3" y="1"/>
                    <a:pt x="3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3" name="Freeform 703"/>
            <p:cNvSpPr>
              <a:spLocks noChangeAspect="1"/>
            </p:cNvSpPr>
            <p:nvPr/>
          </p:nvSpPr>
          <p:spPr bwMode="auto">
            <a:xfrm>
              <a:off x="6546850" y="1576388"/>
              <a:ext cx="109538" cy="76200"/>
            </a:xfrm>
            <a:custGeom>
              <a:avLst/>
              <a:gdLst>
                <a:gd name="T0" fmla="*/ 101851 w 57"/>
                <a:gd name="T1" fmla="*/ 34290 h 40"/>
                <a:gd name="T2" fmla="*/ 103773 w 57"/>
                <a:gd name="T3" fmla="*/ 55245 h 40"/>
                <a:gd name="T4" fmla="*/ 63417 w 57"/>
                <a:gd name="T5" fmla="*/ 62865 h 40"/>
                <a:gd name="T6" fmla="*/ 30748 w 57"/>
                <a:gd name="T7" fmla="*/ 62865 h 40"/>
                <a:gd name="T8" fmla="*/ 7687 w 57"/>
                <a:gd name="T9" fmla="*/ 74295 h 40"/>
                <a:gd name="T10" fmla="*/ 1922 w 57"/>
                <a:gd name="T11" fmla="*/ 70485 h 40"/>
                <a:gd name="T12" fmla="*/ 1922 w 57"/>
                <a:gd name="T13" fmla="*/ 45720 h 40"/>
                <a:gd name="T14" fmla="*/ 9609 w 57"/>
                <a:gd name="T15" fmla="*/ 36195 h 40"/>
                <a:gd name="T16" fmla="*/ 17295 w 57"/>
                <a:gd name="T17" fmla="*/ 38100 h 40"/>
                <a:gd name="T18" fmla="*/ 13452 w 57"/>
                <a:gd name="T19" fmla="*/ 24765 h 40"/>
                <a:gd name="T20" fmla="*/ 24982 w 57"/>
                <a:gd name="T21" fmla="*/ 7620 h 40"/>
                <a:gd name="T22" fmla="*/ 34591 w 57"/>
                <a:gd name="T23" fmla="*/ 20955 h 40"/>
                <a:gd name="T24" fmla="*/ 36513 w 57"/>
                <a:gd name="T25" fmla="*/ 3810 h 40"/>
                <a:gd name="T26" fmla="*/ 46121 w 57"/>
                <a:gd name="T27" fmla="*/ 3810 h 40"/>
                <a:gd name="T28" fmla="*/ 49965 w 57"/>
                <a:gd name="T29" fmla="*/ 20955 h 40"/>
                <a:gd name="T30" fmla="*/ 57652 w 57"/>
                <a:gd name="T31" fmla="*/ 11430 h 40"/>
                <a:gd name="T32" fmla="*/ 63417 w 57"/>
                <a:gd name="T33" fmla="*/ 19050 h 40"/>
                <a:gd name="T34" fmla="*/ 69182 w 57"/>
                <a:gd name="T35" fmla="*/ 15240 h 40"/>
                <a:gd name="T36" fmla="*/ 86477 w 57"/>
                <a:gd name="T37" fmla="*/ 30480 h 40"/>
                <a:gd name="T38" fmla="*/ 88399 w 57"/>
                <a:gd name="T39" fmla="*/ 24765 h 40"/>
                <a:gd name="T40" fmla="*/ 101851 w 57"/>
                <a:gd name="T41" fmla="*/ 34290 h 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7"/>
                <a:gd name="T64" fmla="*/ 0 h 40"/>
                <a:gd name="T65" fmla="*/ 57 w 57"/>
                <a:gd name="T66" fmla="*/ 40 h 4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7" h="40">
                  <a:moveTo>
                    <a:pt x="53" y="18"/>
                  </a:moveTo>
                  <a:cubicBezTo>
                    <a:pt x="55" y="21"/>
                    <a:pt x="57" y="27"/>
                    <a:pt x="54" y="29"/>
                  </a:cubicBezTo>
                  <a:cubicBezTo>
                    <a:pt x="48" y="30"/>
                    <a:pt x="40" y="31"/>
                    <a:pt x="33" y="33"/>
                  </a:cubicBezTo>
                  <a:cubicBezTo>
                    <a:pt x="28" y="35"/>
                    <a:pt x="22" y="32"/>
                    <a:pt x="16" y="33"/>
                  </a:cubicBezTo>
                  <a:cubicBezTo>
                    <a:pt x="12" y="34"/>
                    <a:pt x="8" y="38"/>
                    <a:pt x="4" y="39"/>
                  </a:cubicBezTo>
                  <a:cubicBezTo>
                    <a:pt x="3" y="40"/>
                    <a:pt x="1" y="38"/>
                    <a:pt x="1" y="37"/>
                  </a:cubicBezTo>
                  <a:cubicBezTo>
                    <a:pt x="0" y="33"/>
                    <a:pt x="0" y="28"/>
                    <a:pt x="1" y="24"/>
                  </a:cubicBezTo>
                  <a:cubicBezTo>
                    <a:pt x="1" y="22"/>
                    <a:pt x="3" y="20"/>
                    <a:pt x="5" y="19"/>
                  </a:cubicBezTo>
                  <a:cubicBezTo>
                    <a:pt x="6" y="19"/>
                    <a:pt x="8" y="21"/>
                    <a:pt x="9" y="20"/>
                  </a:cubicBezTo>
                  <a:cubicBezTo>
                    <a:pt x="10" y="17"/>
                    <a:pt x="7" y="15"/>
                    <a:pt x="7" y="13"/>
                  </a:cubicBezTo>
                  <a:cubicBezTo>
                    <a:pt x="8" y="10"/>
                    <a:pt x="10" y="5"/>
                    <a:pt x="13" y="4"/>
                  </a:cubicBezTo>
                  <a:cubicBezTo>
                    <a:pt x="16" y="4"/>
                    <a:pt x="15" y="12"/>
                    <a:pt x="18" y="11"/>
                  </a:cubicBezTo>
                  <a:cubicBezTo>
                    <a:pt x="20" y="10"/>
                    <a:pt x="17" y="4"/>
                    <a:pt x="19" y="2"/>
                  </a:cubicBezTo>
                  <a:cubicBezTo>
                    <a:pt x="20" y="0"/>
                    <a:pt x="23" y="0"/>
                    <a:pt x="24" y="2"/>
                  </a:cubicBezTo>
                  <a:cubicBezTo>
                    <a:pt x="26" y="4"/>
                    <a:pt x="24" y="10"/>
                    <a:pt x="26" y="11"/>
                  </a:cubicBezTo>
                  <a:cubicBezTo>
                    <a:pt x="28" y="13"/>
                    <a:pt x="28" y="6"/>
                    <a:pt x="30" y="6"/>
                  </a:cubicBezTo>
                  <a:cubicBezTo>
                    <a:pt x="32" y="5"/>
                    <a:pt x="32" y="9"/>
                    <a:pt x="33" y="10"/>
                  </a:cubicBezTo>
                  <a:cubicBezTo>
                    <a:pt x="35" y="10"/>
                    <a:pt x="35" y="7"/>
                    <a:pt x="36" y="8"/>
                  </a:cubicBezTo>
                  <a:cubicBezTo>
                    <a:pt x="40" y="9"/>
                    <a:pt x="41" y="14"/>
                    <a:pt x="45" y="16"/>
                  </a:cubicBezTo>
                  <a:cubicBezTo>
                    <a:pt x="46" y="16"/>
                    <a:pt x="45" y="13"/>
                    <a:pt x="46" y="13"/>
                  </a:cubicBezTo>
                  <a:cubicBezTo>
                    <a:pt x="49" y="14"/>
                    <a:pt x="52" y="16"/>
                    <a:pt x="53" y="1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4" name="Freeform 704"/>
            <p:cNvSpPr>
              <a:spLocks noChangeAspect="1"/>
            </p:cNvSpPr>
            <p:nvPr/>
          </p:nvSpPr>
          <p:spPr bwMode="auto">
            <a:xfrm>
              <a:off x="6394450" y="1539875"/>
              <a:ext cx="149225" cy="77788"/>
            </a:xfrm>
            <a:custGeom>
              <a:avLst/>
              <a:gdLst>
                <a:gd name="T0" fmla="*/ 124354 w 78"/>
                <a:gd name="T1" fmla="*/ 13281 h 41"/>
                <a:gd name="T2" fmla="*/ 139659 w 78"/>
                <a:gd name="T3" fmla="*/ 24664 h 41"/>
                <a:gd name="T4" fmla="*/ 141572 w 78"/>
                <a:gd name="T5" fmla="*/ 41740 h 41"/>
                <a:gd name="T6" fmla="*/ 126267 w 78"/>
                <a:gd name="T7" fmla="*/ 39843 h 41"/>
                <a:gd name="T8" fmla="*/ 126267 w 78"/>
                <a:gd name="T9" fmla="*/ 47432 h 41"/>
                <a:gd name="T10" fmla="*/ 145399 w 78"/>
                <a:gd name="T11" fmla="*/ 60713 h 41"/>
                <a:gd name="T12" fmla="*/ 145399 w 78"/>
                <a:gd name="T13" fmla="*/ 73993 h 41"/>
                <a:gd name="T14" fmla="*/ 109049 w 78"/>
                <a:gd name="T15" fmla="*/ 73993 h 41"/>
                <a:gd name="T16" fmla="*/ 86091 w 78"/>
                <a:gd name="T17" fmla="*/ 64507 h 41"/>
                <a:gd name="T18" fmla="*/ 66960 w 78"/>
                <a:gd name="T19" fmla="*/ 58815 h 41"/>
                <a:gd name="T20" fmla="*/ 57394 w 78"/>
                <a:gd name="T21" fmla="*/ 53124 h 41"/>
                <a:gd name="T22" fmla="*/ 47829 w 78"/>
                <a:gd name="T23" fmla="*/ 56918 h 41"/>
                <a:gd name="T24" fmla="*/ 24871 w 78"/>
                <a:gd name="T25" fmla="*/ 47432 h 41"/>
                <a:gd name="T26" fmla="*/ 24871 w 78"/>
                <a:gd name="T27" fmla="*/ 37945 h 41"/>
                <a:gd name="T28" fmla="*/ 1913 w 78"/>
                <a:gd name="T29" fmla="*/ 36048 h 41"/>
                <a:gd name="T30" fmla="*/ 1913 w 78"/>
                <a:gd name="T31" fmla="*/ 30356 h 41"/>
                <a:gd name="T32" fmla="*/ 26784 w 78"/>
                <a:gd name="T33" fmla="*/ 24664 h 41"/>
                <a:gd name="T34" fmla="*/ 28697 w 78"/>
                <a:gd name="T35" fmla="*/ 13281 h 41"/>
                <a:gd name="T36" fmla="*/ 44002 w 78"/>
                <a:gd name="T37" fmla="*/ 7589 h 41"/>
                <a:gd name="T38" fmla="*/ 65047 w 78"/>
                <a:gd name="T39" fmla="*/ 5692 h 41"/>
                <a:gd name="T40" fmla="*/ 78439 w 78"/>
                <a:gd name="T41" fmla="*/ 0 h 41"/>
                <a:gd name="T42" fmla="*/ 95657 w 78"/>
                <a:gd name="T43" fmla="*/ 9486 h 41"/>
                <a:gd name="T44" fmla="*/ 95657 w 78"/>
                <a:gd name="T45" fmla="*/ 18973 h 41"/>
                <a:gd name="T46" fmla="*/ 89918 w 78"/>
                <a:gd name="T47" fmla="*/ 28459 h 41"/>
                <a:gd name="T48" fmla="*/ 95657 w 78"/>
                <a:gd name="T49" fmla="*/ 28459 h 41"/>
                <a:gd name="T50" fmla="*/ 103310 w 78"/>
                <a:gd name="T51" fmla="*/ 18973 h 41"/>
                <a:gd name="T52" fmla="*/ 105223 w 78"/>
                <a:gd name="T53" fmla="*/ 9486 h 41"/>
                <a:gd name="T54" fmla="*/ 114788 w 78"/>
                <a:gd name="T55" fmla="*/ 9486 h 41"/>
                <a:gd name="T56" fmla="*/ 118615 w 78"/>
                <a:gd name="T57" fmla="*/ 13281 h 41"/>
                <a:gd name="T58" fmla="*/ 124354 w 78"/>
                <a:gd name="T59" fmla="*/ 13281 h 4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78"/>
                <a:gd name="T91" fmla="*/ 0 h 41"/>
                <a:gd name="T92" fmla="*/ 78 w 78"/>
                <a:gd name="T93" fmla="*/ 41 h 4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78" h="41">
                  <a:moveTo>
                    <a:pt x="65" y="7"/>
                  </a:moveTo>
                  <a:cubicBezTo>
                    <a:pt x="68" y="8"/>
                    <a:pt x="71" y="10"/>
                    <a:pt x="73" y="13"/>
                  </a:cubicBezTo>
                  <a:cubicBezTo>
                    <a:pt x="75" y="15"/>
                    <a:pt x="76" y="20"/>
                    <a:pt x="74" y="22"/>
                  </a:cubicBezTo>
                  <a:cubicBezTo>
                    <a:pt x="73" y="24"/>
                    <a:pt x="69" y="20"/>
                    <a:pt x="66" y="21"/>
                  </a:cubicBezTo>
                  <a:cubicBezTo>
                    <a:pt x="65" y="22"/>
                    <a:pt x="65" y="24"/>
                    <a:pt x="66" y="25"/>
                  </a:cubicBezTo>
                  <a:cubicBezTo>
                    <a:pt x="69" y="28"/>
                    <a:pt x="73" y="29"/>
                    <a:pt x="76" y="32"/>
                  </a:cubicBezTo>
                  <a:cubicBezTo>
                    <a:pt x="77" y="34"/>
                    <a:pt x="78" y="38"/>
                    <a:pt x="76" y="39"/>
                  </a:cubicBezTo>
                  <a:cubicBezTo>
                    <a:pt x="70" y="41"/>
                    <a:pt x="63" y="40"/>
                    <a:pt x="57" y="39"/>
                  </a:cubicBezTo>
                  <a:cubicBezTo>
                    <a:pt x="53" y="38"/>
                    <a:pt x="49" y="36"/>
                    <a:pt x="45" y="34"/>
                  </a:cubicBezTo>
                  <a:cubicBezTo>
                    <a:pt x="41" y="33"/>
                    <a:pt x="38" y="33"/>
                    <a:pt x="35" y="31"/>
                  </a:cubicBezTo>
                  <a:cubicBezTo>
                    <a:pt x="33" y="30"/>
                    <a:pt x="32" y="28"/>
                    <a:pt x="30" y="28"/>
                  </a:cubicBezTo>
                  <a:cubicBezTo>
                    <a:pt x="28" y="27"/>
                    <a:pt x="26" y="30"/>
                    <a:pt x="25" y="30"/>
                  </a:cubicBezTo>
                  <a:cubicBezTo>
                    <a:pt x="20" y="29"/>
                    <a:pt x="16" y="28"/>
                    <a:pt x="13" y="25"/>
                  </a:cubicBezTo>
                  <a:cubicBezTo>
                    <a:pt x="11" y="24"/>
                    <a:pt x="14" y="20"/>
                    <a:pt x="13" y="20"/>
                  </a:cubicBezTo>
                  <a:cubicBezTo>
                    <a:pt x="9" y="18"/>
                    <a:pt x="4" y="20"/>
                    <a:pt x="1" y="19"/>
                  </a:cubicBezTo>
                  <a:cubicBezTo>
                    <a:pt x="0" y="19"/>
                    <a:pt x="0" y="17"/>
                    <a:pt x="1" y="16"/>
                  </a:cubicBezTo>
                  <a:cubicBezTo>
                    <a:pt x="5" y="15"/>
                    <a:pt x="10" y="16"/>
                    <a:pt x="14" y="13"/>
                  </a:cubicBezTo>
                  <a:cubicBezTo>
                    <a:pt x="16" y="12"/>
                    <a:pt x="13" y="9"/>
                    <a:pt x="15" y="7"/>
                  </a:cubicBezTo>
                  <a:cubicBezTo>
                    <a:pt x="17" y="5"/>
                    <a:pt x="20" y="5"/>
                    <a:pt x="23" y="4"/>
                  </a:cubicBezTo>
                  <a:cubicBezTo>
                    <a:pt x="27" y="3"/>
                    <a:pt x="30" y="4"/>
                    <a:pt x="34" y="3"/>
                  </a:cubicBezTo>
                  <a:cubicBezTo>
                    <a:pt x="37" y="3"/>
                    <a:pt x="39" y="0"/>
                    <a:pt x="41" y="0"/>
                  </a:cubicBezTo>
                  <a:cubicBezTo>
                    <a:pt x="44" y="1"/>
                    <a:pt x="48" y="2"/>
                    <a:pt x="50" y="5"/>
                  </a:cubicBezTo>
                  <a:cubicBezTo>
                    <a:pt x="51" y="6"/>
                    <a:pt x="50" y="8"/>
                    <a:pt x="50" y="10"/>
                  </a:cubicBezTo>
                  <a:cubicBezTo>
                    <a:pt x="49" y="12"/>
                    <a:pt x="47" y="13"/>
                    <a:pt x="47" y="15"/>
                  </a:cubicBezTo>
                  <a:cubicBezTo>
                    <a:pt x="47" y="16"/>
                    <a:pt x="49" y="16"/>
                    <a:pt x="50" y="15"/>
                  </a:cubicBezTo>
                  <a:cubicBezTo>
                    <a:pt x="52" y="14"/>
                    <a:pt x="53" y="12"/>
                    <a:pt x="54" y="10"/>
                  </a:cubicBezTo>
                  <a:cubicBezTo>
                    <a:pt x="55" y="9"/>
                    <a:pt x="53" y="6"/>
                    <a:pt x="55" y="5"/>
                  </a:cubicBezTo>
                  <a:cubicBezTo>
                    <a:pt x="56" y="4"/>
                    <a:pt x="58" y="5"/>
                    <a:pt x="60" y="5"/>
                  </a:cubicBezTo>
                  <a:cubicBezTo>
                    <a:pt x="61" y="6"/>
                    <a:pt x="61" y="7"/>
                    <a:pt x="62" y="7"/>
                  </a:cubicBezTo>
                  <a:cubicBezTo>
                    <a:pt x="63" y="8"/>
                    <a:pt x="64" y="6"/>
                    <a:pt x="65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5" name="Freeform 705"/>
            <p:cNvSpPr>
              <a:spLocks noChangeAspect="1"/>
            </p:cNvSpPr>
            <p:nvPr/>
          </p:nvSpPr>
          <p:spPr bwMode="auto">
            <a:xfrm>
              <a:off x="6354763" y="1487488"/>
              <a:ext cx="119062" cy="61912"/>
            </a:xfrm>
            <a:custGeom>
              <a:avLst/>
              <a:gdLst>
                <a:gd name="T0" fmla="*/ 72973 w 62"/>
                <a:gd name="T1" fmla="*/ 1876 h 33"/>
                <a:gd name="T2" fmla="*/ 103699 w 62"/>
                <a:gd name="T3" fmla="*/ 22513 h 33"/>
                <a:gd name="T4" fmla="*/ 119062 w 62"/>
                <a:gd name="T5" fmla="*/ 24390 h 33"/>
                <a:gd name="T6" fmla="*/ 109460 w 62"/>
                <a:gd name="T7" fmla="*/ 31894 h 33"/>
                <a:gd name="T8" fmla="*/ 117142 w 62"/>
                <a:gd name="T9" fmla="*/ 46903 h 33"/>
                <a:gd name="T10" fmla="*/ 99858 w 62"/>
                <a:gd name="T11" fmla="*/ 52531 h 33"/>
                <a:gd name="T12" fmla="*/ 80655 w 62"/>
                <a:gd name="T13" fmla="*/ 56284 h 33"/>
                <a:gd name="T14" fmla="*/ 59531 w 62"/>
                <a:gd name="T15" fmla="*/ 58160 h 33"/>
                <a:gd name="T16" fmla="*/ 46089 w 62"/>
                <a:gd name="T17" fmla="*/ 61912 h 33"/>
                <a:gd name="T18" fmla="*/ 19204 w 62"/>
                <a:gd name="T19" fmla="*/ 58160 h 33"/>
                <a:gd name="T20" fmla="*/ 0 w 62"/>
                <a:gd name="T21" fmla="*/ 52531 h 33"/>
                <a:gd name="T22" fmla="*/ 0 w 62"/>
                <a:gd name="T23" fmla="*/ 48779 h 33"/>
                <a:gd name="T24" fmla="*/ 17283 w 62"/>
                <a:gd name="T25" fmla="*/ 41275 h 33"/>
                <a:gd name="T26" fmla="*/ 17283 w 62"/>
                <a:gd name="T27" fmla="*/ 31894 h 33"/>
                <a:gd name="T28" fmla="*/ 40327 w 62"/>
                <a:gd name="T29" fmla="*/ 18761 h 33"/>
                <a:gd name="T30" fmla="*/ 57611 w 62"/>
                <a:gd name="T31" fmla="*/ 16885 h 33"/>
                <a:gd name="T32" fmla="*/ 63372 w 62"/>
                <a:gd name="T33" fmla="*/ 9381 h 33"/>
                <a:gd name="T34" fmla="*/ 63372 w 62"/>
                <a:gd name="T35" fmla="*/ 3752 h 33"/>
                <a:gd name="T36" fmla="*/ 72973 w 62"/>
                <a:gd name="T37" fmla="*/ 1876 h 3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2"/>
                <a:gd name="T58" fmla="*/ 0 h 33"/>
                <a:gd name="T59" fmla="*/ 62 w 62"/>
                <a:gd name="T60" fmla="*/ 33 h 3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2" h="33">
                  <a:moveTo>
                    <a:pt x="38" y="1"/>
                  </a:moveTo>
                  <a:cubicBezTo>
                    <a:pt x="44" y="4"/>
                    <a:pt x="49" y="9"/>
                    <a:pt x="54" y="12"/>
                  </a:cubicBezTo>
                  <a:cubicBezTo>
                    <a:pt x="57" y="13"/>
                    <a:pt x="61" y="11"/>
                    <a:pt x="62" y="13"/>
                  </a:cubicBezTo>
                  <a:cubicBezTo>
                    <a:pt x="62" y="15"/>
                    <a:pt x="57" y="15"/>
                    <a:pt x="57" y="17"/>
                  </a:cubicBezTo>
                  <a:cubicBezTo>
                    <a:pt x="57" y="20"/>
                    <a:pt x="62" y="23"/>
                    <a:pt x="61" y="25"/>
                  </a:cubicBezTo>
                  <a:cubicBezTo>
                    <a:pt x="60" y="28"/>
                    <a:pt x="55" y="27"/>
                    <a:pt x="52" y="28"/>
                  </a:cubicBezTo>
                  <a:cubicBezTo>
                    <a:pt x="49" y="28"/>
                    <a:pt x="46" y="29"/>
                    <a:pt x="42" y="30"/>
                  </a:cubicBezTo>
                  <a:cubicBezTo>
                    <a:pt x="38" y="31"/>
                    <a:pt x="34" y="31"/>
                    <a:pt x="31" y="31"/>
                  </a:cubicBezTo>
                  <a:cubicBezTo>
                    <a:pt x="28" y="31"/>
                    <a:pt x="26" y="33"/>
                    <a:pt x="24" y="33"/>
                  </a:cubicBezTo>
                  <a:cubicBezTo>
                    <a:pt x="19" y="33"/>
                    <a:pt x="15" y="32"/>
                    <a:pt x="10" y="31"/>
                  </a:cubicBezTo>
                  <a:cubicBezTo>
                    <a:pt x="7" y="30"/>
                    <a:pt x="3" y="30"/>
                    <a:pt x="0" y="28"/>
                  </a:cubicBezTo>
                  <a:cubicBezTo>
                    <a:pt x="0" y="28"/>
                    <a:pt x="0" y="26"/>
                    <a:pt x="0" y="26"/>
                  </a:cubicBezTo>
                  <a:cubicBezTo>
                    <a:pt x="3" y="24"/>
                    <a:pt x="7" y="24"/>
                    <a:pt x="9" y="22"/>
                  </a:cubicBezTo>
                  <a:cubicBezTo>
                    <a:pt x="11" y="21"/>
                    <a:pt x="8" y="19"/>
                    <a:pt x="9" y="17"/>
                  </a:cubicBezTo>
                  <a:cubicBezTo>
                    <a:pt x="13" y="14"/>
                    <a:pt x="17" y="12"/>
                    <a:pt x="21" y="10"/>
                  </a:cubicBezTo>
                  <a:cubicBezTo>
                    <a:pt x="24" y="9"/>
                    <a:pt x="27" y="10"/>
                    <a:pt x="30" y="9"/>
                  </a:cubicBezTo>
                  <a:cubicBezTo>
                    <a:pt x="32" y="8"/>
                    <a:pt x="32" y="7"/>
                    <a:pt x="33" y="5"/>
                  </a:cubicBezTo>
                  <a:cubicBezTo>
                    <a:pt x="34" y="4"/>
                    <a:pt x="32" y="3"/>
                    <a:pt x="33" y="2"/>
                  </a:cubicBezTo>
                  <a:cubicBezTo>
                    <a:pt x="35" y="1"/>
                    <a:pt x="37" y="0"/>
                    <a:pt x="38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6" name="Freeform 706"/>
            <p:cNvSpPr>
              <a:spLocks noChangeAspect="1"/>
            </p:cNvSpPr>
            <p:nvPr/>
          </p:nvSpPr>
          <p:spPr bwMode="auto">
            <a:xfrm>
              <a:off x="6350000" y="1549400"/>
              <a:ext cx="53975" cy="25400"/>
            </a:xfrm>
            <a:custGeom>
              <a:avLst/>
              <a:gdLst>
                <a:gd name="T0" fmla="*/ 5584 w 29"/>
                <a:gd name="T1" fmla="*/ 0 h 13"/>
                <a:gd name="T2" fmla="*/ 1861 w 29"/>
                <a:gd name="T3" fmla="*/ 3908 h 13"/>
                <a:gd name="T4" fmla="*/ 26057 w 29"/>
                <a:gd name="T5" fmla="*/ 15631 h 13"/>
                <a:gd name="T6" fmla="*/ 26057 w 29"/>
                <a:gd name="T7" fmla="*/ 23446 h 13"/>
                <a:gd name="T8" fmla="*/ 40947 w 29"/>
                <a:gd name="T9" fmla="*/ 19538 h 13"/>
                <a:gd name="T10" fmla="*/ 53975 w 29"/>
                <a:gd name="T11" fmla="*/ 11723 h 13"/>
                <a:gd name="T12" fmla="*/ 39085 w 29"/>
                <a:gd name="T13" fmla="*/ 1954 h 13"/>
                <a:gd name="T14" fmla="*/ 22334 w 29"/>
                <a:gd name="T15" fmla="*/ 1954 h 13"/>
                <a:gd name="T16" fmla="*/ 11167 w 29"/>
                <a:gd name="T17" fmla="*/ 0 h 13"/>
                <a:gd name="T18" fmla="*/ 5584 w 29"/>
                <a:gd name="T19" fmla="*/ 0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3"/>
                <a:gd name="T32" fmla="*/ 29 w 29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3">
                  <a:moveTo>
                    <a:pt x="3" y="0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5" y="5"/>
                    <a:pt x="10" y="5"/>
                    <a:pt x="14" y="8"/>
                  </a:cubicBezTo>
                  <a:cubicBezTo>
                    <a:pt x="15" y="9"/>
                    <a:pt x="12" y="12"/>
                    <a:pt x="14" y="12"/>
                  </a:cubicBezTo>
                  <a:cubicBezTo>
                    <a:pt x="16" y="13"/>
                    <a:pt x="19" y="11"/>
                    <a:pt x="22" y="10"/>
                  </a:cubicBezTo>
                  <a:cubicBezTo>
                    <a:pt x="24" y="9"/>
                    <a:pt x="29" y="9"/>
                    <a:pt x="29" y="6"/>
                  </a:cubicBezTo>
                  <a:cubicBezTo>
                    <a:pt x="29" y="3"/>
                    <a:pt x="24" y="2"/>
                    <a:pt x="21" y="1"/>
                  </a:cubicBezTo>
                  <a:cubicBezTo>
                    <a:pt x="18" y="0"/>
                    <a:pt x="15" y="1"/>
                    <a:pt x="12" y="1"/>
                  </a:cubicBezTo>
                  <a:cubicBezTo>
                    <a:pt x="10" y="1"/>
                    <a:pt x="8" y="0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7" name="Freeform 707"/>
            <p:cNvSpPr>
              <a:spLocks noChangeAspect="1"/>
            </p:cNvSpPr>
            <p:nvPr/>
          </p:nvSpPr>
          <p:spPr bwMode="auto">
            <a:xfrm>
              <a:off x="6837363" y="1801813"/>
              <a:ext cx="28575" cy="19050"/>
            </a:xfrm>
            <a:custGeom>
              <a:avLst/>
              <a:gdLst>
                <a:gd name="T0" fmla="*/ 5715 w 15"/>
                <a:gd name="T1" fmla="*/ 0 h 10"/>
                <a:gd name="T2" fmla="*/ 3810 w 15"/>
                <a:gd name="T3" fmla="*/ 3810 h 10"/>
                <a:gd name="T4" fmla="*/ 5715 w 15"/>
                <a:gd name="T5" fmla="*/ 11430 h 10"/>
                <a:gd name="T6" fmla="*/ 0 w 15"/>
                <a:gd name="T7" fmla="*/ 11430 h 10"/>
                <a:gd name="T8" fmla="*/ 5715 w 15"/>
                <a:gd name="T9" fmla="*/ 17145 h 10"/>
                <a:gd name="T10" fmla="*/ 20955 w 15"/>
                <a:gd name="T11" fmla="*/ 19050 h 10"/>
                <a:gd name="T12" fmla="*/ 28575 w 15"/>
                <a:gd name="T13" fmla="*/ 7620 h 10"/>
                <a:gd name="T14" fmla="*/ 24765 w 15"/>
                <a:gd name="T15" fmla="*/ 3810 h 10"/>
                <a:gd name="T16" fmla="*/ 13335 w 15"/>
                <a:gd name="T17" fmla="*/ 1905 h 10"/>
                <a:gd name="T18" fmla="*/ 5715 w 15"/>
                <a:gd name="T19" fmla="*/ 0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0"/>
                <a:gd name="T32" fmla="*/ 15 w 15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0">
                  <a:moveTo>
                    <a:pt x="3" y="0"/>
                  </a:moveTo>
                  <a:cubicBezTo>
                    <a:pt x="2" y="0"/>
                    <a:pt x="2" y="1"/>
                    <a:pt x="2" y="2"/>
                  </a:cubicBezTo>
                  <a:cubicBezTo>
                    <a:pt x="2" y="3"/>
                    <a:pt x="4" y="5"/>
                    <a:pt x="3" y="6"/>
                  </a:cubicBezTo>
                  <a:cubicBezTo>
                    <a:pt x="3" y="7"/>
                    <a:pt x="0" y="5"/>
                    <a:pt x="0" y="6"/>
                  </a:cubicBezTo>
                  <a:cubicBezTo>
                    <a:pt x="0" y="7"/>
                    <a:pt x="1" y="9"/>
                    <a:pt x="3" y="9"/>
                  </a:cubicBezTo>
                  <a:cubicBezTo>
                    <a:pt x="5" y="9"/>
                    <a:pt x="9" y="10"/>
                    <a:pt x="11" y="10"/>
                  </a:cubicBezTo>
                  <a:cubicBezTo>
                    <a:pt x="13" y="10"/>
                    <a:pt x="14" y="7"/>
                    <a:pt x="15" y="4"/>
                  </a:cubicBezTo>
                  <a:cubicBezTo>
                    <a:pt x="15" y="3"/>
                    <a:pt x="14" y="2"/>
                    <a:pt x="13" y="2"/>
                  </a:cubicBezTo>
                  <a:cubicBezTo>
                    <a:pt x="11" y="1"/>
                    <a:pt x="9" y="1"/>
                    <a:pt x="7" y="1"/>
                  </a:cubicBezTo>
                  <a:cubicBezTo>
                    <a:pt x="6" y="1"/>
                    <a:pt x="4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8" name="Freeform 708"/>
            <p:cNvSpPr>
              <a:spLocks noChangeAspect="1"/>
            </p:cNvSpPr>
            <p:nvPr/>
          </p:nvSpPr>
          <p:spPr bwMode="auto">
            <a:xfrm>
              <a:off x="7312025" y="1744663"/>
              <a:ext cx="11113" cy="23812"/>
            </a:xfrm>
            <a:custGeom>
              <a:avLst/>
              <a:gdLst>
                <a:gd name="T0" fmla="*/ 1852 w 6"/>
                <a:gd name="T1" fmla="*/ 1832 h 13"/>
                <a:gd name="T2" fmla="*/ 9261 w 6"/>
                <a:gd name="T3" fmla="*/ 12822 h 13"/>
                <a:gd name="T4" fmla="*/ 9261 w 6"/>
                <a:gd name="T5" fmla="*/ 21980 h 13"/>
                <a:gd name="T6" fmla="*/ 3704 w 6"/>
                <a:gd name="T7" fmla="*/ 21980 h 13"/>
                <a:gd name="T8" fmla="*/ 0 w 6"/>
                <a:gd name="T9" fmla="*/ 7327 h 13"/>
                <a:gd name="T10" fmla="*/ 1852 w 6"/>
                <a:gd name="T11" fmla="*/ 1832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3"/>
                <a:gd name="T20" fmla="*/ 6 w 6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3">
                  <a:moveTo>
                    <a:pt x="1" y="1"/>
                  </a:moveTo>
                  <a:cubicBezTo>
                    <a:pt x="3" y="2"/>
                    <a:pt x="4" y="4"/>
                    <a:pt x="5" y="7"/>
                  </a:cubicBezTo>
                  <a:cubicBezTo>
                    <a:pt x="5" y="8"/>
                    <a:pt x="6" y="11"/>
                    <a:pt x="5" y="12"/>
                  </a:cubicBezTo>
                  <a:cubicBezTo>
                    <a:pt x="4" y="13"/>
                    <a:pt x="2" y="13"/>
                    <a:pt x="2" y="12"/>
                  </a:cubicBezTo>
                  <a:cubicBezTo>
                    <a:pt x="1" y="9"/>
                    <a:pt x="1" y="7"/>
                    <a:pt x="0" y="4"/>
                  </a:cubicBezTo>
                  <a:cubicBezTo>
                    <a:pt x="0" y="3"/>
                    <a:pt x="0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09" name="Freeform 709"/>
            <p:cNvSpPr>
              <a:spLocks noChangeAspect="1"/>
            </p:cNvSpPr>
            <p:nvPr/>
          </p:nvSpPr>
          <p:spPr bwMode="auto">
            <a:xfrm>
              <a:off x="7424738" y="1812925"/>
              <a:ext cx="20637" cy="20638"/>
            </a:xfrm>
            <a:custGeom>
              <a:avLst/>
              <a:gdLst>
                <a:gd name="T0" fmla="*/ 3752 w 11"/>
                <a:gd name="T1" fmla="*/ 1876 h 11"/>
                <a:gd name="T2" fmla="*/ 0 w 11"/>
                <a:gd name="T3" fmla="*/ 7505 h 11"/>
                <a:gd name="T4" fmla="*/ 5628 w 11"/>
                <a:gd name="T5" fmla="*/ 18762 h 11"/>
                <a:gd name="T6" fmla="*/ 15009 w 11"/>
                <a:gd name="T7" fmla="*/ 18762 h 11"/>
                <a:gd name="T8" fmla="*/ 20637 w 11"/>
                <a:gd name="T9" fmla="*/ 13133 h 11"/>
                <a:gd name="T10" fmla="*/ 16885 w 11"/>
                <a:gd name="T11" fmla="*/ 3752 h 11"/>
                <a:gd name="T12" fmla="*/ 13133 w 11"/>
                <a:gd name="T13" fmla="*/ 1876 h 11"/>
                <a:gd name="T14" fmla="*/ 3752 w 11"/>
                <a:gd name="T15" fmla="*/ 1876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1"/>
                <a:gd name="T26" fmla="*/ 11 w 11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1">
                  <a:moveTo>
                    <a:pt x="2" y="1"/>
                  </a:moveTo>
                  <a:cubicBezTo>
                    <a:pt x="1" y="1"/>
                    <a:pt x="0" y="3"/>
                    <a:pt x="0" y="4"/>
                  </a:cubicBezTo>
                  <a:cubicBezTo>
                    <a:pt x="1" y="6"/>
                    <a:pt x="2" y="9"/>
                    <a:pt x="3" y="10"/>
                  </a:cubicBezTo>
                  <a:cubicBezTo>
                    <a:pt x="5" y="11"/>
                    <a:pt x="6" y="11"/>
                    <a:pt x="8" y="10"/>
                  </a:cubicBezTo>
                  <a:cubicBezTo>
                    <a:pt x="9" y="9"/>
                    <a:pt x="10" y="9"/>
                    <a:pt x="11" y="7"/>
                  </a:cubicBezTo>
                  <a:cubicBezTo>
                    <a:pt x="11" y="5"/>
                    <a:pt x="10" y="4"/>
                    <a:pt x="9" y="2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5" y="1"/>
                    <a:pt x="4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0" name="Freeform 710"/>
            <p:cNvSpPr>
              <a:spLocks noChangeAspect="1"/>
            </p:cNvSpPr>
            <p:nvPr/>
          </p:nvSpPr>
          <p:spPr bwMode="auto">
            <a:xfrm>
              <a:off x="7429500" y="1830388"/>
              <a:ext cx="73025" cy="31750"/>
            </a:xfrm>
            <a:custGeom>
              <a:avLst/>
              <a:gdLst>
                <a:gd name="T0" fmla="*/ 1922 w 38"/>
                <a:gd name="T1" fmla="*/ 20544 h 17"/>
                <a:gd name="T2" fmla="*/ 1922 w 38"/>
                <a:gd name="T3" fmla="*/ 26147 h 17"/>
                <a:gd name="T4" fmla="*/ 21139 w 38"/>
                <a:gd name="T5" fmla="*/ 22412 h 17"/>
                <a:gd name="T6" fmla="*/ 59573 w 38"/>
                <a:gd name="T7" fmla="*/ 28015 h 17"/>
                <a:gd name="T8" fmla="*/ 69182 w 38"/>
                <a:gd name="T9" fmla="*/ 29882 h 17"/>
                <a:gd name="T10" fmla="*/ 73025 w 38"/>
                <a:gd name="T11" fmla="*/ 20544 h 17"/>
                <a:gd name="T12" fmla="*/ 57651 w 38"/>
                <a:gd name="T13" fmla="*/ 7471 h 17"/>
                <a:gd name="T14" fmla="*/ 28826 w 38"/>
                <a:gd name="T15" fmla="*/ 1868 h 17"/>
                <a:gd name="T16" fmla="*/ 15374 w 38"/>
                <a:gd name="T17" fmla="*/ 3735 h 17"/>
                <a:gd name="T18" fmla="*/ 15374 w 38"/>
                <a:gd name="T19" fmla="*/ 14941 h 17"/>
                <a:gd name="T20" fmla="*/ 1922 w 38"/>
                <a:gd name="T21" fmla="*/ 20544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17"/>
                <a:gd name="T35" fmla="*/ 38 w 38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17">
                  <a:moveTo>
                    <a:pt x="1" y="11"/>
                  </a:moveTo>
                  <a:cubicBezTo>
                    <a:pt x="0" y="12"/>
                    <a:pt x="0" y="14"/>
                    <a:pt x="1" y="14"/>
                  </a:cubicBezTo>
                  <a:cubicBezTo>
                    <a:pt x="5" y="14"/>
                    <a:pt x="8" y="11"/>
                    <a:pt x="11" y="12"/>
                  </a:cubicBezTo>
                  <a:cubicBezTo>
                    <a:pt x="18" y="12"/>
                    <a:pt x="24" y="14"/>
                    <a:pt x="31" y="15"/>
                  </a:cubicBezTo>
                  <a:cubicBezTo>
                    <a:pt x="33" y="15"/>
                    <a:pt x="34" y="17"/>
                    <a:pt x="36" y="16"/>
                  </a:cubicBezTo>
                  <a:cubicBezTo>
                    <a:pt x="37" y="15"/>
                    <a:pt x="38" y="13"/>
                    <a:pt x="38" y="11"/>
                  </a:cubicBezTo>
                  <a:cubicBezTo>
                    <a:pt x="36" y="8"/>
                    <a:pt x="33" y="5"/>
                    <a:pt x="30" y="4"/>
                  </a:cubicBezTo>
                  <a:cubicBezTo>
                    <a:pt x="25" y="2"/>
                    <a:pt x="20" y="1"/>
                    <a:pt x="15" y="1"/>
                  </a:cubicBezTo>
                  <a:cubicBezTo>
                    <a:pt x="12" y="0"/>
                    <a:pt x="9" y="1"/>
                    <a:pt x="8" y="2"/>
                  </a:cubicBezTo>
                  <a:cubicBezTo>
                    <a:pt x="6" y="4"/>
                    <a:pt x="9" y="7"/>
                    <a:pt x="8" y="8"/>
                  </a:cubicBezTo>
                  <a:cubicBezTo>
                    <a:pt x="6" y="10"/>
                    <a:pt x="3" y="9"/>
                    <a:pt x="1" y="1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1" name="Freeform 711"/>
            <p:cNvSpPr>
              <a:spLocks noChangeAspect="1"/>
            </p:cNvSpPr>
            <p:nvPr/>
          </p:nvSpPr>
          <p:spPr bwMode="auto">
            <a:xfrm>
              <a:off x="7339013" y="1727200"/>
              <a:ext cx="166687" cy="77788"/>
            </a:xfrm>
            <a:custGeom>
              <a:avLst/>
              <a:gdLst>
                <a:gd name="T0" fmla="*/ 28413 w 88"/>
                <a:gd name="T1" fmla="*/ 0 h 41"/>
                <a:gd name="T2" fmla="*/ 54931 w 88"/>
                <a:gd name="T3" fmla="*/ 18973 h 41"/>
                <a:gd name="T4" fmla="*/ 64402 w 88"/>
                <a:gd name="T5" fmla="*/ 18973 h 41"/>
                <a:gd name="T6" fmla="*/ 68190 w 88"/>
                <a:gd name="T7" fmla="*/ 26562 h 41"/>
                <a:gd name="T8" fmla="*/ 77661 w 88"/>
                <a:gd name="T9" fmla="*/ 26562 h 41"/>
                <a:gd name="T10" fmla="*/ 75767 w 88"/>
                <a:gd name="T11" fmla="*/ 11384 h 41"/>
                <a:gd name="T12" fmla="*/ 81449 w 88"/>
                <a:gd name="T13" fmla="*/ 9486 h 41"/>
                <a:gd name="T14" fmla="*/ 81449 w 88"/>
                <a:gd name="T15" fmla="*/ 5692 h 41"/>
                <a:gd name="T16" fmla="*/ 100391 w 88"/>
                <a:gd name="T17" fmla="*/ 17075 h 41"/>
                <a:gd name="T18" fmla="*/ 115544 w 88"/>
                <a:gd name="T19" fmla="*/ 18973 h 41"/>
                <a:gd name="T20" fmla="*/ 125015 w 88"/>
                <a:gd name="T21" fmla="*/ 15178 h 41"/>
                <a:gd name="T22" fmla="*/ 142063 w 88"/>
                <a:gd name="T23" fmla="*/ 20870 h 41"/>
                <a:gd name="T24" fmla="*/ 164793 w 88"/>
                <a:gd name="T25" fmla="*/ 30356 h 41"/>
                <a:gd name="T26" fmla="*/ 157216 w 88"/>
                <a:gd name="T27" fmla="*/ 37945 h 41"/>
                <a:gd name="T28" fmla="*/ 164793 w 88"/>
                <a:gd name="T29" fmla="*/ 47432 h 41"/>
                <a:gd name="T30" fmla="*/ 151534 w 88"/>
                <a:gd name="T31" fmla="*/ 56918 h 41"/>
                <a:gd name="T32" fmla="*/ 119333 w 88"/>
                <a:gd name="T33" fmla="*/ 43637 h 41"/>
                <a:gd name="T34" fmla="*/ 115544 w 88"/>
                <a:gd name="T35" fmla="*/ 36048 h 41"/>
                <a:gd name="T36" fmla="*/ 117439 w 88"/>
                <a:gd name="T37" fmla="*/ 28459 h 41"/>
                <a:gd name="T38" fmla="*/ 111756 w 88"/>
                <a:gd name="T39" fmla="*/ 24664 h 41"/>
                <a:gd name="T40" fmla="*/ 102285 w 88"/>
                <a:gd name="T41" fmla="*/ 30356 h 41"/>
                <a:gd name="T42" fmla="*/ 109862 w 88"/>
                <a:gd name="T43" fmla="*/ 45534 h 41"/>
                <a:gd name="T44" fmla="*/ 132592 w 88"/>
                <a:gd name="T45" fmla="*/ 55021 h 41"/>
                <a:gd name="T46" fmla="*/ 143957 w 88"/>
                <a:gd name="T47" fmla="*/ 60713 h 41"/>
                <a:gd name="T48" fmla="*/ 145851 w 88"/>
                <a:gd name="T49" fmla="*/ 66404 h 41"/>
                <a:gd name="T50" fmla="*/ 123121 w 88"/>
                <a:gd name="T51" fmla="*/ 60713 h 41"/>
                <a:gd name="T52" fmla="*/ 121227 w 88"/>
                <a:gd name="T53" fmla="*/ 64507 h 41"/>
                <a:gd name="T54" fmla="*/ 111756 w 88"/>
                <a:gd name="T55" fmla="*/ 62610 h 41"/>
                <a:gd name="T56" fmla="*/ 109862 w 88"/>
                <a:gd name="T57" fmla="*/ 56918 h 41"/>
                <a:gd name="T58" fmla="*/ 98497 w 88"/>
                <a:gd name="T59" fmla="*/ 60713 h 41"/>
                <a:gd name="T60" fmla="*/ 77661 w 88"/>
                <a:gd name="T61" fmla="*/ 66404 h 41"/>
                <a:gd name="T62" fmla="*/ 68190 w 88"/>
                <a:gd name="T63" fmla="*/ 58815 h 41"/>
                <a:gd name="T64" fmla="*/ 64402 w 88"/>
                <a:gd name="T65" fmla="*/ 64507 h 41"/>
                <a:gd name="T66" fmla="*/ 66296 w 88"/>
                <a:gd name="T67" fmla="*/ 70199 h 41"/>
                <a:gd name="T68" fmla="*/ 60613 w 88"/>
                <a:gd name="T69" fmla="*/ 77788 h 41"/>
                <a:gd name="T70" fmla="*/ 43566 w 88"/>
                <a:gd name="T71" fmla="*/ 72096 h 41"/>
                <a:gd name="T72" fmla="*/ 26518 w 88"/>
                <a:gd name="T73" fmla="*/ 58815 h 41"/>
                <a:gd name="T74" fmla="*/ 13259 w 88"/>
                <a:gd name="T75" fmla="*/ 53124 h 41"/>
                <a:gd name="T76" fmla="*/ 1894 w 88"/>
                <a:gd name="T77" fmla="*/ 45534 h 41"/>
                <a:gd name="T78" fmla="*/ 3788 w 88"/>
                <a:gd name="T79" fmla="*/ 39843 h 41"/>
                <a:gd name="T80" fmla="*/ 11365 w 88"/>
                <a:gd name="T81" fmla="*/ 37945 h 41"/>
                <a:gd name="T82" fmla="*/ 1894 w 88"/>
                <a:gd name="T83" fmla="*/ 28459 h 41"/>
                <a:gd name="T84" fmla="*/ 9471 w 88"/>
                <a:gd name="T85" fmla="*/ 26562 h 41"/>
                <a:gd name="T86" fmla="*/ 7577 w 88"/>
                <a:gd name="T87" fmla="*/ 18973 h 41"/>
                <a:gd name="T88" fmla="*/ 17048 w 88"/>
                <a:gd name="T89" fmla="*/ 11384 h 41"/>
                <a:gd name="T90" fmla="*/ 17048 w 88"/>
                <a:gd name="T91" fmla="*/ 3795 h 41"/>
                <a:gd name="T92" fmla="*/ 22730 w 88"/>
                <a:gd name="T93" fmla="*/ 3795 h 41"/>
                <a:gd name="T94" fmla="*/ 28413 w 88"/>
                <a:gd name="T95" fmla="*/ 0 h 4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"/>
                <a:gd name="T145" fmla="*/ 0 h 41"/>
                <a:gd name="T146" fmla="*/ 88 w 88"/>
                <a:gd name="T147" fmla="*/ 41 h 41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" h="41">
                  <a:moveTo>
                    <a:pt x="15" y="0"/>
                  </a:moveTo>
                  <a:cubicBezTo>
                    <a:pt x="20" y="3"/>
                    <a:pt x="24" y="7"/>
                    <a:pt x="29" y="10"/>
                  </a:cubicBezTo>
                  <a:cubicBezTo>
                    <a:pt x="30" y="11"/>
                    <a:pt x="33" y="9"/>
                    <a:pt x="34" y="10"/>
                  </a:cubicBezTo>
                  <a:cubicBezTo>
                    <a:pt x="36" y="11"/>
                    <a:pt x="35" y="13"/>
                    <a:pt x="36" y="14"/>
                  </a:cubicBezTo>
                  <a:cubicBezTo>
                    <a:pt x="38" y="15"/>
                    <a:pt x="40" y="15"/>
                    <a:pt x="41" y="14"/>
                  </a:cubicBezTo>
                  <a:cubicBezTo>
                    <a:pt x="42" y="11"/>
                    <a:pt x="39" y="9"/>
                    <a:pt x="40" y="6"/>
                  </a:cubicBezTo>
                  <a:cubicBezTo>
                    <a:pt x="40" y="5"/>
                    <a:pt x="42" y="6"/>
                    <a:pt x="43" y="5"/>
                  </a:cubicBezTo>
                  <a:cubicBezTo>
                    <a:pt x="44" y="4"/>
                    <a:pt x="42" y="3"/>
                    <a:pt x="43" y="3"/>
                  </a:cubicBezTo>
                  <a:cubicBezTo>
                    <a:pt x="47" y="4"/>
                    <a:pt x="50" y="7"/>
                    <a:pt x="53" y="9"/>
                  </a:cubicBezTo>
                  <a:cubicBezTo>
                    <a:pt x="56" y="10"/>
                    <a:pt x="58" y="10"/>
                    <a:pt x="61" y="10"/>
                  </a:cubicBezTo>
                  <a:cubicBezTo>
                    <a:pt x="63" y="10"/>
                    <a:pt x="64" y="7"/>
                    <a:pt x="66" y="8"/>
                  </a:cubicBezTo>
                  <a:cubicBezTo>
                    <a:pt x="69" y="8"/>
                    <a:pt x="72" y="10"/>
                    <a:pt x="75" y="11"/>
                  </a:cubicBezTo>
                  <a:cubicBezTo>
                    <a:pt x="79" y="13"/>
                    <a:pt x="84" y="13"/>
                    <a:pt x="87" y="16"/>
                  </a:cubicBezTo>
                  <a:cubicBezTo>
                    <a:pt x="88" y="17"/>
                    <a:pt x="83" y="18"/>
                    <a:pt x="83" y="20"/>
                  </a:cubicBezTo>
                  <a:cubicBezTo>
                    <a:pt x="83" y="22"/>
                    <a:pt x="87" y="23"/>
                    <a:pt x="87" y="25"/>
                  </a:cubicBezTo>
                  <a:cubicBezTo>
                    <a:pt x="86" y="27"/>
                    <a:pt x="83" y="30"/>
                    <a:pt x="80" y="30"/>
                  </a:cubicBezTo>
                  <a:cubicBezTo>
                    <a:pt x="74" y="29"/>
                    <a:pt x="68" y="26"/>
                    <a:pt x="63" y="23"/>
                  </a:cubicBezTo>
                  <a:cubicBezTo>
                    <a:pt x="61" y="22"/>
                    <a:pt x="61" y="20"/>
                    <a:pt x="61" y="19"/>
                  </a:cubicBezTo>
                  <a:cubicBezTo>
                    <a:pt x="61" y="17"/>
                    <a:pt x="62" y="16"/>
                    <a:pt x="62" y="15"/>
                  </a:cubicBezTo>
                  <a:cubicBezTo>
                    <a:pt x="62" y="14"/>
                    <a:pt x="60" y="13"/>
                    <a:pt x="59" y="13"/>
                  </a:cubicBezTo>
                  <a:cubicBezTo>
                    <a:pt x="57" y="13"/>
                    <a:pt x="55" y="14"/>
                    <a:pt x="54" y="16"/>
                  </a:cubicBezTo>
                  <a:cubicBezTo>
                    <a:pt x="54" y="19"/>
                    <a:pt x="56" y="22"/>
                    <a:pt x="58" y="24"/>
                  </a:cubicBezTo>
                  <a:cubicBezTo>
                    <a:pt x="62" y="27"/>
                    <a:pt x="66" y="27"/>
                    <a:pt x="70" y="29"/>
                  </a:cubicBezTo>
                  <a:cubicBezTo>
                    <a:pt x="72" y="30"/>
                    <a:pt x="74" y="31"/>
                    <a:pt x="76" y="32"/>
                  </a:cubicBezTo>
                  <a:cubicBezTo>
                    <a:pt x="77" y="33"/>
                    <a:pt x="78" y="35"/>
                    <a:pt x="77" y="35"/>
                  </a:cubicBezTo>
                  <a:cubicBezTo>
                    <a:pt x="73" y="35"/>
                    <a:pt x="69" y="33"/>
                    <a:pt x="65" y="32"/>
                  </a:cubicBezTo>
                  <a:cubicBezTo>
                    <a:pt x="64" y="32"/>
                    <a:pt x="65" y="34"/>
                    <a:pt x="64" y="34"/>
                  </a:cubicBezTo>
                  <a:cubicBezTo>
                    <a:pt x="62" y="34"/>
                    <a:pt x="60" y="34"/>
                    <a:pt x="59" y="33"/>
                  </a:cubicBezTo>
                  <a:cubicBezTo>
                    <a:pt x="58" y="32"/>
                    <a:pt x="59" y="30"/>
                    <a:pt x="58" y="30"/>
                  </a:cubicBezTo>
                  <a:cubicBezTo>
                    <a:pt x="56" y="30"/>
                    <a:pt x="54" y="31"/>
                    <a:pt x="52" y="32"/>
                  </a:cubicBezTo>
                  <a:cubicBezTo>
                    <a:pt x="48" y="33"/>
                    <a:pt x="45" y="35"/>
                    <a:pt x="41" y="35"/>
                  </a:cubicBezTo>
                  <a:cubicBezTo>
                    <a:pt x="39" y="35"/>
                    <a:pt x="38" y="31"/>
                    <a:pt x="36" y="31"/>
                  </a:cubicBezTo>
                  <a:cubicBezTo>
                    <a:pt x="35" y="31"/>
                    <a:pt x="34" y="32"/>
                    <a:pt x="34" y="34"/>
                  </a:cubicBezTo>
                  <a:cubicBezTo>
                    <a:pt x="34" y="35"/>
                    <a:pt x="35" y="36"/>
                    <a:pt x="35" y="37"/>
                  </a:cubicBezTo>
                  <a:cubicBezTo>
                    <a:pt x="35" y="39"/>
                    <a:pt x="34" y="41"/>
                    <a:pt x="32" y="41"/>
                  </a:cubicBezTo>
                  <a:cubicBezTo>
                    <a:pt x="29" y="41"/>
                    <a:pt x="26" y="39"/>
                    <a:pt x="23" y="38"/>
                  </a:cubicBezTo>
                  <a:cubicBezTo>
                    <a:pt x="20" y="36"/>
                    <a:pt x="17" y="33"/>
                    <a:pt x="14" y="31"/>
                  </a:cubicBezTo>
                  <a:cubicBezTo>
                    <a:pt x="11" y="30"/>
                    <a:pt x="9" y="29"/>
                    <a:pt x="7" y="28"/>
                  </a:cubicBezTo>
                  <a:cubicBezTo>
                    <a:pt x="5" y="27"/>
                    <a:pt x="2" y="26"/>
                    <a:pt x="1" y="24"/>
                  </a:cubicBezTo>
                  <a:cubicBezTo>
                    <a:pt x="0" y="23"/>
                    <a:pt x="1" y="22"/>
                    <a:pt x="2" y="21"/>
                  </a:cubicBezTo>
                  <a:cubicBezTo>
                    <a:pt x="3" y="20"/>
                    <a:pt x="6" y="21"/>
                    <a:pt x="6" y="20"/>
                  </a:cubicBezTo>
                  <a:cubicBezTo>
                    <a:pt x="5" y="18"/>
                    <a:pt x="1" y="18"/>
                    <a:pt x="1" y="15"/>
                  </a:cubicBezTo>
                  <a:cubicBezTo>
                    <a:pt x="1" y="14"/>
                    <a:pt x="4" y="15"/>
                    <a:pt x="5" y="14"/>
                  </a:cubicBezTo>
                  <a:cubicBezTo>
                    <a:pt x="6" y="13"/>
                    <a:pt x="3" y="11"/>
                    <a:pt x="4" y="10"/>
                  </a:cubicBezTo>
                  <a:cubicBezTo>
                    <a:pt x="5" y="8"/>
                    <a:pt x="8" y="8"/>
                    <a:pt x="9" y="6"/>
                  </a:cubicBezTo>
                  <a:cubicBezTo>
                    <a:pt x="9" y="5"/>
                    <a:pt x="8" y="3"/>
                    <a:pt x="9" y="2"/>
                  </a:cubicBezTo>
                  <a:cubicBezTo>
                    <a:pt x="10" y="1"/>
                    <a:pt x="11" y="2"/>
                    <a:pt x="12" y="2"/>
                  </a:cubicBezTo>
                  <a:cubicBezTo>
                    <a:pt x="13" y="2"/>
                    <a:pt x="14" y="0"/>
                    <a:pt x="1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2" name="Freeform 712"/>
            <p:cNvSpPr>
              <a:spLocks noChangeAspect="1"/>
            </p:cNvSpPr>
            <p:nvPr/>
          </p:nvSpPr>
          <p:spPr bwMode="auto">
            <a:xfrm>
              <a:off x="7551738" y="1701800"/>
              <a:ext cx="15875" cy="9525"/>
            </a:xfrm>
            <a:custGeom>
              <a:avLst/>
              <a:gdLst>
                <a:gd name="T0" fmla="*/ 1984 w 8"/>
                <a:gd name="T1" fmla="*/ 5715 h 5"/>
                <a:gd name="T2" fmla="*/ 1984 w 8"/>
                <a:gd name="T3" fmla="*/ 9525 h 5"/>
                <a:gd name="T4" fmla="*/ 13891 w 8"/>
                <a:gd name="T5" fmla="*/ 7620 h 5"/>
                <a:gd name="T6" fmla="*/ 13891 w 8"/>
                <a:gd name="T7" fmla="*/ 1905 h 5"/>
                <a:gd name="T8" fmla="*/ 7938 w 8"/>
                <a:gd name="T9" fmla="*/ 1905 h 5"/>
                <a:gd name="T10" fmla="*/ 1984 w 8"/>
                <a:gd name="T11" fmla="*/ 571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3"/>
                  </a:moveTo>
                  <a:cubicBezTo>
                    <a:pt x="0" y="3"/>
                    <a:pt x="0" y="5"/>
                    <a:pt x="1" y="5"/>
                  </a:cubicBezTo>
                  <a:cubicBezTo>
                    <a:pt x="3" y="5"/>
                    <a:pt x="5" y="5"/>
                    <a:pt x="7" y="4"/>
                  </a:cubicBezTo>
                  <a:cubicBezTo>
                    <a:pt x="8" y="4"/>
                    <a:pt x="8" y="2"/>
                    <a:pt x="7" y="1"/>
                  </a:cubicBezTo>
                  <a:cubicBezTo>
                    <a:pt x="6" y="0"/>
                    <a:pt x="5" y="1"/>
                    <a:pt x="4" y="1"/>
                  </a:cubicBezTo>
                  <a:cubicBezTo>
                    <a:pt x="3" y="2"/>
                    <a:pt x="1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3" name="Freeform 713"/>
            <p:cNvSpPr>
              <a:spLocks noChangeAspect="1"/>
            </p:cNvSpPr>
            <p:nvPr/>
          </p:nvSpPr>
          <p:spPr bwMode="auto">
            <a:xfrm>
              <a:off x="7524750" y="1749425"/>
              <a:ext cx="103188" cy="47625"/>
            </a:xfrm>
            <a:custGeom>
              <a:avLst/>
              <a:gdLst>
                <a:gd name="T0" fmla="*/ 1911 w 54"/>
                <a:gd name="T1" fmla="*/ 1905 h 25"/>
                <a:gd name="T2" fmla="*/ 1911 w 54"/>
                <a:gd name="T3" fmla="*/ 20955 h 25"/>
                <a:gd name="T4" fmla="*/ 15287 w 54"/>
                <a:gd name="T5" fmla="*/ 32385 h 25"/>
                <a:gd name="T6" fmla="*/ 40129 w 54"/>
                <a:gd name="T7" fmla="*/ 38100 h 25"/>
                <a:gd name="T8" fmla="*/ 57327 w 54"/>
                <a:gd name="T9" fmla="*/ 47625 h 25"/>
                <a:gd name="T10" fmla="*/ 80257 w 54"/>
                <a:gd name="T11" fmla="*/ 45720 h 25"/>
                <a:gd name="T12" fmla="*/ 97455 w 54"/>
                <a:gd name="T13" fmla="*/ 40005 h 25"/>
                <a:gd name="T14" fmla="*/ 97455 w 54"/>
                <a:gd name="T15" fmla="*/ 30480 h 25"/>
                <a:gd name="T16" fmla="*/ 103188 w 54"/>
                <a:gd name="T17" fmla="*/ 22860 h 25"/>
                <a:gd name="T18" fmla="*/ 97455 w 54"/>
                <a:gd name="T19" fmla="*/ 20955 h 25"/>
                <a:gd name="T20" fmla="*/ 95544 w 54"/>
                <a:gd name="T21" fmla="*/ 22860 h 25"/>
                <a:gd name="T22" fmla="*/ 72614 w 54"/>
                <a:gd name="T23" fmla="*/ 19050 h 25"/>
                <a:gd name="T24" fmla="*/ 55416 w 54"/>
                <a:gd name="T25" fmla="*/ 24765 h 25"/>
                <a:gd name="T26" fmla="*/ 47772 w 54"/>
                <a:gd name="T27" fmla="*/ 17145 h 25"/>
                <a:gd name="T28" fmla="*/ 38218 w 54"/>
                <a:gd name="T29" fmla="*/ 17145 h 25"/>
                <a:gd name="T30" fmla="*/ 30574 w 54"/>
                <a:gd name="T31" fmla="*/ 13335 h 25"/>
                <a:gd name="T32" fmla="*/ 19109 w 54"/>
                <a:gd name="T33" fmla="*/ 19050 h 25"/>
                <a:gd name="T34" fmla="*/ 5733 w 54"/>
                <a:gd name="T35" fmla="*/ 7620 h 25"/>
                <a:gd name="T36" fmla="*/ 1911 w 54"/>
                <a:gd name="T37" fmla="*/ 1905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4"/>
                <a:gd name="T58" fmla="*/ 0 h 25"/>
                <a:gd name="T59" fmla="*/ 54 w 54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4" h="25">
                  <a:moveTo>
                    <a:pt x="1" y="1"/>
                  </a:moveTo>
                  <a:cubicBezTo>
                    <a:pt x="0" y="4"/>
                    <a:pt x="1" y="9"/>
                    <a:pt x="1" y="11"/>
                  </a:cubicBezTo>
                  <a:cubicBezTo>
                    <a:pt x="3" y="14"/>
                    <a:pt x="5" y="15"/>
                    <a:pt x="8" y="17"/>
                  </a:cubicBezTo>
                  <a:cubicBezTo>
                    <a:pt x="11" y="17"/>
                    <a:pt x="16" y="19"/>
                    <a:pt x="21" y="20"/>
                  </a:cubicBezTo>
                  <a:cubicBezTo>
                    <a:pt x="24" y="21"/>
                    <a:pt x="26" y="24"/>
                    <a:pt x="30" y="25"/>
                  </a:cubicBezTo>
                  <a:cubicBezTo>
                    <a:pt x="34" y="25"/>
                    <a:pt x="38" y="25"/>
                    <a:pt x="42" y="24"/>
                  </a:cubicBezTo>
                  <a:cubicBezTo>
                    <a:pt x="45" y="23"/>
                    <a:pt x="49" y="23"/>
                    <a:pt x="51" y="21"/>
                  </a:cubicBezTo>
                  <a:cubicBezTo>
                    <a:pt x="53" y="20"/>
                    <a:pt x="51" y="17"/>
                    <a:pt x="51" y="16"/>
                  </a:cubicBezTo>
                  <a:cubicBezTo>
                    <a:pt x="52" y="14"/>
                    <a:pt x="54" y="13"/>
                    <a:pt x="54" y="12"/>
                  </a:cubicBezTo>
                  <a:cubicBezTo>
                    <a:pt x="54" y="11"/>
                    <a:pt x="52" y="11"/>
                    <a:pt x="51" y="11"/>
                  </a:cubicBezTo>
                  <a:cubicBezTo>
                    <a:pt x="51" y="11"/>
                    <a:pt x="50" y="12"/>
                    <a:pt x="50" y="12"/>
                  </a:cubicBezTo>
                  <a:cubicBezTo>
                    <a:pt x="46" y="12"/>
                    <a:pt x="42" y="10"/>
                    <a:pt x="38" y="10"/>
                  </a:cubicBezTo>
                  <a:cubicBezTo>
                    <a:pt x="35" y="10"/>
                    <a:pt x="32" y="13"/>
                    <a:pt x="29" y="13"/>
                  </a:cubicBezTo>
                  <a:cubicBezTo>
                    <a:pt x="27" y="12"/>
                    <a:pt x="27" y="9"/>
                    <a:pt x="25" y="9"/>
                  </a:cubicBezTo>
                  <a:cubicBezTo>
                    <a:pt x="24" y="8"/>
                    <a:pt x="22" y="9"/>
                    <a:pt x="20" y="9"/>
                  </a:cubicBezTo>
                  <a:cubicBezTo>
                    <a:pt x="19" y="9"/>
                    <a:pt x="18" y="7"/>
                    <a:pt x="16" y="7"/>
                  </a:cubicBezTo>
                  <a:cubicBezTo>
                    <a:pt x="14" y="8"/>
                    <a:pt x="12" y="11"/>
                    <a:pt x="10" y="10"/>
                  </a:cubicBezTo>
                  <a:cubicBezTo>
                    <a:pt x="7" y="10"/>
                    <a:pt x="5" y="7"/>
                    <a:pt x="3" y="4"/>
                  </a:cubicBezTo>
                  <a:cubicBezTo>
                    <a:pt x="2" y="3"/>
                    <a:pt x="1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4" name="Freeform 714"/>
            <p:cNvSpPr>
              <a:spLocks noChangeAspect="1"/>
            </p:cNvSpPr>
            <p:nvPr/>
          </p:nvSpPr>
          <p:spPr bwMode="auto">
            <a:xfrm>
              <a:off x="7396163" y="1927225"/>
              <a:ext cx="22225" cy="7938"/>
            </a:xfrm>
            <a:custGeom>
              <a:avLst/>
              <a:gdLst>
                <a:gd name="T0" fmla="*/ 1852 w 12"/>
                <a:gd name="T1" fmla="*/ 0 h 4"/>
                <a:gd name="T2" fmla="*/ 0 w 12"/>
                <a:gd name="T3" fmla="*/ 1985 h 4"/>
                <a:gd name="T4" fmla="*/ 16669 w 12"/>
                <a:gd name="T5" fmla="*/ 7938 h 4"/>
                <a:gd name="T6" fmla="*/ 22225 w 12"/>
                <a:gd name="T7" fmla="*/ 3969 h 4"/>
                <a:gd name="T8" fmla="*/ 16669 w 12"/>
                <a:gd name="T9" fmla="*/ 1985 h 4"/>
                <a:gd name="T10" fmla="*/ 1852 w 12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4"/>
                <a:gd name="T20" fmla="*/ 12 w 12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4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3" y="3"/>
                    <a:pt x="6" y="4"/>
                    <a:pt x="9" y="4"/>
                  </a:cubicBezTo>
                  <a:cubicBezTo>
                    <a:pt x="10" y="4"/>
                    <a:pt x="12" y="4"/>
                    <a:pt x="12" y="2"/>
                  </a:cubicBezTo>
                  <a:cubicBezTo>
                    <a:pt x="12" y="1"/>
                    <a:pt x="10" y="1"/>
                    <a:pt x="9" y="1"/>
                  </a:cubicBezTo>
                  <a:cubicBezTo>
                    <a:pt x="6" y="0"/>
                    <a:pt x="4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5" name="Freeform 715"/>
            <p:cNvSpPr>
              <a:spLocks noChangeAspect="1"/>
            </p:cNvSpPr>
            <p:nvPr/>
          </p:nvSpPr>
          <p:spPr bwMode="auto">
            <a:xfrm>
              <a:off x="8069263" y="1997075"/>
              <a:ext cx="34925" cy="19050"/>
            </a:xfrm>
            <a:custGeom>
              <a:avLst/>
              <a:gdLst>
                <a:gd name="T0" fmla="*/ 7761 w 18"/>
                <a:gd name="T1" fmla="*/ 0 h 10"/>
                <a:gd name="T2" fmla="*/ 0 w 18"/>
                <a:gd name="T3" fmla="*/ 1905 h 10"/>
                <a:gd name="T4" fmla="*/ 11642 w 18"/>
                <a:gd name="T5" fmla="*/ 11430 h 10"/>
                <a:gd name="T6" fmla="*/ 27164 w 18"/>
                <a:gd name="T7" fmla="*/ 19050 h 10"/>
                <a:gd name="T8" fmla="*/ 32985 w 18"/>
                <a:gd name="T9" fmla="*/ 15240 h 10"/>
                <a:gd name="T10" fmla="*/ 29104 w 18"/>
                <a:gd name="T11" fmla="*/ 5715 h 10"/>
                <a:gd name="T12" fmla="*/ 7761 w 18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10"/>
                <a:gd name="T23" fmla="*/ 18 w 18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10">
                  <a:moveTo>
                    <a:pt x="4" y="0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1" y="4"/>
                    <a:pt x="4" y="4"/>
                    <a:pt x="6" y="6"/>
                  </a:cubicBezTo>
                  <a:cubicBezTo>
                    <a:pt x="9" y="7"/>
                    <a:pt x="11" y="9"/>
                    <a:pt x="14" y="10"/>
                  </a:cubicBezTo>
                  <a:cubicBezTo>
                    <a:pt x="15" y="10"/>
                    <a:pt x="17" y="9"/>
                    <a:pt x="17" y="8"/>
                  </a:cubicBezTo>
                  <a:cubicBezTo>
                    <a:pt x="18" y="6"/>
                    <a:pt x="17" y="4"/>
                    <a:pt x="15" y="3"/>
                  </a:cubicBezTo>
                  <a:cubicBezTo>
                    <a:pt x="12" y="1"/>
                    <a:pt x="7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6" name="Freeform 716"/>
            <p:cNvSpPr>
              <a:spLocks noChangeAspect="1"/>
            </p:cNvSpPr>
            <p:nvPr/>
          </p:nvSpPr>
          <p:spPr bwMode="auto">
            <a:xfrm>
              <a:off x="8272463" y="1928813"/>
              <a:ext cx="77787" cy="42862"/>
            </a:xfrm>
            <a:custGeom>
              <a:avLst/>
              <a:gdLst>
                <a:gd name="T0" fmla="*/ 9486 w 41"/>
                <a:gd name="T1" fmla="*/ 5845 h 22"/>
                <a:gd name="T2" fmla="*/ 0 w 41"/>
                <a:gd name="T3" fmla="*/ 23379 h 22"/>
                <a:gd name="T4" fmla="*/ 11383 w 41"/>
                <a:gd name="T5" fmla="*/ 40914 h 22"/>
                <a:gd name="T6" fmla="*/ 22767 w 41"/>
                <a:gd name="T7" fmla="*/ 35069 h 22"/>
                <a:gd name="T8" fmla="*/ 39842 w 41"/>
                <a:gd name="T9" fmla="*/ 31172 h 22"/>
                <a:gd name="T10" fmla="*/ 58815 w 41"/>
                <a:gd name="T11" fmla="*/ 31172 h 22"/>
                <a:gd name="T12" fmla="*/ 73993 w 41"/>
                <a:gd name="T13" fmla="*/ 27276 h 22"/>
                <a:gd name="T14" fmla="*/ 73993 w 41"/>
                <a:gd name="T15" fmla="*/ 15586 h 22"/>
                <a:gd name="T16" fmla="*/ 49328 w 41"/>
                <a:gd name="T17" fmla="*/ 3897 h 22"/>
                <a:gd name="T18" fmla="*/ 39842 w 41"/>
                <a:gd name="T19" fmla="*/ 0 h 22"/>
                <a:gd name="T20" fmla="*/ 26561 w 41"/>
                <a:gd name="T21" fmla="*/ 3897 h 22"/>
                <a:gd name="T22" fmla="*/ 9486 w 41"/>
                <a:gd name="T23" fmla="*/ 5845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22"/>
                <a:gd name="T38" fmla="*/ 41 w 41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22">
                  <a:moveTo>
                    <a:pt x="5" y="3"/>
                  </a:moveTo>
                  <a:cubicBezTo>
                    <a:pt x="4" y="6"/>
                    <a:pt x="1" y="9"/>
                    <a:pt x="0" y="12"/>
                  </a:cubicBezTo>
                  <a:cubicBezTo>
                    <a:pt x="1" y="15"/>
                    <a:pt x="3" y="18"/>
                    <a:pt x="6" y="21"/>
                  </a:cubicBezTo>
                  <a:cubicBezTo>
                    <a:pt x="8" y="22"/>
                    <a:pt x="10" y="19"/>
                    <a:pt x="12" y="18"/>
                  </a:cubicBezTo>
                  <a:cubicBezTo>
                    <a:pt x="15" y="17"/>
                    <a:pt x="18" y="16"/>
                    <a:pt x="21" y="16"/>
                  </a:cubicBezTo>
                  <a:cubicBezTo>
                    <a:pt x="24" y="16"/>
                    <a:pt x="27" y="16"/>
                    <a:pt x="31" y="16"/>
                  </a:cubicBezTo>
                  <a:cubicBezTo>
                    <a:pt x="34" y="15"/>
                    <a:pt x="37" y="16"/>
                    <a:pt x="39" y="14"/>
                  </a:cubicBezTo>
                  <a:cubicBezTo>
                    <a:pt x="41" y="13"/>
                    <a:pt x="41" y="9"/>
                    <a:pt x="39" y="8"/>
                  </a:cubicBezTo>
                  <a:cubicBezTo>
                    <a:pt x="36" y="5"/>
                    <a:pt x="31" y="4"/>
                    <a:pt x="26" y="2"/>
                  </a:cubicBezTo>
                  <a:cubicBezTo>
                    <a:pt x="24" y="1"/>
                    <a:pt x="23" y="0"/>
                    <a:pt x="21" y="0"/>
                  </a:cubicBezTo>
                  <a:cubicBezTo>
                    <a:pt x="18" y="0"/>
                    <a:pt x="16" y="1"/>
                    <a:pt x="14" y="2"/>
                  </a:cubicBezTo>
                  <a:cubicBezTo>
                    <a:pt x="11" y="2"/>
                    <a:pt x="8" y="2"/>
                    <a:pt x="5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7" name="Freeform 717"/>
            <p:cNvSpPr>
              <a:spLocks noChangeAspect="1"/>
            </p:cNvSpPr>
            <p:nvPr/>
          </p:nvSpPr>
          <p:spPr bwMode="auto">
            <a:xfrm>
              <a:off x="8234363" y="2544763"/>
              <a:ext cx="30162" cy="28575"/>
            </a:xfrm>
            <a:custGeom>
              <a:avLst/>
              <a:gdLst>
                <a:gd name="T0" fmla="*/ 5655 w 16"/>
                <a:gd name="T1" fmla="*/ 0 h 15"/>
                <a:gd name="T2" fmla="*/ 13196 w 16"/>
                <a:gd name="T3" fmla="*/ 1905 h 15"/>
                <a:gd name="T4" fmla="*/ 13196 w 16"/>
                <a:gd name="T5" fmla="*/ 7620 h 15"/>
                <a:gd name="T6" fmla="*/ 30162 w 16"/>
                <a:gd name="T7" fmla="*/ 22860 h 15"/>
                <a:gd name="T8" fmla="*/ 28277 w 16"/>
                <a:gd name="T9" fmla="*/ 26670 h 15"/>
                <a:gd name="T10" fmla="*/ 13196 w 16"/>
                <a:gd name="T11" fmla="*/ 15240 h 15"/>
                <a:gd name="T12" fmla="*/ 0 w 16"/>
                <a:gd name="T13" fmla="*/ 5715 h 15"/>
                <a:gd name="T14" fmla="*/ 5655 w 16"/>
                <a:gd name="T15" fmla="*/ 0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15"/>
                <a:gd name="T26" fmla="*/ 16 w 16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15">
                  <a:moveTo>
                    <a:pt x="3" y="0"/>
                  </a:moveTo>
                  <a:cubicBezTo>
                    <a:pt x="4" y="0"/>
                    <a:pt x="6" y="0"/>
                    <a:pt x="7" y="1"/>
                  </a:cubicBezTo>
                  <a:cubicBezTo>
                    <a:pt x="7" y="2"/>
                    <a:pt x="6" y="3"/>
                    <a:pt x="7" y="4"/>
                  </a:cubicBezTo>
                  <a:cubicBezTo>
                    <a:pt x="9" y="7"/>
                    <a:pt x="13" y="9"/>
                    <a:pt x="16" y="12"/>
                  </a:cubicBezTo>
                  <a:cubicBezTo>
                    <a:pt x="16" y="13"/>
                    <a:pt x="16" y="15"/>
                    <a:pt x="15" y="14"/>
                  </a:cubicBezTo>
                  <a:cubicBezTo>
                    <a:pt x="12" y="13"/>
                    <a:pt x="10" y="10"/>
                    <a:pt x="7" y="8"/>
                  </a:cubicBezTo>
                  <a:cubicBezTo>
                    <a:pt x="5" y="6"/>
                    <a:pt x="2" y="6"/>
                    <a:pt x="0" y="3"/>
                  </a:cubicBezTo>
                  <a:cubicBezTo>
                    <a:pt x="0" y="2"/>
                    <a:pt x="2" y="1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8" name="Freeform 718"/>
            <p:cNvSpPr>
              <a:spLocks noChangeAspect="1"/>
            </p:cNvSpPr>
            <p:nvPr/>
          </p:nvSpPr>
          <p:spPr bwMode="auto">
            <a:xfrm>
              <a:off x="8277225" y="2565400"/>
              <a:ext cx="17463" cy="12700"/>
            </a:xfrm>
            <a:custGeom>
              <a:avLst/>
              <a:gdLst>
                <a:gd name="T0" fmla="*/ 5821 w 9"/>
                <a:gd name="T1" fmla="*/ 0 h 7"/>
                <a:gd name="T2" fmla="*/ 0 w 9"/>
                <a:gd name="T3" fmla="*/ 3629 h 7"/>
                <a:gd name="T4" fmla="*/ 13582 w 9"/>
                <a:gd name="T5" fmla="*/ 10886 h 7"/>
                <a:gd name="T6" fmla="*/ 17463 w 9"/>
                <a:gd name="T7" fmla="*/ 9071 h 7"/>
                <a:gd name="T8" fmla="*/ 5821 w 9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7"/>
                <a:gd name="T17" fmla="*/ 9 w 9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7">
                  <a:moveTo>
                    <a:pt x="3" y="0"/>
                  </a:moveTo>
                  <a:cubicBezTo>
                    <a:pt x="2" y="0"/>
                    <a:pt x="0" y="1"/>
                    <a:pt x="0" y="2"/>
                  </a:cubicBezTo>
                  <a:cubicBezTo>
                    <a:pt x="2" y="4"/>
                    <a:pt x="5" y="5"/>
                    <a:pt x="7" y="6"/>
                  </a:cubicBezTo>
                  <a:cubicBezTo>
                    <a:pt x="8" y="7"/>
                    <a:pt x="9" y="6"/>
                    <a:pt x="9" y="5"/>
                  </a:cubicBezTo>
                  <a:cubicBezTo>
                    <a:pt x="7" y="3"/>
                    <a:pt x="5" y="1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19" name="Freeform 719"/>
            <p:cNvSpPr>
              <a:spLocks noChangeAspect="1"/>
            </p:cNvSpPr>
            <p:nvPr/>
          </p:nvSpPr>
          <p:spPr bwMode="auto">
            <a:xfrm>
              <a:off x="8053388" y="2706688"/>
              <a:ext cx="19050" cy="26987"/>
            </a:xfrm>
            <a:custGeom>
              <a:avLst/>
              <a:gdLst>
                <a:gd name="T0" fmla="*/ 17145 w 10"/>
                <a:gd name="T1" fmla="*/ 0 h 14"/>
                <a:gd name="T2" fmla="*/ 11430 w 10"/>
                <a:gd name="T3" fmla="*/ 0 h 14"/>
                <a:gd name="T4" fmla="*/ 5715 w 10"/>
                <a:gd name="T5" fmla="*/ 13494 h 14"/>
                <a:gd name="T6" fmla="*/ 0 w 10"/>
                <a:gd name="T7" fmla="*/ 17349 h 14"/>
                <a:gd name="T8" fmla="*/ 5715 w 10"/>
                <a:gd name="T9" fmla="*/ 26987 h 14"/>
                <a:gd name="T10" fmla="*/ 15240 w 10"/>
                <a:gd name="T11" fmla="*/ 15421 h 14"/>
                <a:gd name="T12" fmla="*/ 19050 w 10"/>
                <a:gd name="T13" fmla="*/ 7711 h 14"/>
                <a:gd name="T14" fmla="*/ 17145 w 10"/>
                <a:gd name="T15" fmla="*/ 0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4"/>
                <a:gd name="T26" fmla="*/ 10 w 10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4">
                  <a:moveTo>
                    <a:pt x="9" y="0"/>
                  </a:moveTo>
                  <a:cubicBezTo>
                    <a:pt x="8" y="0"/>
                    <a:pt x="7" y="0"/>
                    <a:pt x="6" y="0"/>
                  </a:cubicBezTo>
                  <a:cubicBezTo>
                    <a:pt x="5" y="2"/>
                    <a:pt x="5" y="5"/>
                    <a:pt x="3" y="7"/>
                  </a:cubicBezTo>
                  <a:cubicBezTo>
                    <a:pt x="3" y="8"/>
                    <a:pt x="0" y="8"/>
                    <a:pt x="0" y="9"/>
                  </a:cubicBezTo>
                  <a:cubicBezTo>
                    <a:pt x="0" y="11"/>
                    <a:pt x="1" y="14"/>
                    <a:pt x="3" y="14"/>
                  </a:cubicBezTo>
                  <a:cubicBezTo>
                    <a:pt x="6" y="13"/>
                    <a:pt x="6" y="10"/>
                    <a:pt x="8" y="8"/>
                  </a:cubicBezTo>
                  <a:cubicBezTo>
                    <a:pt x="9" y="6"/>
                    <a:pt x="10" y="5"/>
                    <a:pt x="10" y="4"/>
                  </a:cubicBezTo>
                  <a:cubicBezTo>
                    <a:pt x="10" y="2"/>
                    <a:pt x="10" y="1"/>
                    <a:pt x="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0" name="Freeform 720"/>
            <p:cNvSpPr>
              <a:spLocks noChangeAspect="1"/>
            </p:cNvSpPr>
            <p:nvPr/>
          </p:nvSpPr>
          <p:spPr bwMode="auto">
            <a:xfrm>
              <a:off x="7916863" y="2876550"/>
              <a:ext cx="38100" cy="38100"/>
            </a:xfrm>
            <a:custGeom>
              <a:avLst/>
              <a:gdLst>
                <a:gd name="T0" fmla="*/ 36195 w 20"/>
                <a:gd name="T1" fmla="*/ 0 h 20"/>
                <a:gd name="T2" fmla="*/ 36195 w 20"/>
                <a:gd name="T3" fmla="*/ 5715 h 20"/>
                <a:gd name="T4" fmla="*/ 30480 w 20"/>
                <a:gd name="T5" fmla="*/ 5715 h 20"/>
                <a:gd name="T6" fmla="*/ 19050 w 20"/>
                <a:gd name="T7" fmla="*/ 19050 h 20"/>
                <a:gd name="T8" fmla="*/ 13335 w 20"/>
                <a:gd name="T9" fmla="*/ 20955 h 20"/>
                <a:gd name="T10" fmla="*/ 1905 w 20"/>
                <a:gd name="T11" fmla="*/ 38100 h 20"/>
                <a:gd name="T12" fmla="*/ 0 w 20"/>
                <a:gd name="T13" fmla="*/ 32385 h 20"/>
                <a:gd name="T14" fmla="*/ 7620 w 20"/>
                <a:gd name="T15" fmla="*/ 22860 h 20"/>
                <a:gd name="T16" fmla="*/ 15240 w 20"/>
                <a:gd name="T17" fmla="*/ 5715 h 20"/>
                <a:gd name="T18" fmla="*/ 24765 w 20"/>
                <a:gd name="T19" fmla="*/ 9525 h 20"/>
                <a:gd name="T20" fmla="*/ 36195 w 20"/>
                <a:gd name="T21" fmla="*/ 0 h 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0"/>
                <a:gd name="T35" fmla="*/ 20 w 20"/>
                <a:gd name="T36" fmla="*/ 20 h 2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0">
                  <a:moveTo>
                    <a:pt x="19" y="0"/>
                  </a:moveTo>
                  <a:cubicBezTo>
                    <a:pt x="20" y="0"/>
                    <a:pt x="20" y="2"/>
                    <a:pt x="19" y="3"/>
                  </a:cubicBezTo>
                  <a:cubicBezTo>
                    <a:pt x="19" y="4"/>
                    <a:pt x="17" y="3"/>
                    <a:pt x="16" y="3"/>
                  </a:cubicBezTo>
                  <a:cubicBezTo>
                    <a:pt x="14" y="5"/>
                    <a:pt x="12" y="8"/>
                    <a:pt x="10" y="10"/>
                  </a:cubicBezTo>
                  <a:cubicBezTo>
                    <a:pt x="9" y="11"/>
                    <a:pt x="8" y="10"/>
                    <a:pt x="7" y="11"/>
                  </a:cubicBezTo>
                  <a:cubicBezTo>
                    <a:pt x="5" y="13"/>
                    <a:pt x="4" y="17"/>
                    <a:pt x="1" y="20"/>
                  </a:cubicBezTo>
                  <a:cubicBezTo>
                    <a:pt x="0" y="20"/>
                    <a:pt x="0" y="18"/>
                    <a:pt x="0" y="17"/>
                  </a:cubicBezTo>
                  <a:cubicBezTo>
                    <a:pt x="1" y="15"/>
                    <a:pt x="3" y="13"/>
                    <a:pt x="4" y="12"/>
                  </a:cubicBezTo>
                  <a:cubicBezTo>
                    <a:pt x="5" y="9"/>
                    <a:pt x="5" y="5"/>
                    <a:pt x="8" y="3"/>
                  </a:cubicBezTo>
                  <a:cubicBezTo>
                    <a:pt x="9" y="2"/>
                    <a:pt x="12" y="5"/>
                    <a:pt x="13" y="5"/>
                  </a:cubicBezTo>
                  <a:cubicBezTo>
                    <a:pt x="16" y="4"/>
                    <a:pt x="16" y="0"/>
                    <a:pt x="1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1" name="Freeform 721"/>
            <p:cNvSpPr>
              <a:spLocks noChangeAspect="1"/>
            </p:cNvSpPr>
            <p:nvPr/>
          </p:nvSpPr>
          <p:spPr bwMode="auto">
            <a:xfrm>
              <a:off x="7888288" y="2909888"/>
              <a:ext cx="22225" cy="25400"/>
            </a:xfrm>
            <a:custGeom>
              <a:avLst/>
              <a:gdLst>
                <a:gd name="T0" fmla="*/ 14143 w 11"/>
                <a:gd name="T1" fmla="*/ 1954 h 13"/>
                <a:gd name="T2" fmla="*/ 22225 w 11"/>
                <a:gd name="T3" fmla="*/ 3908 h 13"/>
                <a:gd name="T4" fmla="*/ 16164 w 11"/>
                <a:gd name="T5" fmla="*/ 11723 h 13"/>
                <a:gd name="T6" fmla="*/ 6061 w 11"/>
                <a:gd name="T7" fmla="*/ 25400 h 13"/>
                <a:gd name="T8" fmla="*/ 0 w 11"/>
                <a:gd name="T9" fmla="*/ 21492 h 13"/>
                <a:gd name="T10" fmla="*/ 12123 w 11"/>
                <a:gd name="T11" fmla="*/ 5862 h 13"/>
                <a:gd name="T12" fmla="*/ 14143 w 11"/>
                <a:gd name="T13" fmla="*/ 1954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3"/>
                <a:gd name="T23" fmla="*/ 11 w 11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3">
                  <a:moveTo>
                    <a:pt x="7" y="1"/>
                  </a:moveTo>
                  <a:cubicBezTo>
                    <a:pt x="9" y="0"/>
                    <a:pt x="11" y="1"/>
                    <a:pt x="11" y="2"/>
                  </a:cubicBezTo>
                  <a:cubicBezTo>
                    <a:pt x="11" y="4"/>
                    <a:pt x="9" y="4"/>
                    <a:pt x="8" y="6"/>
                  </a:cubicBezTo>
                  <a:cubicBezTo>
                    <a:pt x="6" y="8"/>
                    <a:pt x="5" y="11"/>
                    <a:pt x="3" y="13"/>
                  </a:cubicBezTo>
                  <a:cubicBezTo>
                    <a:pt x="2" y="13"/>
                    <a:pt x="0" y="12"/>
                    <a:pt x="0" y="11"/>
                  </a:cubicBezTo>
                  <a:cubicBezTo>
                    <a:pt x="1" y="8"/>
                    <a:pt x="4" y="6"/>
                    <a:pt x="6" y="3"/>
                  </a:cubicBezTo>
                  <a:cubicBezTo>
                    <a:pt x="6" y="2"/>
                    <a:pt x="7" y="1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2" name="Freeform 722"/>
            <p:cNvSpPr>
              <a:spLocks noChangeAspect="1"/>
            </p:cNvSpPr>
            <p:nvPr/>
          </p:nvSpPr>
          <p:spPr bwMode="auto">
            <a:xfrm>
              <a:off x="7721600" y="2578100"/>
              <a:ext cx="20638" cy="25400"/>
            </a:xfrm>
            <a:custGeom>
              <a:avLst/>
              <a:gdLst>
                <a:gd name="T0" fmla="*/ 9381 w 11"/>
                <a:gd name="T1" fmla="*/ 1954 h 13"/>
                <a:gd name="T2" fmla="*/ 13133 w 11"/>
                <a:gd name="T3" fmla="*/ 11723 h 13"/>
                <a:gd name="T4" fmla="*/ 18762 w 11"/>
                <a:gd name="T5" fmla="*/ 11723 h 13"/>
                <a:gd name="T6" fmla="*/ 18762 w 11"/>
                <a:gd name="T7" fmla="*/ 23446 h 13"/>
                <a:gd name="T8" fmla="*/ 11257 w 11"/>
                <a:gd name="T9" fmla="*/ 23446 h 13"/>
                <a:gd name="T10" fmla="*/ 11257 w 11"/>
                <a:gd name="T11" fmla="*/ 15631 h 13"/>
                <a:gd name="T12" fmla="*/ 0 w 11"/>
                <a:gd name="T13" fmla="*/ 5862 h 13"/>
                <a:gd name="T14" fmla="*/ 5629 w 11"/>
                <a:gd name="T15" fmla="*/ 5862 h 13"/>
                <a:gd name="T16" fmla="*/ 9381 w 11"/>
                <a:gd name="T17" fmla="*/ 1954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13"/>
                <a:gd name="T29" fmla="*/ 11 w 11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13">
                  <a:moveTo>
                    <a:pt x="5" y="1"/>
                  </a:moveTo>
                  <a:cubicBezTo>
                    <a:pt x="7" y="2"/>
                    <a:pt x="6" y="4"/>
                    <a:pt x="7" y="6"/>
                  </a:cubicBezTo>
                  <a:cubicBezTo>
                    <a:pt x="7" y="6"/>
                    <a:pt x="9" y="5"/>
                    <a:pt x="10" y="6"/>
                  </a:cubicBezTo>
                  <a:cubicBezTo>
                    <a:pt x="11" y="8"/>
                    <a:pt x="11" y="11"/>
                    <a:pt x="10" y="12"/>
                  </a:cubicBezTo>
                  <a:cubicBezTo>
                    <a:pt x="9" y="13"/>
                    <a:pt x="7" y="12"/>
                    <a:pt x="6" y="12"/>
                  </a:cubicBezTo>
                  <a:cubicBezTo>
                    <a:pt x="6" y="11"/>
                    <a:pt x="7" y="9"/>
                    <a:pt x="6" y="8"/>
                  </a:cubicBezTo>
                  <a:cubicBezTo>
                    <a:pt x="5" y="6"/>
                    <a:pt x="1" y="5"/>
                    <a:pt x="0" y="3"/>
                  </a:cubicBezTo>
                  <a:cubicBezTo>
                    <a:pt x="0" y="2"/>
                    <a:pt x="2" y="3"/>
                    <a:pt x="3" y="3"/>
                  </a:cubicBezTo>
                  <a:cubicBezTo>
                    <a:pt x="4" y="2"/>
                    <a:pt x="5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3" name="Freeform 723"/>
            <p:cNvSpPr>
              <a:spLocks noChangeAspect="1"/>
            </p:cNvSpPr>
            <p:nvPr/>
          </p:nvSpPr>
          <p:spPr bwMode="auto">
            <a:xfrm>
              <a:off x="7723188" y="2605088"/>
              <a:ext cx="111125" cy="263525"/>
            </a:xfrm>
            <a:custGeom>
              <a:avLst/>
              <a:gdLst>
                <a:gd name="T0" fmla="*/ 21075 w 58"/>
                <a:gd name="T1" fmla="*/ 1910 h 138"/>
                <a:gd name="T2" fmla="*/ 34487 w 58"/>
                <a:gd name="T3" fmla="*/ 28644 h 138"/>
                <a:gd name="T4" fmla="*/ 42151 w 58"/>
                <a:gd name="T5" fmla="*/ 49650 h 138"/>
                <a:gd name="T6" fmla="*/ 45983 w 58"/>
                <a:gd name="T7" fmla="*/ 74474 h 138"/>
                <a:gd name="T8" fmla="*/ 49815 w 58"/>
                <a:gd name="T9" fmla="*/ 70655 h 138"/>
                <a:gd name="T10" fmla="*/ 72806 w 58"/>
                <a:gd name="T11" fmla="*/ 116486 h 138"/>
                <a:gd name="T12" fmla="*/ 95797 w 58"/>
                <a:gd name="T13" fmla="*/ 147039 h 138"/>
                <a:gd name="T14" fmla="*/ 103461 w 58"/>
                <a:gd name="T15" fmla="*/ 164226 h 138"/>
                <a:gd name="T16" fmla="*/ 111125 w 58"/>
                <a:gd name="T17" fmla="*/ 168045 h 138"/>
                <a:gd name="T18" fmla="*/ 109209 w 58"/>
                <a:gd name="T19" fmla="*/ 175683 h 138"/>
                <a:gd name="T20" fmla="*/ 107293 w 58"/>
                <a:gd name="T21" fmla="*/ 171864 h 138"/>
                <a:gd name="T22" fmla="*/ 99629 w 58"/>
                <a:gd name="T23" fmla="*/ 164226 h 138"/>
                <a:gd name="T24" fmla="*/ 90050 w 58"/>
                <a:gd name="T25" fmla="*/ 152768 h 138"/>
                <a:gd name="T26" fmla="*/ 74722 w 58"/>
                <a:gd name="T27" fmla="*/ 147039 h 138"/>
                <a:gd name="T28" fmla="*/ 65142 w 58"/>
                <a:gd name="T29" fmla="*/ 154678 h 138"/>
                <a:gd name="T30" fmla="*/ 65142 w 58"/>
                <a:gd name="T31" fmla="*/ 187141 h 138"/>
                <a:gd name="T32" fmla="*/ 63226 w 58"/>
                <a:gd name="T33" fmla="*/ 196689 h 138"/>
                <a:gd name="T34" fmla="*/ 80470 w 58"/>
                <a:gd name="T35" fmla="*/ 210056 h 138"/>
                <a:gd name="T36" fmla="*/ 88134 w 58"/>
                <a:gd name="T37" fmla="*/ 229152 h 138"/>
                <a:gd name="T38" fmla="*/ 97713 w 58"/>
                <a:gd name="T39" fmla="*/ 232971 h 138"/>
                <a:gd name="T40" fmla="*/ 101545 w 58"/>
                <a:gd name="T41" fmla="*/ 250158 h 138"/>
                <a:gd name="T42" fmla="*/ 99629 w 58"/>
                <a:gd name="T43" fmla="*/ 252067 h 138"/>
                <a:gd name="T44" fmla="*/ 95797 w 58"/>
                <a:gd name="T45" fmla="*/ 242519 h 138"/>
                <a:gd name="T46" fmla="*/ 82386 w 58"/>
                <a:gd name="T47" fmla="*/ 238700 h 138"/>
                <a:gd name="T48" fmla="*/ 78554 w 58"/>
                <a:gd name="T49" fmla="*/ 242519 h 138"/>
                <a:gd name="T50" fmla="*/ 76638 w 58"/>
                <a:gd name="T51" fmla="*/ 259706 h 138"/>
                <a:gd name="T52" fmla="*/ 72806 w 58"/>
                <a:gd name="T53" fmla="*/ 261615 h 138"/>
                <a:gd name="T54" fmla="*/ 67058 w 58"/>
                <a:gd name="T55" fmla="*/ 248248 h 138"/>
                <a:gd name="T56" fmla="*/ 63226 w 58"/>
                <a:gd name="T57" fmla="*/ 238700 h 138"/>
                <a:gd name="T58" fmla="*/ 63226 w 58"/>
                <a:gd name="T59" fmla="*/ 223423 h 138"/>
                <a:gd name="T60" fmla="*/ 55563 w 58"/>
                <a:gd name="T61" fmla="*/ 210056 h 138"/>
                <a:gd name="T62" fmla="*/ 55563 w 58"/>
                <a:gd name="T63" fmla="*/ 190960 h 138"/>
                <a:gd name="T64" fmla="*/ 44067 w 58"/>
                <a:gd name="T65" fmla="*/ 179503 h 138"/>
                <a:gd name="T66" fmla="*/ 44067 w 58"/>
                <a:gd name="T67" fmla="*/ 169955 h 138"/>
                <a:gd name="T68" fmla="*/ 42151 w 58"/>
                <a:gd name="T69" fmla="*/ 145130 h 138"/>
                <a:gd name="T70" fmla="*/ 30655 w 58"/>
                <a:gd name="T71" fmla="*/ 97390 h 138"/>
                <a:gd name="T72" fmla="*/ 30655 w 58"/>
                <a:gd name="T73" fmla="*/ 82113 h 138"/>
                <a:gd name="T74" fmla="*/ 15328 w 58"/>
                <a:gd name="T75" fmla="*/ 66836 h 138"/>
                <a:gd name="T76" fmla="*/ 13412 w 58"/>
                <a:gd name="T77" fmla="*/ 61107 h 138"/>
                <a:gd name="T78" fmla="*/ 7664 w 58"/>
                <a:gd name="T79" fmla="*/ 57288 h 138"/>
                <a:gd name="T80" fmla="*/ 5748 w 58"/>
                <a:gd name="T81" fmla="*/ 28644 h 138"/>
                <a:gd name="T82" fmla="*/ 0 w 58"/>
                <a:gd name="T83" fmla="*/ 11458 h 138"/>
                <a:gd name="T84" fmla="*/ 5748 w 58"/>
                <a:gd name="T85" fmla="*/ 5729 h 138"/>
                <a:gd name="T86" fmla="*/ 13412 w 58"/>
                <a:gd name="T87" fmla="*/ 11458 h 138"/>
                <a:gd name="T88" fmla="*/ 15328 w 58"/>
                <a:gd name="T89" fmla="*/ 1910 h 138"/>
                <a:gd name="T90" fmla="*/ 21075 w 58"/>
                <a:gd name="T91" fmla="*/ 1910 h 13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8"/>
                <a:gd name="T139" fmla="*/ 0 h 138"/>
                <a:gd name="T140" fmla="*/ 58 w 58"/>
                <a:gd name="T141" fmla="*/ 138 h 13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8" h="138">
                  <a:moveTo>
                    <a:pt x="11" y="1"/>
                  </a:moveTo>
                  <a:cubicBezTo>
                    <a:pt x="14" y="5"/>
                    <a:pt x="16" y="10"/>
                    <a:pt x="18" y="15"/>
                  </a:cubicBezTo>
                  <a:cubicBezTo>
                    <a:pt x="19" y="19"/>
                    <a:pt x="21" y="22"/>
                    <a:pt x="22" y="26"/>
                  </a:cubicBezTo>
                  <a:cubicBezTo>
                    <a:pt x="23" y="30"/>
                    <a:pt x="22" y="35"/>
                    <a:pt x="24" y="39"/>
                  </a:cubicBezTo>
                  <a:cubicBezTo>
                    <a:pt x="24" y="39"/>
                    <a:pt x="25" y="36"/>
                    <a:pt x="26" y="37"/>
                  </a:cubicBezTo>
                  <a:cubicBezTo>
                    <a:pt x="31" y="44"/>
                    <a:pt x="34" y="53"/>
                    <a:pt x="38" y="61"/>
                  </a:cubicBezTo>
                  <a:cubicBezTo>
                    <a:pt x="41" y="66"/>
                    <a:pt x="46" y="71"/>
                    <a:pt x="50" y="77"/>
                  </a:cubicBezTo>
                  <a:cubicBezTo>
                    <a:pt x="51" y="80"/>
                    <a:pt x="52" y="83"/>
                    <a:pt x="54" y="86"/>
                  </a:cubicBezTo>
                  <a:cubicBezTo>
                    <a:pt x="55" y="87"/>
                    <a:pt x="57" y="86"/>
                    <a:pt x="58" y="88"/>
                  </a:cubicBezTo>
                  <a:cubicBezTo>
                    <a:pt x="58" y="89"/>
                    <a:pt x="58" y="91"/>
                    <a:pt x="57" y="92"/>
                  </a:cubicBezTo>
                  <a:cubicBezTo>
                    <a:pt x="57" y="92"/>
                    <a:pt x="56" y="90"/>
                    <a:pt x="56" y="90"/>
                  </a:cubicBezTo>
                  <a:cubicBezTo>
                    <a:pt x="55" y="88"/>
                    <a:pt x="53" y="87"/>
                    <a:pt x="52" y="86"/>
                  </a:cubicBezTo>
                  <a:cubicBezTo>
                    <a:pt x="50" y="84"/>
                    <a:pt x="49" y="81"/>
                    <a:pt x="47" y="80"/>
                  </a:cubicBezTo>
                  <a:cubicBezTo>
                    <a:pt x="45" y="78"/>
                    <a:pt x="42" y="77"/>
                    <a:pt x="39" y="77"/>
                  </a:cubicBezTo>
                  <a:cubicBezTo>
                    <a:pt x="37" y="78"/>
                    <a:pt x="35" y="79"/>
                    <a:pt x="34" y="81"/>
                  </a:cubicBezTo>
                  <a:cubicBezTo>
                    <a:pt x="33" y="86"/>
                    <a:pt x="34" y="92"/>
                    <a:pt x="34" y="98"/>
                  </a:cubicBezTo>
                  <a:cubicBezTo>
                    <a:pt x="33" y="99"/>
                    <a:pt x="32" y="101"/>
                    <a:pt x="33" y="103"/>
                  </a:cubicBezTo>
                  <a:cubicBezTo>
                    <a:pt x="35" y="106"/>
                    <a:pt x="40" y="107"/>
                    <a:pt x="42" y="110"/>
                  </a:cubicBezTo>
                  <a:cubicBezTo>
                    <a:pt x="44" y="112"/>
                    <a:pt x="44" y="117"/>
                    <a:pt x="46" y="120"/>
                  </a:cubicBezTo>
                  <a:cubicBezTo>
                    <a:pt x="47" y="121"/>
                    <a:pt x="50" y="120"/>
                    <a:pt x="51" y="122"/>
                  </a:cubicBezTo>
                  <a:cubicBezTo>
                    <a:pt x="52" y="124"/>
                    <a:pt x="53" y="128"/>
                    <a:pt x="53" y="131"/>
                  </a:cubicBezTo>
                  <a:cubicBezTo>
                    <a:pt x="53" y="132"/>
                    <a:pt x="52" y="132"/>
                    <a:pt x="52" y="132"/>
                  </a:cubicBezTo>
                  <a:cubicBezTo>
                    <a:pt x="51" y="131"/>
                    <a:pt x="51" y="128"/>
                    <a:pt x="50" y="127"/>
                  </a:cubicBezTo>
                  <a:cubicBezTo>
                    <a:pt x="48" y="125"/>
                    <a:pt x="46" y="125"/>
                    <a:pt x="43" y="125"/>
                  </a:cubicBezTo>
                  <a:cubicBezTo>
                    <a:pt x="42" y="125"/>
                    <a:pt x="41" y="126"/>
                    <a:pt x="41" y="127"/>
                  </a:cubicBezTo>
                  <a:cubicBezTo>
                    <a:pt x="40" y="130"/>
                    <a:pt x="40" y="133"/>
                    <a:pt x="40" y="136"/>
                  </a:cubicBezTo>
                  <a:cubicBezTo>
                    <a:pt x="39" y="136"/>
                    <a:pt x="38" y="138"/>
                    <a:pt x="38" y="137"/>
                  </a:cubicBezTo>
                  <a:cubicBezTo>
                    <a:pt x="36" y="135"/>
                    <a:pt x="36" y="133"/>
                    <a:pt x="35" y="130"/>
                  </a:cubicBezTo>
                  <a:cubicBezTo>
                    <a:pt x="34" y="129"/>
                    <a:pt x="33" y="127"/>
                    <a:pt x="33" y="125"/>
                  </a:cubicBezTo>
                  <a:cubicBezTo>
                    <a:pt x="32" y="122"/>
                    <a:pt x="33" y="120"/>
                    <a:pt x="33" y="117"/>
                  </a:cubicBezTo>
                  <a:cubicBezTo>
                    <a:pt x="32" y="115"/>
                    <a:pt x="29" y="113"/>
                    <a:pt x="29" y="110"/>
                  </a:cubicBezTo>
                  <a:cubicBezTo>
                    <a:pt x="28" y="107"/>
                    <a:pt x="30" y="103"/>
                    <a:pt x="29" y="100"/>
                  </a:cubicBezTo>
                  <a:cubicBezTo>
                    <a:pt x="28" y="98"/>
                    <a:pt x="25" y="97"/>
                    <a:pt x="23" y="94"/>
                  </a:cubicBezTo>
                  <a:cubicBezTo>
                    <a:pt x="22" y="93"/>
                    <a:pt x="23" y="91"/>
                    <a:pt x="23" y="89"/>
                  </a:cubicBezTo>
                  <a:cubicBezTo>
                    <a:pt x="22" y="85"/>
                    <a:pt x="23" y="80"/>
                    <a:pt x="22" y="76"/>
                  </a:cubicBezTo>
                  <a:cubicBezTo>
                    <a:pt x="21" y="68"/>
                    <a:pt x="17" y="60"/>
                    <a:pt x="16" y="51"/>
                  </a:cubicBezTo>
                  <a:cubicBezTo>
                    <a:pt x="15" y="49"/>
                    <a:pt x="17" y="46"/>
                    <a:pt x="16" y="43"/>
                  </a:cubicBezTo>
                  <a:cubicBezTo>
                    <a:pt x="14" y="40"/>
                    <a:pt x="10" y="38"/>
                    <a:pt x="8" y="35"/>
                  </a:cubicBezTo>
                  <a:cubicBezTo>
                    <a:pt x="7" y="34"/>
                    <a:pt x="8" y="33"/>
                    <a:pt x="7" y="32"/>
                  </a:cubicBezTo>
                  <a:cubicBezTo>
                    <a:pt x="7" y="31"/>
                    <a:pt x="5" y="31"/>
                    <a:pt x="4" y="30"/>
                  </a:cubicBezTo>
                  <a:cubicBezTo>
                    <a:pt x="3" y="25"/>
                    <a:pt x="4" y="20"/>
                    <a:pt x="3" y="15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5"/>
                    <a:pt x="1" y="3"/>
                    <a:pt x="3" y="3"/>
                  </a:cubicBezTo>
                  <a:cubicBezTo>
                    <a:pt x="4" y="3"/>
                    <a:pt x="5" y="6"/>
                    <a:pt x="7" y="6"/>
                  </a:cubicBezTo>
                  <a:cubicBezTo>
                    <a:pt x="8" y="5"/>
                    <a:pt x="7" y="2"/>
                    <a:pt x="8" y="1"/>
                  </a:cubicBezTo>
                  <a:cubicBezTo>
                    <a:pt x="8" y="0"/>
                    <a:pt x="10" y="0"/>
                    <a:pt x="11" y="1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4" name="Freeform 724"/>
            <p:cNvSpPr>
              <a:spLocks noChangeAspect="1"/>
            </p:cNvSpPr>
            <p:nvPr/>
          </p:nvSpPr>
          <p:spPr bwMode="auto">
            <a:xfrm>
              <a:off x="6094413" y="1508125"/>
              <a:ext cx="30162" cy="14288"/>
            </a:xfrm>
            <a:custGeom>
              <a:avLst/>
              <a:gdLst>
                <a:gd name="T0" fmla="*/ 5655 w 16"/>
                <a:gd name="T1" fmla="*/ 0 h 8"/>
                <a:gd name="T2" fmla="*/ 1885 w 16"/>
                <a:gd name="T3" fmla="*/ 8930 h 8"/>
                <a:gd name="T4" fmla="*/ 18851 w 16"/>
                <a:gd name="T5" fmla="*/ 14288 h 8"/>
                <a:gd name="T6" fmla="*/ 28277 w 16"/>
                <a:gd name="T7" fmla="*/ 10716 h 8"/>
                <a:gd name="T8" fmla="*/ 24507 w 16"/>
                <a:gd name="T9" fmla="*/ 5358 h 8"/>
                <a:gd name="T10" fmla="*/ 5655 w 16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8"/>
                <a:gd name="T20" fmla="*/ 16 w 1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8">
                  <a:moveTo>
                    <a:pt x="3" y="0"/>
                  </a:moveTo>
                  <a:cubicBezTo>
                    <a:pt x="1" y="1"/>
                    <a:pt x="0" y="4"/>
                    <a:pt x="1" y="5"/>
                  </a:cubicBezTo>
                  <a:cubicBezTo>
                    <a:pt x="4" y="7"/>
                    <a:pt x="7" y="8"/>
                    <a:pt x="10" y="8"/>
                  </a:cubicBezTo>
                  <a:cubicBezTo>
                    <a:pt x="12" y="8"/>
                    <a:pt x="15" y="8"/>
                    <a:pt x="15" y="6"/>
                  </a:cubicBezTo>
                  <a:cubicBezTo>
                    <a:pt x="16" y="5"/>
                    <a:pt x="14" y="3"/>
                    <a:pt x="13" y="3"/>
                  </a:cubicBezTo>
                  <a:cubicBezTo>
                    <a:pt x="10" y="1"/>
                    <a:pt x="6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5" name="Freeform 725"/>
            <p:cNvSpPr>
              <a:spLocks noChangeAspect="1"/>
            </p:cNvSpPr>
            <p:nvPr/>
          </p:nvSpPr>
          <p:spPr bwMode="auto">
            <a:xfrm>
              <a:off x="5773738" y="1492250"/>
              <a:ext cx="55562" cy="34925"/>
            </a:xfrm>
            <a:custGeom>
              <a:avLst/>
              <a:gdLst>
                <a:gd name="T0" fmla="*/ 47898 w 29"/>
                <a:gd name="T1" fmla="*/ 3881 h 18"/>
                <a:gd name="T2" fmla="*/ 51730 w 29"/>
                <a:gd name="T3" fmla="*/ 21343 h 18"/>
                <a:gd name="T4" fmla="*/ 32571 w 29"/>
                <a:gd name="T5" fmla="*/ 29104 h 18"/>
                <a:gd name="T6" fmla="*/ 11496 w 29"/>
                <a:gd name="T7" fmla="*/ 32985 h 18"/>
                <a:gd name="T8" fmla="*/ 1916 w 29"/>
                <a:gd name="T9" fmla="*/ 21343 h 18"/>
                <a:gd name="T10" fmla="*/ 17243 w 29"/>
                <a:gd name="T11" fmla="*/ 15522 h 18"/>
                <a:gd name="T12" fmla="*/ 32571 w 29"/>
                <a:gd name="T13" fmla="*/ 13582 h 18"/>
                <a:gd name="T14" fmla="*/ 32571 w 29"/>
                <a:gd name="T15" fmla="*/ 3881 h 18"/>
                <a:gd name="T16" fmla="*/ 47898 w 29"/>
                <a:gd name="T17" fmla="*/ 3881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18"/>
                <a:gd name="T29" fmla="*/ 29 w 29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18">
                  <a:moveTo>
                    <a:pt x="25" y="2"/>
                  </a:moveTo>
                  <a:cubicBezTo>
                    <a:pt x="28" y="4"/>
                    <a:pt x="29" y="9"/>
                    <a:pt x="27" y="11"/>
                  </a:cubicBezTo>
                  <a:cubicBezTo>
                    <a:pt x="25" y="14"/>
                    <a:pt x="20" y="14"/>
                    <a:pt x="17" y="15"/>
                  </a:cubicBezTo>
                  <a:cubicBezTo>
                    <a:pt x="13" y="16"/>
                    <a:pt x="10" y="18"/>
                    <a:pt x="6" y="17"/>
                  </a:cubicBezTo>
                  <a:cubicBezTo>
                    <a:pt x="4" y="17"/>
                    <a:pt x="0" y="14"/>
                    <a:pt x="1" y="11"/>
                  </a:cubicBezTo>
                  <a:cubicBezTo>
                    <a:pt x="2" y="9"/>
                    <a:pt x="6" y="9"/>
                    <a:pt x="9" y="8"/>
                  </a:cubicBezTo>
                  <a:cubicBezTo>
                    <a:pt x="12" y="8"/>
                    <a:pt x="15" y="8"/>
                    <a:pt x="17" y="7"/>
                  </a:cubicBezTo>
                  <a:cubicBezTo>
                    <a:pt x="18" y="6"/>
                    <a:pt x="16" y="3"/>
                    <a:pt x="17" y="2"/>
                  </a:cubicBezTo>
                  <a:cubicBezTo>
                    <a:pt x="19" y="1"/>
                    <a:pt x="23" y="0"/>
                    <a:pt x="25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6" name="Freeform 726"/>
            <p:cNvSpPr>
              <a:spLocks noChangeAspect="1"/>
            </p:cNvSpPr>
            <p:nvPr/>
          </p:nvSpPr>
          <p:spPr bwMode="auto">
            <a:xfrm>
              <a:off x="5573713" y="1531938"/>
              <a:ext cx="34925" cy="15875"/>
            </a:xfrm>
            <a:custGeom>
              <a:avLst/>
              <a:gdLst>
                <a:gd name="T0" fmla="*/ 11642 w 18"/>
                <a:gd name="T1" fmla="*/ 0 h 8"/>
                <a:gd name="T2" fmla="*/ 32985 w 18"/>
                <a:gd name="T3" fmla="*/ 9922 h 8"/>
                <a:gd name="T4" fmla="*/ 27164 w 18"/>
                <a:gd name="T5" fmla="*/ 15875 h 8"/>
                <a:gd name="T6" fmla="*/ 1940 w 18"/>
                <a:gd name="T7" fmla="*/ 15875 h 8"/>
                <a:gd name="T8" fmla="*/ 1940 w 18"/>
                <a:gd name="T9" fmla="*/ 9922 h 8"/>
                <a:gd name="T10" fmla="*/ 11642 w 18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8"/>
                <a:gd name="T20" fmla="*/ 18 w 18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8">
                  <a:moveTo>
                    <a:pt x="6" y="0"/>
                  </a:moveTo>
                  <a:cubicBezTo>
                    <a:pt x="10" y="0"/>
                    <a:pt x="14" y="2"/>
                    <a:pt x="17" y="5"/>
                  </a:cubicBezTo>
                  <a:cubicBezTo>
                    <a:pt x="18" y="6"/>
                    <a:pt x="15" y="8"/>
                    <a:pt x="14" y="8"/>
                  </a:cubicBezTo>
                  <a:cubicBezTo>
                    <a:pt x="10" y="8"/>
                    <a:pt x="5" y="8"/>
                    <a:pt x="1" y="8"/>
                  </a:cubicBezTo>
                  <a:cubicBezTo>
                    <a:pt x="0" y="8"/>
                    <a:pt x="0" y="6"/>
                    <a:pt x="1" y="5"/>
                  </a:cubicBezTo>
                  <a:cubicBezTo>
                    <a:pt x="3" y="4"/>
                    <a:pt x="5" y="2"/>
                    <a:pt x="6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7" name="Freeform 727"/>
            <p:cNvSpPr>
              <a:spLocks noChangeAspect="1"/>
            </p:cNvSpPr>
            <p:nvPr/>
          </p:nvSpPr>
          <p:spPr bwMode="auto">
            <a:xfrm>
              <a:off x="5665788" y="1528763"/>
              <a:ext cx="47625" cy="19050"/>
            </a:xfrm>
            <a:custGeom>
              <a:avLst/>
              <a:gdLst>
                <a:gd name="T0" fmla="*/ 3810 w 25"/>
                <a:gd name="T1" fmla="*/ 1905 h 10"/>
                <a:gd name="T2" fmla="*/ 36195 w 25"/>
                <a:gd name="T3" fmla="*/ 1905 h 10"/>
                <a:gd name="T4" fmla="*/ 45720 w 25"/>
                <a:gd name="T5" fmla="*/ 9525 h 10"/>
                <a:gd name="T6" fmla="*/ 32385 w 25"/>
                <a:gd name="T7" fmla="*/ 9525 h 10"/>
                <a:gd name="T8" fmla="*/ 32385 w 25"/>
                <a:gd name="T9" fmla="*/ 17145 h 10"/>
                <a:gd name="T10" fmla="*/ 19050 w 25"/>
                <a:gd name="T11" fmla="*/ 19050 h 10"/>
                <a:gd name="T12" fmla="*/ 5715 w 25"/>
                <a:gd name="T13" fmla="*/ 11430 h 10"/>
                <a:gd name="T14" fmla="*/ 3810 w 25"/>
                <a:gd name="T15" fmla="*/ 1905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5"/>
                <a:gd name="T25" fmla="*/ 0 h 10"/>
                <a:gd name="T26" fmla="*/ 25 w 2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5" h="10">
                  <a:moveTo>
                    <a:pt x="2" y="1"/>
                  </a:moveTo>
                  <a:cubicBezTo>
                    <a:pt x="7" y="0"/>
                    <a:pt x="14" y="0"/>
                    <a:pt x="19" y="1"/>
                  </a:cubicBezTo>
                  <a:cubicBezTo>
                    <a:pt x="21" y="1"/>
                    <a:pt x="25" y="3"/>
                    <a:pt x="24" y="5"/>
                  </a:cubicBezTo>
                  <a:cubicBezTo>
                    <a:pt x="23" y="7"/>
                    <a:pt x="19" y="4"/>
                    <a:pt x="17" y="5"/>
                  </a:cubicBezTo>
                  <a:cubicBezTo>
                    <a:pt x="16" y="6"/>
                    <a:pt x="18" y="8"/>
                    <a:pt x="17" y="9"/>
                  </a:cubicBezTo>
                  <a:cubicBezTo>
                    <a:pt x="15" y="8"/>
                    <a:pt x="12" y="9"/>
                    <a:pt x="10" y="10"/>
                  </a:cubicBezTo>
                  <a:cubicBezTo>
                    <a:pt x="7" y="10"/>
                    <a:pt x="4" y="9"/>
                    <a:pt x="3" y="6"/>
                  </a:cubicBezTo>
                  <a:cubicBezTo>
                    <a:pt x="2" y="5"/>
                    <a:pt x="0" y="2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8" name="Freeform 728"/>
            <p:cNvSpPr>
              <a:spLocks noChangeAspect="1"/>
            </p:cNvSpPr>
            <p:nvPr/>
          </p:nvSpPr>
          <p:spPr bwMode="auto">
            <a:xfrm>
              <a:off x="5710238" y="1509713"/>
              <a:ext cx="60325" cy="30162"/>
            </a:xfrm>
            <a:custGeom>
              <a:avLst/>
              <a:gdLst>
                <a:gd name="T0" fmla="*/ 21406 w 31"/>
                <a:gd name="T1" fmla="*/ 3770 h 16"/>
                <a:gd name="T2" fmla="*/ 40865 w 31"/>
                <a:gd name="T3" fmla="*/ 3770 h 16"/>
                <a:gd name="T4" fmla="*/ 56433 w 31"/>
                <a:gd name="T5" fmla="*/ 3770 h 16"/>
                <a:gd name="T6" fmla="*/ 56433 w 31"/>
                <a:gd name="T7" fmla="*/ 15081 h 16"/>
                <a:gd name="T8" fmla="*/ 46703 w 31"/>
                <a:gd name="T9" fmla="*/ 28277 h 16"/>
                <a:gd name="T10" fmla="*/ 25298 w 31"/>
                <a:gd name="T11" fmla="*/ 22621 h 16"/>
                <a:gd name="T12" fmla="*/ 9730 w 31"/>
                <a:gd name="T13" fmla="*/ 28277 h 16"/>
                <a:gd name="T14" fmla="*/ 1946 w 31"/>
                <a:gd name="T15" fmla="*/ 20736 h 16"/>
                <a:gd name="T16" fmla="*/ 3892 w 31"/>
                <a:gd name="T17" fmla="*/ 5655 h 16"/>
                <a:gd name="T18" fmla="*/ 21406 w 31"/>
                <a:gd name="T19" fmla="*/ 3770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16"/>
                <a:gd name="T32" fmla="*/ 31 w 31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16">
                  <a:moveTo>
                    <a:pt x="11" y="2"/>
                  </a:moveTo>
                  <a:cubicBezTo>
                    <a:pt x="14" y="2"/>
                    <a:pt x="17" y="2"/>
                    <a:pt x="21" y="2"/>
                  </a:cubicBezTo>
                  <a:cubicBezTo>
                    <a:pt x="24" y="2"/>
                    <a:pt x="27" y="0"/>
                    <a:pt x="29" y="2"/>
                  </a:cubicBezTo>
                  <a:cubicBezTo>
                    <a:pt x="31" y="3"/>
                    <a:pt x="30" y="6"/>
                    <a:pt x="29" y="8"/>
                  </a:cubicBezTo>
                  <a:cubicBezTo>
                    <a:pt x="26" y="10"/>
                    <a:pt x="25" y="14"/>
                    <a:pt x="24" y="15"/>
                  </a:cubicBezTo>
                  <a:cubicBezTo>
                    <a:pt x="20" y="16"/>
                    <a:pt x="17" y="12"/>
                    <a:pt x="13" y="12"/>
                  </a:cubicBezTo>
                  <a:cubicBezTo>
                    <a:pt x="10" y="12"/>
                    <a:pt x="8" y="15"/>
                    <a:pt x="5" y="15"/>
                  </a:cubicBezTo>
                  <a:cubicBezTo>
                    <a:pt x="3" y="15"/>
                    <a:pt x="1" y="13"/>
                    <a:pt x="1" y="11"/>
                  </a:cubicBezTo>
                  <a:cubicBezTo>
                    <a:pt x="0" y="8"/>
                    <a:pt x="0" y="5"/>
                    <a:pt x="2" y="3"/>
                  </a:cubicBezTo>
                  <a:cubicBezTo>
                    <a:pt x="4" y="1"/>
                    <a:pt x="8" y="3"/>
                    <a:pt x="1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29" name="Freeform 729"/>
            <p:cNvSpPr>
              <a:spLocks noChangeAspect="1"/>
            </p:cNvSpPr>
            <p:nvPr/>
          </p:nvSpPr>
          <p:spPr bwMode="auto">
            <a:xfrm>
              <a:off x="5643563" y="1536700"/>
              <a:ext cx="26987" cy="17463"/>
            </a:xfrm>
            <a:custGeom>
              <a:avLst/>
              <a:gdLst>
                <a:gd name="T0" fmla="*/ 1928 w 14"/>
                <a:gd name="T1" fmla="*/ 1940 h 9"/>
                <a:gd name="T2" fmla="*/ 1928 w 14"/>
                <a:gd name="T3" fmla="*/ 11642 h 9"/>
                <a:gd name="T4" fmla="*/ 23132 w 14"/>
                <a:gd name="T5" fmla="*/ 15523 h 9"/>
                <a:gd name="T6" fmla="*/ 23132 w 14"/>
                <a:gd name="T7" fmla="*/ 1940 h 9"/>
                <a:gd name="T8" fmla="*/ 1928 w 14"/>
                <a:gd name="T9" fmla="*/ 194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9"/>
                <a:gd name="T17" fmla="*/ 14 w 1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9">
                  <a:moveTo>
                    <a:pt x="1" y="1"/>
                  </a:moveTo>
                  <a:cubicBezTo>
                    <a:pt x="1" y="1"/>
                    <a:pt x="0" y="5"/>
                    <a:pt x="1" y="6"/>
                  </a:cubicBezTo>
                  <a:cubicBezTo>
                    <a:pt x="4" y="8"/>
                    <a:pt x="8" y="9"/>
                    <a:pt x="12" y="8"/>
                  </a:cubicBezTo>
                  <a:cubicBezTo>
                    <a:pt x="14" y="7"/>
                    <a:pt x="14" y="2"/>
                    <a:pt x="12" y="1"/>
                  </a:cubicBezTo>
                  <a:cubicBezTo>
                    <a:pt x="9" y="0"/>
                    <a:pt x="4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0" name="Freeform 730"/>
            <p:cNvSpPr>
              <a:spLocks noChangeAspect="1"/>
            </p:cNvSpPr>
            <p:nvPr/>
          </p:nvSpPr>
          <p:spPr bwMode="auto">
            <a:xfrm>
              <a:off x="5610225" y="1498600"/>
              <a:ext cx="68263" cy="19050"/>
            </a:xfrm>
            <a:custGeom>
              <a:avLst/>
              <a:gdLst>
                <a:gd name="T0" fmla="*/ 5689 w 36"/>
                <a:gd name="T1" fmla="*/ 1905 h 10"/>
                <a:gd name="T2" fmla="*/ 1896 w 36"/>
                <a:gd name="T3" fmla="*/ 7620 h 10"/>
                <a:gd name="T4" fmla="*/ 13273 w 36"/>
                <a:gd name="T5" fmla="*/ 11430 h 10"/>
                <a:gd name="T6" fmla="*/ 28443 w 36"/>
                <a:gd name="T7" fmla="*/ 13335 h 10"/>
                <a:gd name="T8" fmla="*/ 45509 w 36"/>
                <a:gd name="T9" fmla="*/ 15240 h 10"/>
                <a:gd name="T10" fmla="*/ 54990 w 36"/>
                <a:gd name="T11" fmla="*/ 17145 h 10"/>
                <a:gd name="T12" fmla="*/ 62574 w 36"/>
                <a:gd name="T13" fmla="*/ 19050 h 10"/>
                <a:gd name="T14" fmla="*/ 66367 w 36"/>
                <a:gd name="T15" fmla="*/ 15240 h 10"/>
                <a:gd name="T16" fmla="*/ 51197 w 36"/>
                <a:gd name="T17" fmla="*/ 9525 h 10"/>
                <a:gd name="T18" fmla="*/ 34132 w 36"/>
                <a:gd name="T19" fmla="*/ 5715 h 10"/>
                <a:gd name="T20" fmla="*/ 24651 w 36"/>
                <a:gd name="T21" fmla="*/ 7620 h 10"/>
                <a:gd name="T22" fmla="*/ 13273 w 36"/>
                <a:gd name="T23" fmla="*/ 1905 h 10"/>
                <a:gd name="T24" fmla="*/ 5689 w 36"/>
                <a:gd name="T25" fmla="*/ 1905 h 1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6"/>
                <a:gd name="T40" fmla="*/ 0 h 10"/>
                <a:gd name="T41" fmla="*/ 36 w 36"/>
                <a:gd name="T42" fmla="*/ 10 h 1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6" h="10">
                  <a:moveTo>
                    <a:pt x="3" y="1"/>
                  </a:moveTo>
                  <a:cubicBezTo>
                    <a:pt x="2" y="1"/>
                    <a:pt x="0" y="3"/>
                    <a:pt x="1" y="4"/>
                  </a:cubicBezTo>
                  <a:cubicBezTo>
                    <a:pt x="2" y="5"/>
                    <a:pt x="5" y="5"/>
                    <a:pt x="7" y="6"/>
                  </a:cubicBezTo>
                  <a:cubicBezTo>
                    <a:pt x="10" y="7"/>
                    <a:pt x="12" y="7"/>
                    <a:pt x="15" y="7"/>
                  </a:cubicBezTo>
                  <a:cubicBezTo>
                    <a:pt x="18" y="8"/>
                    <a:pt x="21" y="8"/>
                    <a:pt x="24" y="8"/>
                  </a:cubicBezTo>
                  <a:cubicBezTo>
                    <a:pt x="26" y="8"/>
                    <a:pt x="28" y="8"/>
                    <a:pt x="29" y="9"/>
                  </a:cubicBezTo>
                  <a:cubicBezTo>
                    <a:pt x="31" y="9"/>
                    <a:pt x="32" y="10"/>
                    <a:pt x="33" y="10"/>
                  </a:cubicBezTo>
                  <a:cubicBezTo>
                    <a:pt x="34" y="10"/>
                    <a:pt x="36" y="9"/>
                    <a:pt x="35" y="8"/>
                  </a:cubicBezTo>
                  <a:cubicBezTo>
                    <a:pt x="33" y="6"/>
                    <a:pt x="30" y="6"/>
                    <a:pt x="27" y="5"/>
                  </a:cubicBezTo>
                  <a:cubicBezTo>
                    <a:pt x="24" y="4"/>
                    <a:pt x="21" y="3"/>
                    <a:pt x="18" y="3"/>
                  </a:cubicBezTo>
                  <a:cubicBezTo>
                    <a:pt x="17" y="3"/>
                    <a:pt x="15" y="4"/>
                    <a:pt x="13" y="4"/>
                  </a:cubicBezTo>
                  <a:cubicBezTo>
                    <a:pt x="11" y="3"/>
                    <a:pt x="9" y="2"/>
                    <a:pt x="7" y="1"/>
                  </a:cubicBezTo>
                  <a:cubicBezTo>
                    <a:pt x="5" y="1"/>
                    <a:pt x="4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1" name="Freeform 731"/>
            <p:cNvSpPr>
              <a:spLocks noChangeAspect="1"/>
            </p:cNvSpPr>
            <p:nvPr/>
          </p:nvSpPr>
          <p:spPr bwMode="auto">
            <a:xfrm>
              <a:off x="5600700" y="1519238"/>
              <a:ext cx="14288" cy="17462"/>
            </a:xfrm>
            <a:custGeom>
              <a:avLst/>
              <a:gdLst>
                <a:gd name="T0" fmla="*/ 1786 w 8"/>
                <a:gd name="T1" fmla="*/ 1940 h 9"/>
                <a:gd name="T2" fmla="*/ 3572 w 8"/>
                <a:gd name="T3" fmla="*/ 11641 h 9"/>
                <a:gd name="T4" fmla="*/ 12502 w 8"/>
                <a:gd name="T5" fmla="*/ 15522 h 9"/>
                <a:gd name="T6" fmla="*/ 8930 w 8"/>
                <a:gd name="T7" fmla="*/ 3880 h 9"/>
                <a:gd name="T8" fmla="*/ 1786 w 8"/>
                <a:gd name="T9" fmla="*/ 194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1" y="1"/>
                  </a:moveTo>
                  <a:cubicBezTo>
                    <a:pt x="0" y="3"/>
                    <a:pt x="1" y="5"/>
                    <a:pt x="2" y="6"/>
                  </a:cubicBezTo>
                  <a:cubicBezTo>
                    <a:pt x="3" y="7"/>
                    <a:pt x="6" y="9"/>
                    <a:pt x="7" y="8"/>
                  </a:cubicBezTo>
                  <a:cubicBezTo>
                    <a:pt x="8" y="6"/>
                    <a:pt x="7" y="3"/>
                    <a:pt x="5" y="2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2" name="Freeform 732"/>
            <p:cNvSpPr>
              <a:spLocks noChangeAspect="1"/>
            </p:cNvSpPr>
            <p:nvPr/>
          </p:nvSpPr>
          <p:spPr bwMode="auto">
            <a:xfrm>
              <a:off x="5710238" y="1547813"/>
              <a:ext cx="9525" cy="11112"/>
            </a:xfrm>
            <a:custGeom>
              <a:avLst/>
              <a:gdLst>
                <a:gd name="T0" fmla="*/ 5715 w 5"/>
                <a:gd name="T1" fmla="*/ 0 h 6"/>
                <a:gd name="T2" fmla="*/ 9525 w 5"/>
                <a:gd name="T3" fmla="*/ 7408 h 6"/>
                <a:gd name="T4" fmla="*/ 5715 w 5"/>
                <a:gd name="T5" fmla="*/ 9260 h 6"/>
                <a:gd name="T6" fmla="*/ 0 w 5"/>
                <a:gd name="T7" fmla="*/ 3704 h 6"/>
                <a:gd name="T8" fmla="*/ 5715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3" y="0"/>
                  </a:moveTo>
                  <a:cubicBezTo>
                    <a:pt x="4" y="1"/>
                    <a:pt x="5" y="3"/>
                    <a:pt x="5" y="4"/>
                  </a:cubicBezTo>
                  <a:cubicBezTo>
                    <a:pt x="5" y="5"/>
                    <a:pt x="4" y="6"/>
                    <a:pt x="3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3" name="Freeform 733"/>
            <p:cNvSpPr>
              <a:spLocks noChangeAspect="1"/>
            </p:cNvSpPr>
            <p:nvPr/>
          </p:nvSpPr>
          <p:spPr bwMode="auto">
            <a:xfrm>
              <a:off x="5603875" y="1509713"/>
              <a:ext cx="34925" cy="9525"/>
            </a:xfrm>
            <a:custGeom>
              <a:avLst/>
              <a:gdLst>
                <a:gd name="T0" fmla="*/ 1940 w 18"/>
                <a:gd name="T1" fmla="*/ 1905 h 5"/>
                <a:gd name="T2" fmla="*/ 1940 w 18"/>
                <a:gd name="T3" fmla="*/ 5715 h 5"/>
                <a:gd name="T4" fmla="*/ 27164 w 18"/>
                <a:gd name="T5" fmla="*/ 9525 h 5"/>
                <a:gd name="T6" fmla="*/ 32985 w 18"/>
                <a:gd name="T7" fmla="*/ 7620 h 5"/>
                <a:gd name="T8" fmla="*/ 27164 w 18"/>
                <a:gd name="T9" fmla="*/ 5715 h 5"/>
                <a:gd name="T10" fmla="*/ 9701 w 18"/>
                <a:gd name="T11" fmla="*/ 1905 h 5"/>
                <a:gd name="T12" fmla="*/ 1940 w 18"/>
                <a:gd name="T13" fmla="*/ 1905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5"/>
                <a:gd name="T23" fmla="*/ 18 w 18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5">
                  <a:moveTo>
                    <a:pt x="1" y="1"/>
                  </a:moveTo>
                  <a:cubicBezTo>
                    <a:pt x="0" y="1"/>
                    <a:pt x="0" y="3"/>
                    <a:pt x="1" y="3"/>
                  </a:cubicBezTo>
                  <a:cubicBezTo>
                    <a:pt x="5" y="4"/>
                    <a:pt x="9" y="5"/>
                    <a:pt x="14" y="5"/>
                  </a:cubicBezTo>
                  <a:cubicBezTo>
                    <a:pt x="15" y="5"/>
                    <a:pt x="17" y="5"/>
                    <a:pt x="17" y="4"/>
                  </a:cubicBezTo>
                  <a:cubicBezTo>
                    <a:pt x="18" y="3"/>
                    <a:pt x="15" y="3"/>
                    <a:pt x="14" y="3"/>
                  </a:cubicBezTo>
                  <a:cubicBezTo>
                    <a:pt x="11" y="2"/>
                    <a:pt x="8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4" name="Freeform 734"/>
            <p:cNvSpPr>
              <a:spLocks noChangeAspect="1"/>
            </p:cNvSpPr>
            <p:nvPr/>
          </p:nvSpPr>
          <p:spPr bwMode="auto">
            <a:xfrm>
              <a:off x="5630863" y="1482725"/>
              <a:ext cx="103187" cy="23813"/>
            </a:xfrm>
            <a:custGeom>
              <a:avLst/>
              <a:gdLst>
                <a:gd name="T0" fmla="*/ 1911 w 54"/>
                <a:gd name="T1" fmla="*/ 3969 h 12"/>
                <a:gd name="T2" fmla="*/ 1911 w 54"/>
                <a:gd name="T3" fmla="*/ 9922 h 12"/>
                <a:gd name="T4" fmla="*/ 9554 w 54"/>
                <a:gd name="T5" fmla="*/ 11907 h 12"/>
                <a:gd name="T6" fmla="*/ 19109 w 54"/>
                <a:gd name="T7" fmla="*/ 9922 h 12"/>
                <a:gd name="T8" fmla="*/ 24841 w 54"/>
                <a:gd name="T9" fmla="*/ 11907 h 12"/>
                <a:gd name="T10" fmla="*/ 36307 w 54"/>
                <a:gd name="T11" fmla="*/ 11907 h 12"/>
                <a:gd name="T12" fmla="*/ 45861 w 54"/>
                <a:gd name="T13" fmla="*/ 15875 h 12"/>
                <a:gd name="T14" fmla="*/ 57326 w 54"/>
                <a:gd name="T15" fmla="*/ 21829 h 12"/>
                <a:gd name="T16" fmla="*/ 72613 w 54"/>
                <a:gd name="T17" fmla="*/ 21829 h 12"/>
                <a:gd name="T18" fmla="*/ 91722 w 54"/>
                <a:gd name="T19" fmla="*/ 21829 h 12"/>
                <a:gd name="T20" fmla="*/ 103187 w 54"/>
                <a:gd name="T21" fmla="*/ 17860 h 12"/>
                <a:gd name="T22" fmla="*/ 87900 w 54"/>
                <a:gd name="T23" fmla="*/ 9922 h 12"/>
                <a:gd name="T24" fmla="*/ 68791 w 54"/>
                <a:gd name="T25" fmla="*/ 9922 h 12"/>
                <a:gd name="T26" fmla="*/ 43950 w 54"/>
                <a:gd name="T27" fmla="*/ 1984 h 12"/>
                <a:gd name="T28" fmla="*/ 26752 w 54"/>
                <a:gd name="T29" fmla="*/ 1984 h 12"/>
                <a:gd name="T30" fmla="*/ 17198 w 54"/>
                <a:gd name="T31" fmla="*/ 0 h 12"/>
                <a:gd name="T32" fmla="*/ 15287 w 54"/>
                <a:gd name="T33" fmla="*/ 5953 h 12"/>
                <a:gd name="T34" fmla="*/ 7643 w 54"/>
                <a:gd name="T35" fmla="*/ 3969 h 12"/>
                <a:gd name="T36" fmla="*/ 1911 w 54"/>
                <a:gd name="T37" fmla="*/ 3969 h 1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4"/>
                <a:gd name="T58" fmla="*/ 0 h 12"/>
                <a:gd name="T59" fmla="*/ 54 w 54"/>
                <a:gd name="T60" fmla="*/ 12 h 1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4" h="12">
                  <a:moveTo>
                    <a:pt x="1" y="2"/>
                  </a:moveTo>
                  <a:cubicBezTo>
                    <a:pt x="0" y="2"/>
                    <a:pt x="0" y="4"/>
                    <a:pt x="1" y="5"/>
                  </a:cubicBezTo>
                  <a:cubicBezTo>
                    <a:pt x="2" y="6"/>
                    <a:pt x="4" y="6"/>
                    <a:pt x="5" y="6"/>
                  </a:cubicBezTo>
                  <a:cubicBezTo>
                    <a:pt x="7" y="6"/>
                    <a:pt x="8" y="5"/>
                    <a:pt x="10" y="5"/>
                  </a:cubicBezTo>
                  <a:cubicBezTo>
                    <a:pt x="11" y="5"/>
                    <a:pt x="12" y="6"/>
                    <a:pt x="13" y="6"/>
                  </a:cubicBezTo>
                  <a:cubicBezTo>
                    <a:pt x="15" y="6"/>
                    <a:pt x="17" y="6"/>
                    <a:pt x="19" y="6"/>
                  </a:cubicBezTo>
                  <a:cubicBezTo>
                    <a:pt x="20" y="6"/>
                    <a:pt x="22" y="7"/>
                    <a:pt x="24" y="8"/>
                  </a:cubicBezTo>
                  <a:cubicBezTo>
                    <a:pt x="26" y="9"/>
                    <a:pt x="28" y="10"/>
                    <a:pt x="30" y="11"/>
                  </a:cubicBezTo>
                  <a:cubicBezTo>
                    <a:pt x="33" y="11"/>
                    <a:pt x="35" y="10"/>
                    <a:pt x="38" y="11"/>
                  </a:cubicBezTo>
                  <a:cubicBezTo>
                    <a:pt x="41" y="11"/>
                    <a:pt x="45" y="12"/>
                    <a:pt x="48" y="11"/>
                  </a:cubicBezTo>
                  <a:cubicBezTo>
                    <a:pt x="50" y="11"/>
                    <a:pt x="54" y="11"/>
                    <a:pt x="54" y="9"/>
                  </a:cubicBezTo>
                  <a:cubicBezTo>
                    <a:pt x="53" y="6"/>
                    <a:pt x="49" y="6"/>
                    <a:pt x="46" y="5"/>
                  </a:cubicBezTo>
                  <a:cubicBezTo>
                    <a:pt x="43" y="4"/>
                    <a:pt x="39" y="5"/>
                    <a:pt x="36" y="5"/>
                  </a:cubicBezTo>
                  <a:cubicBezTo>
                    <a:pt x="31" y="4"/>
                    <a:pt x="27" y="2"/>
                    <a:pt x="23" y="1"/>
                  </a:cubicBezTo>
                  <a:cubicBezTo>
                    <a:pt x="20" y="1"/>
                    <a:pt x="17" y="1"/>
                    <a:pt x="14" y="1"/>
                  </a:cubicBezTo>
                  <a:cubicBezTo>
                    <a:pt x="12" y="1"/>
                    <a:pt x="10" y="0"/>
                    <a:pt x="9" y="0"/>
                  </a:cubicBezTo>
                  <a:cubicBezTo>
                    <a:pt x="8" y="0"/>
                    <a:pt x="9" y="2"/>
                    <a:pt x="8" y="3"/>
                  </a:cubicBezTo>
                  <a:cubicBezTo>
                    <a:pt x="7" y="3"/>
                    <a:pt x="6" y="3"/>
                    <a:pt x="4" y="2"/>
                  </a:cubicBezTo>
                  <a:cubicBezTo>
                    <a:pt x="3" y="2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5" name="Freeform 735"/>
            <p:cNvSpPr>
              <a:spLocks noChangeAspect="1"/>
            </p:cNvSpPr>
            <p:nvPr/>
          </p:nvSpPr>
          <p:spPr bwMode="auto">
            <a:xfrm>
              <a:off x="5762625" y="1468438"/>
              <a:ext cx="28575" cy="11112"/>
            </a:xfrm>
            <a:custGeom>
              <a:avLst/>
              <a:gdLst>
                <a:gd name="T0" fmla="*/ 15240 w 15"/>
                <a:gd name="T1" fmla="*/ 1852 h 6"/>
                <a:gd name="T2" fmla="*/ 11430 w 15"/>
                <a:gd name="T3" fmla="*/ 3704 h 6"/>
                <a:gd name="T4" fmla="*/ 1905 w 15"/>
                <a:gd name="T5" fmla="*/ 3704 h 6"/>
                <a:gd name="T6" fmla="*/ 9525 w 15"/>
                <a:gd name="T7" fmla="*/ 7408 h 6"/>
                <a:gd name="T8" fmla="*/ 17145 w 15"/>
                <a:gd name="T9" fmla="*/ 11112 h 6"/>
                <a:gd name="T10" fmla="*/ 26670 w 15"/>
                <a:gd name="T11" fmla="*/ 5556 h 6"/>
                <a:gd name="T12" fmla="*/ 22860 w 15"/>
                <a:gd name="T13" fmla="*/ 0 h 6"/>
                <a:gd name="T14" fmla="*/ 15240 w 15"/>
                <a:gd name="T15" fmla="*/ 1852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6"/>
                <a:gd name="T26" fmla="*/ 15 w 1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6">
                  <a:moveTo>
                    <a:pt x="8" y="1"/>
                  </a:moveTo>
                  <a:cubicBezTo>
                    <a:pt x="7" y="2"/>
                    <a:pt x="7" y="2"/>
                    <a:pt x="6" y="2"/>
                  </a:cubicBezTo>
                  <a:cubicBezTo>
                    <a:pt x="4" y="2"/>
                    <a:pt x="2" y="1"/>
                    <a:pt x="1" y="2"/>
                  </a:cubicBezTo>
                  <a:cubicBezTo>
                    <a:pt x="0" y="4"/>
                    <a:pt x="3" y="3"/>
                    <a:pt x="5" y="4"/>
                  </a:cubicBezTo>
                  <a:cubicBezTo>
                    <a:pt x="6" y="5"/>
                    <a:pt x="7" y="6"/>
                    <a:pt x="9" y="6"/>
                  </a:cubicBezTo>
                  <a:cubicBezTo>
                    <a:pt x="11" y="6"/>
                    <a:pt x="13" y="5"/>
                    <a:pt x="14" y="3"/>
                  </a:cubicBezTo>
                  <a:cubicBezTo>
                    <a:pt x="15" y="2"/>
                    <a:pt x="13" y="0"/>
                    <a:pt x="12" y="0"/>
                  </a:cubicBezTo>
                  <a:cubicBezTo>
                    <a:pt x="10" y="0"/>
                    <a:pt x="9" y="1"/>
                    <a:pt x="8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6" name="Freeform 736"/>
            <p:cNvSpPr>
              <a:spLocks noChangeAspect="1"/>
            </p:cNvSpPr>
            <p:nvPr/>
          </p:nvSpPr>
          <p:spPr bwMode="auto">
            <a:xfrm>
              <a:off x="5734050" y="1490663"/>
              <a:ext cx="31750" cy="20637"/>
            </a:xfrm>
            <a:custGeom>
              <a:avLst/>
              <a:gdLst>
                <a:gd name="T0" fmla="*/ 1868 w 17"/>
                <a:gd name="T1" fmla="*/ 16885 h 11"/>
                <a:gd name="T2" fmla="*/ 9338 w 17"/>
                <a:gd name="T3" fmla="*/ 11257 h 11"/>
                <a:gd name="T4" fmla="*/ 14941 w 17"/>
                <a:gd name="T5" fmla="*/ 1876 h 11"/>
                <a:gd name="T6" fmla="*/ 28015 w 17"/>
                <a:gd name="T7" fmla="*/ 1876 h 11"/>
                <a:gd name="T8" fmla="*/ 22412 w 17"/>
                <a:gd name="T9" fmla="*/ 7504 h 11"/>
                <a:gd name="T10" fmla="*/ 16809 w 17"/>
                <a:gd name="T11" fmla="*/ 15009 h 11"/>
                <a:gd name="T12" fmla="*/ 11206 w 17"/>
                <a:gd name="T13" fmla="*/ 18761 h 11"/>
                <a:gd name="T14" fmla="*/ 1868 w 17"/>
                <a:gd name="T15" fmla="*/ 16885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1"/>
                <a:gd name="T26" fmla="*/ 17 w 17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1">
                  <a:moveTo>
                    <a:pt x="1" y="9"/>
                  </a:moveTo>
                  <a:cubicBezTo>
                    <a:pt x="0" y="8"/>
                    <a:pt x="4" y="7"/>
                    <a:pt x="5" y="6"/>
                  </a:cubicBezTo>
                  <a:cubicBezTo>
                    <a:pt x="6" y="5"/>
                    <a:pt x="6" y="2"/>
                    <a:pt x="8" y="1"/>
                  </a:cubicBezTo>
                  <a:cubicBezTo>
                    <a:pt x="10" y="0"/>
                    <a:pt x="13" y="0"/>
                    <a:pt x="15" y="1"/>
                  </a:cubicBezTo>
                  <a:cubicBezTo>
                    <a:pt x="17" y="2"/>
                    <a:pt x="13" y="3"/>
                    <a:pt x="12" y="4"/>
                  </a:cubicBezTo>
                  <a:cubicBezTo>
                    <a:pt x="11" y="6"/>
                    <a:pt x="10" y="7"/>
                    <a:pt x="9" y="8"/>
                  </a:cubicBezTo>
                  <a:cubicBezTo>
                    <a:pt x="8" y="9"/>
                    <a:pt x="7" y="10"/>
                    <a:pt x="6" y="10"/>
                  </a:cubicBezTo>
                  <a:cubicBezTo>
                    <a:pt x="4" y="10"/>
                    <a:pt x="1" y="11"/>
                    <a:pt x="1" y="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7" name="Freeform 737"/>
            <p:cNvSpPr>
              <a:spLocks noChangeAspect="1"/>
            </p:cNvSpPr>
            <p:nvPr/>
          </p:nvSpPr>
          <p:spPr bwMode="auto">
            <a:xfrm>
              <a:off x="5640388" y="1517650"/>
              <a:ext cx="22225" cy="7938"/>
            </a:xfrm>
            <a:custGeom>
              <a:avLst/>
              <a:gdLst>
                <a:gd name="T0" fmla="*/ 1852 w 12"/>
                <a:gd name="T1" fmla="*/ 1985 h 4"/>
                <a:gd name="T2" fmla="*/ 1852 w 12"/>
                <a:gd name="T3" fmla="*/ 5953 h 4"/>
                <a:gd name="T4" fmla="*/ 20373 w 12"/>
                <a:gd name="T5" fmla="*/ 5953 h 4"/>
                <a:gd name="T6" fmla="*/ 22225 w 12"/>
                <a:gd name="T7" fmla="*/ 1985 h 4"/>
                <a:gd name="T8" fmla="*/ 9260 w 12"/>
                <a:gd name="T9" fmla="*/ 0 h 4"/>
                <a:gd name="T10" fmla="*/ 1852 w 12"/>
                <a:gd name="T11" fmla="*/ 1985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4"/>
                <a:gd name="T20" fmla="*/ 12 w 12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4">
                  <a:moveTo>
                    <a:pt x="1" y="1"/>
                  </a:moveTo>
                  <a:cubicBezTo>
                    <a:pt x="0" y="1"/>
                    <a:pt x="0" y="3"/>
                    <a:pt x="1" y="3"/>
                  </a:cubicBezTo>
                  <a:cubicBezTo>
                    <a:pt x="4" y="4"/>
                    <a:pt x="7" y="4"/>
                    <a:pt x="11" y="3"/>
                  </a:cubicBezTo>
                  <a:cubicBezTo>
                    <a:pt x="12" y="3"/>
                    <a:pt x="12" y="1"/>
                    <a:pt x="12" y="1"/>
                  </a:cubicBezTo>
                  <a:cubicBezTo>
                    <a:pt x="10" y="0"/>
                    <a:pt x="7" y="0"/>
                    <a:pt x="5" y="0"/>
                  </a:cubicBezTo>
                  <a:cubicBezTo>
                    <a:pt x="3" y="0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8" name="Freeform 738"/>
            <p:cNvSpPr>
              <a:spLocks noChangeAspect="1"/>
            </p:cNvSpPr>
            <p:nvPr/>
          </p:nvSpPr>
          <p:spPr bwMode="auto">
            <a:xfrm>
              <a:off x="5681663" y="1509713"/>
              <a:ext cx="19050" cy="9525"/>
            </a:xfrm>
            <a:custGeom>
              <a:avLst/>
              <a:gdLst>
                <a:gd name="T0" fmla="*/ 1905 w 10"/>
                <a:gd name="T1" fmla="*/ 3810 h 5"/>
                <a:gd name="T2" fmla="*/ 0 w 10"/>
                <a:gd name="T3" fmla="*/ 7620 h 5"/>
                <a:gd name="T4" fmla="*/ 11430 w 10"/>
                <a:gd name="T5" fmla="*/ 7620 h 5"/>
                <a:gd name="T6" fmla="*/ 19050 w 10"/>
                <a:gd name="T7" fmla="*/ 5715 h 5"/>
                <a:gd name="T8" fmla="*/ 15240 w 10"/>
                <a:gd name="T9" fmla="*/ 0 h 5"/>
                <a:gd name="T10" fmla="*/ 5715 w 10"/>
                <a:gd name="T11" fmla="*/ 1905 h 5"/>
                <a:gd name="T12" fmla="*/ 1905 w 10"/>
                <a:gd name="T13" fmla="*/ 381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5"/>
                <a:gd name="T23" fmla="*/ 10 w 10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5">
                  <a:moveTo>
                    <a:pt x="1" y="2"/>
                  </a:moveTo>
                  <a:cubicBezTo>
                    <a:pt x="0" y="2"/>
                    <a:pt x="0" y="3"/>
                    <a:pt x="0" y="4"/>
                  </a:cubicBezTo>
                  <a:cubicBezTo>
                    <a:pt x="2" y="5"/>
                    <a:pt x="4" y="5"/>
                    <a:pt x="6" y="4"/>
                  </a:cubicBezTo>
                  <a:cubicBezTo>
                    <a:pt x="7" y="4"/>
                    <a:pt x="9" y="4"/>
                    <a:pt x="10" y="3"/>
                  </a:cubicBezTo>
                  <a:cubicBezTo>
                    <a:pt x="10" y="2"/>
                    <a:pt x="9" y="0"/>
                    <a:pt x="8" y="0"/>
                  </a:cubicBezTo>
                  <a:cubicBezTo>
                    <a:pt x="6" y="0"/>
                    <a:pt x="5" y="0"/>
                    <a:pt x="3" y="1"/>
                  </a:cubicBezTo>
                  <a:cubicBezTo>
                    <a:pt x="2" y="1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39" name="Freeform 739"/>
            <p:cNvSpPr>
              <a:spLocks noChangeAspect="1"/>
            </p:cNvSpPr>
            <p:nvPr/>
          </p:nvSpPr>
          <p:spPr bwMode="auto">
            <a:xfrm>
              <a:off x="5648325" y="1498600"/>
              <a:ext cx="33338" cy="12700"/>
            </a:xfrm>
            <a:custGeom>
              <a:avLst/>
              <a:gdLst>
                <a:gd name="T0" fmla="*/ 0 w 18"/>
                <a:gd name="T1" fmla="*/ 0 h 7"/>
                <a:gd name="T2" fmla="*/ 0 w 18"/>
                <a:gd name="T3" fmla="*/ 1814 h 7"/>
                <a:gd name="T4" fmla="*/ 20373 w 18"/>
                <a:gd name="T5" fmla="*/ 9071 h 7"/>
                <a:gd name="T6" fmla="*/ 29634 w 18"/>
                <a:gd name="T7" fmla="*/ 12700 h 7"/>
                <a:gd name="T8" fmla="*/ 33338 w 18"/>
                <a:gd name="T9" fmla="*/ 10886 h 7"/>
                <a:gd name="T10" fmla="*/ 16669 w 18"/>
                <a:gd name="T11" fmla="*/ 3629 h 7"/>
                <a:gd name="T12" fmla="*/ 0 w 18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7"/>
                <a:gd name="T23" fmla="*/ 18 w 18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7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4" y="3"/>
                    <a:pt x="8" y="3"/>
                    <a:pt x="11" y="5"/>
                  </a:cubicBezTo>
                  <a:cubicBezTo>
                    <a:pt x="13" y="5"/>
                    <a:pt x="15" y="7"/>
                    <a:pt x="16" y="7"/>
                  </a:cubicBezTo>
                  <a:cubicBezTo>
                    <a:pt x="17" y="7"/>
                    <a:pt x="18" y="6"/>
                    <a:pt x="18" y="6"/>
                  </a:cubicBezTo>
                  <a:cubicBezTo>
                    <a:pt x="15" y="4"/>
                    <a:pt x="12" y="3"/>
                    <a:pt x="9" y="2"/>
                  </a:cubicBezTo>
                  <a:cubicBezTo>
                    <a:pt x="6" y="1"/>
                    <a:pt x="3" y="0"/>
                    <a:pt x="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0" name="Freeform 740"/>
            <p:cNvSpPr>
              <a:spLocks noChangeAspect="1"/>
            </p:cNvSpPr>
            <p:nvPr/>
          </p:nvSpPr>
          <p:spPr bwMode="auto">
            <a:xfrm>
              <a:off x="5465763" y="1508125"/>
              <a:ext cx="96837" cy="46038"/>
            </a:xfrm>
            <a:custGeom>
              <a:avLst/>
              <a:gdLst>
                <a:gd name="T0" fmla="*/ 94938 w 51"/>
                <a:gd name="T1" fmla="*/ 9591 h 24"/>
                <a:gd name="T2" fmla="*/ 94938 w 51"/>
                <a:gd name="T3" fmla="*/ 15346 h 24"/>
                <a:gd name="T4" fmla="*/ 83546 w 51"/>
                <a:gd name="T5" fmla="*/ 19183 h 24"/>
                <a:gd name="T6" fmla="*/ 66457 w 51"/>
                <a:gd name="T7" fmla="*/ 19183 h 24"/>
                <a:gd name="T8" fmla="*/ 56963 w 51"/>
                <a:gd name="T9" fmla="*/ 26855 h 24"/>
                <a:gd name="T10" fmla="*/ 41773 w 51"/>
                <a:gd name="T11" fmla="*/ 23019 h 24"/>
                <a:gd name="T12" fmla="*/ 36077 w 51"/>
                <a:gd name="T13" fmla="*/ 28774 h 24"/>
                <a:gd name="T14" fmla="*/ 45570 w 51"/>
                <a:gd name="T15" fmla="*/ 36447 h 24"/>
                <a:gd name="T16" fmla="*/ 36077 w 51"/>
                <a:gd name="T17" fmla="*/ 36447 h 24"/>
                <a:gd name="T18" fmla="*/ 28481 w 51"/>
                <a:gd name="T19" fmla="*/ 40283 h 24"/>
                <a:gd name="T20" fmla="*/ 22785 w 51"/>
                <a:gd name="T21" fmla="*/ 40283 h 24"/>
                <a:gd name="T22" fmla="*/ 15190 w 51"/>
                <a:gd name="T23" fmla="*/ 44120 h 24"/>
                <a:gd name="T24" fmla="*/ 20886 w 51"/>
                <a:gd name="T25" fmla="*/ 34529 h 24"/>
                <a:gd name="T26" fmla="*/ 22785 w 51"/>
                <a:gd name="T27" fmla="*/ 30692 h 24"/>
                <a:gd name="T28" fmla="*/ 11393 w 51"/>
                <a:gd name="T29" fmla="*/ 32610 h 24"/>
                <a:gd name="T30" fmla="*/ 7595 w 51"/>
                <a:gd name="T31" fmla="*/ 40283 h 24"/>
                <a:gd name="T32" fmla="*/ 0 w 51"/>
                <a:gd name="T33" fmla="*/ 30692 h 24"/>
                <a:gd name="T34" fmla="*/ 5696 w 51"/>
                <a:gd name="T35" fmla="*/ 24937 h 24"/>
                <a:gd name="T36" fmla="*/ 11393 w 51"/>
                <a:gd name="T37" fmla="*/ 28774 h 24"/>
                <a:gd name="T38" fmla="*/ 22785 w 51"/>
                <a:gd name="T39" fmla="*/ 26855 h 24"/>
                <a:gd name="T40" fmla="*/ 17089 w 51"/>
                <a:gd name="T41" fmla="*/ 23019 h 24"/>
                <a:gd name="T42" fmla="*/ 22785 w 51"/>
                <a:gd name="T43" fmla="*/ 21101 h 24"/>
                <a:gd name="T44" fmla="*/ 17089 w 51"/>
                <a:gd name="T45" fmla="*/ 19183 h 24"/>
                <a:gd name="T46" fmla="*/ 26583 w 51"/>
                <a:gd name="T47" fmla="*/ 15346 h 24"/>
                <a:gd name="T48" fmla="*/ 34178 w 51"/>
                <a:gd name="T49" fmla="*/ 19183 h 24"/>
                <a:gd name="T50" fmla="*/ 43672 w 51"/>
                <a:gd name="T51" fmla="*/ 15346 h 24"/>
                <a:gd name="T52" fmla="*/ 45570 w 51"/>
                <a:gd name="T53" fmla="*/ 11510 h 24"/>
                <a:gd name="T54" fmla="*/ 39874 w 51"/>
                <a:gd name="T55" fmla="*/ 7673 h 24"/>
                <a:gd name="T56" fmla="*/ 41773 w 51"/>
                <a:gd name="T57" fmla="*/ 3837 h 24"/>
                <a:gd name="T58" fmla="*/ 60760 w 51"/>
                <a:gd name="T59" fmla="*/ 0 h 24"/>
                <a:gd name="T60" fmla="*/ 66457 w 51"/>
                <a:gd name="T61" fmla="*/ 3837 h 24"/>
                <a:gd name="T62" fmla="*/ 74052 w 51"/>
                <a:gd name="T63" fmla="*/ 1918 h 24"/>
                <a:gd name="T64" fmla="*/ 75951 w 51"/>
                <a:gd name="T65" fmla="*/ 3837 h 24"/>
                <a:gd name="T66" fmla="*/ 64558 w 51"/>
                <a:gd name="T67" fmla="*/ 9591 h 24"/>
                <a:gd name="T68" fmla="*/ 66457 w 51"/>
                <a:gd name="T69" fmla="*/ 11510 h 24"/>
                <a:gd name="T70" fmla="*/ 81647 w 51"/>
                <a:gd name="T71" fmla="*/ 7673 h 24"/>
                <a:gd name="T72" fmla="*/ 94938 w 51"/>
                <a:gd name="T73" fmla="*/ 9591 h 2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1"/>
                <a:gd name="T112" fmla="*/ 0 h 24"/>
                <a:gd name="T113" fmla="*/ 51 w 51"/>
                <a:gd name="T114" fmla="*/ 24 h 2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1" h="24">
                  <a:moveTo>
                    <a:pt x="50" y="5"/>
                  </a:moveTo>
                  <a:cubicBezTo>
                    <a:pt x="51" y="6"/>
                    <a:pt x="51" y="8"/>
                    <a:pt x="50" y="8"/>
                  </a:cubicBezTo>
                  <a:cubicBezTo>
                    <a:pt x="48" y="9"/>
                    <a:pt x="46" y="10"/>
                    <a:pt x="44" y="10"/>
                  </a:cubicBezTo>
                  <a:cubicBezTo>
                    <a:pt x="41" y="10"/>
                    <a:pt x="38" y="9"/>
                    <a:pt x="35" y="10"/>
                  </a:cubicBezTo>
                  <a:cubicBezTo>
                    <a:pt x="33" y="11"/>
                    <a:pt x="32" y="14"/>
                    <a:pt x="30" y="14"/>
                  </a:cubicBezTo>
                  <a:cubicBezTo>
                    <a:pt x="27" y="14"/>
                    <a:pt x="25" y="12"/>
                    <a:pt x="22" y="12"/>
                  </a:cubicBezTo>
                  <a:cubicBezTo>
                    <a:pt x="21" y="13"/>
                    <a:pt x="18" y="14"/>
                    <a:pt x="19" y="15"/>
                  </a:cubicBezTo>
                  <a:cubicBezTo>
                    <a:pt x="19" y="17"/>
                    <a:pt x="24" y="17"/>
                    <a:pt x="24" y="19"/>
                  </a:cubicBezTo>
                  <a:cubicBezTo>
                    <a:pt x="24" y="20"/>
                    <a:pt x="20" y="19"/>
                    <a:pt x="19" y="19"/>
                  </a:cubicBezTo>
                  <a:cubicBezTo>
                    <a:pt x="18" y="20"/>
                    <a:pt x="16" y="21"/>
                    <a:pt x="15" y="21"/>
                  </a:cubicBezTo>
                  <a:cubicBezTo>
                    <a:pt x="14" y="21"/>
                    <a:pt x="13" y="21"/>
                    <a:pt x="12" y="21"/>
                  </a:cubicBezTo>
                  <a:cubicBezTo>
                    <a:pt x="10" y="21"/>
                    <a:pt x="8" y="24"/>
                    <a:pt x="8" y="23"/>
                  </a:cubicBezTo>
                  <a:cubicBezTo>
                    <a:pt x="7" y="21"/>
                    <a:pt x="10" y="19"/>
                    <a:pt x="11" y="18"/>
                  </a:cubicBezTo>
                  <a:cubicBezTo>
                    <a:pt x="11" y="17"/>
                    <a:pt x="13" y="16"/>
                    <a:pt x="12" y="16"/>
                  </a:cubicBezTo>
                  <a:cubicBezTo>
                    <a:pt x="10" y="16"/>
                    <a:pt x="8" y="16"/>
                    <a:pt x="6" y="17"/>
                  </a:cubicBezTo>
                  <a:cubicBezTo>
                    <a:pt x="5" y="18"/>
                    <a:pt x="5" y="21"/>
                    <a:pt x="4" y="21"/>
                  </a:cubicBezTo>
                  <a:cubicBezTo>
                    <a:pt x="2" y="21"/>
                    <a:pt x="0" y="18"/>
                    <a:pt x="0" y="16"/>
                  </a:cubicBezTo>
                  <a:cubicBezTo>
                    <a:pt x="0" y="15"/>
                    <a:pt x="2" y="13"/>
                    <a:pt x="3" y="13"/>
                  </a:cubicBezTo>
                  <a:cubicBezTo>
                    <a:pt x="4" y="13"/>
                    <a:pt x="5" y="14"/>
                    <a:pt x="6" y="15"/>
                  </a:cubicBezTo>
                  <a:cubicBezTo>
                    <a:pt x="8" y="15"/>
                    <a:pt x="10" y="15"/>
                    <a:pt x="12" y="14"/>
                  </a:cubicBezTo>
                  <a:cubicBezTo>
                    <a:pt x="13" y="13"/>
                    <a:pt x="9" y="13"/>
                    <a:pt x="9" y="12"/>
                  </a:cubicBezTo>
                  <a:cubicBezTo>
                    <a:pt x="9" y="11"/>
                    <a:pt x="12" y="12"/>
                    <a:pt x="12" y="11"/>
                  </a:cubicBezTo>
                  <a:cubicBezTo>
                    <a:pt x="11" y="10"/>
                    <a:pt x="8" y="10"/>
                    <a:pt x="9" y="10"/>
                  </a:cubicBezTo>
                  <a:cubicBezTo>
                    <a:pt x="10" y="8"/>
                    <a:pt x="12" y="8"/>
                    <a:pt x="14" y="8"/>
                  </a:cubicBezTo>
                  <a:cubicBezTo>
                    <a:pt x="15" y="8"/>
                    <a:pt x="16" y="10"/>
                    <a:pt x="18" y="10"/>
                  </a:cubicBezTo>
                  <a:cubicBezTo>
                    <a:pt x="20" y="10"/>
                    <a:pt x="22" y="10"/>
                    <a:pt x="23" y="8"/>
                  </a:cubicBezTo>
                  <a:cubicBezTo>
                    <a:pt x="24" y="8"/>
                    <a:pt x="24" y="7"/>
                    <a:pt x="24" y="6"/>
                  </a:cubicBezTo>
                  <a:cubicBezTo>
                    <a:pt x="24" y="5"/>
                    <a:pt x="22" y="5"/>
                    <a:pt x="21" y="4"/>
                  </a:cubicBezTo>
                  <a:cubicBezTo>
                    <a:pt x="21" y="3"/>
                    <a:pt x="22" y="2"/>
                    <a:pt x="22" y="2"/>
                  </a:cubicBezTo>
                  <a:cubicBezTo>
                    <a:pt x="25" y="1"/>
                    <a:pt x="29" y="0"/>
                    <a:pt x="32" y="0"/>
                  </a:cubicBezTo>
                  <a:cubicBezTo>
                    <a:pt x="33" y="0"/>
                    <a:pt x="34" y="2"/>
                    <a:pt x="35" y="2"/>
                  </a:cubicBezTo>
                  <a:cubicBezTo>
                    <a:pt x="36" y="2"/>
                    <a:pt x="37" y="1"/>
                    <a:pt x="39" y="1"/>
                  </a:cubicBezTo>
                  <a:cubicBezTo>
                    <a:pt x="39" y="1"/>
                    <a:pt x="40" y="2"/>
                    <a:pt x="40" y="2"/>
                  </a:cubicBezTo>
                  <a:cubicBezTo>
                    <a:pt x="38" y="4"/>
                    <a:pt x="35" y="3"/>
                    <a:pt x="34" y="5"/>
                  </a:cubicBezTo>
                  <a:cubicBezTo>
                    <a:pt x="33" y="5"/>
                    <a:pt x="34" y="6"/>
                    <a:pt x="35" y="6"/>
                  </a:cubicBezTo>
                  <a:cubicBezTo>
                    <a:pt x="37" y="6"/>
                    <a:pt x="40" y="4"/>
                    <a:pt x="43" y="4"/>
                  </a:cubicBezTo>
                  <a:cubicBezTo>
                    <a:pt x="45" y="4"/>
                    <a:pt x="48" y="4"/>
                    <a:pt x="50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1" name="Freeform 741"/>
            <p:cNvSpPr>
              <a:spLocks noChangeAspect="1"/>
            </p:cNvSpPr>
            <p:nvPr/>
          </p:nvSpPr>
          <p:spPr bwMode="auto">
            <a:xfrm>
              <a:off x="5427663" y="1509713"/>
              <a:ext cx="73025" cy="22225"/>
            </a:xfrm>
            <a:custGeom>
              <a:avLst/>
              <a:gdLst>
                <a:gd name="T0" fmla="*/ 41194 w 39"/>
                <a:gd name="T1" fmla="*/ 0 h 12"/>
                <a:gd name="T2" fmla="*/ 67408 w 39"/>
                <a:gd name="T3" fmla="*/ 1852 h 12"/>
                <a:gd name="T4" fmla="*/ 73025 w 39"/>
                <a:gd name="T5" fmla="*/ 9260 h 12"/>
                <a:gd name="T6" fmla="*/ 65535 w 39"/>
                <a:gd name="T7" fmla="*/ 9260 h 12"/>
                <a:gd name="T8" fmla="*/ 52428 w 39"/>
                <a:gd name="T9" fmla="*/ 5556 h 12"/>
                <a:gd name="T10" fmla="*/ 46811 w 39"/>
                <a:gd name="T11" fmla="*/ 12965 h 12"/>
                <a:gd name="T12" fmla="*/ 39321 w 39"/>
                <a:gd name="T13" fmla="*/ 11113 h 12"/>
                <a:gd name="T14" fmla="*/ 28087 w 39"/>
                <a:gd name="T15" fmla="*/ 20373 h 12"/>
                <a:gd name="T16" fmla="*/ 20597 w 39"/>
                <a:gd name="T17" fmla="*/ 22225 h 12"/>
                <a:gd name="T18" fmla="*/ 18724 w 39"/>
                <a:gd name="T19" fmla="*/ 18521 h 12"/>
                <a:gd name="T20" fmla="*/ 11235 w 39"/>
                <a:gd name="T21" fmla="*/ 16669 h 12"/>
                <a:gd name="T22" fmla="*/ 1872 w 39"/>
                <a:gd name="T23" fmla="*/ 16669 h 12"/>
                <a:gd name="T24" fmla="*/ 5617 w 39"/>
                <a:gd name="T25" fmla="*/ 12965 h 12"/>
                <a:gd name="T26" fmla="*/ 24342 w 39"/>
                <a:gd name="T27" fmla="*/ 12965 h 12"/>
                <a:gd name="T28" fmla="*/ 35576 w 39"/>
                <a:gd name="T29" fmla="*/ 5556 h 12"/>
                <a:gd name="T30" fmla="*/ 41194 w 39"/>
                <a:gd name="T31" fmla="*/ 0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12"/>
                <a:gd name="T50" fmla="*/ 39 w 39"/>
                <a:gd name="T51" fmla="*/ 12 h 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12">
                  <a:moveTo>
                    <a:pt x="22" y="0"/>
                  </a:moveTo>
                  <a:cubicBezTo>
                    <a:pt x="26" y="0"/>
                    <a:pt x="31" y="0"/>
                    <a:pt x="36" y="1"/>
                  </a:cubicBezTo>
                  <a:cubicBezTo>
                    <a:pt x="37" y="2"/>
                    <a:pt x="39" y="3"/>
                    <a:pt x="39" y="5"/>
                  </a:cubicBezTo>
                  <a:cubicBezTo>
                    <a:pt x="39" y="6"/>
                    <a:pt x="36" y="6"/>
                    <a:pt x="35" y="5"/>
                  </a:cubicBezTo>
                  <a:cubicBezTo>
                    <a:pt x="32" y="5"/>
                    <a:pt x="30" y="3"/>
                    <a:pt x="28" y="3"/>
                  </a:cubicBezTo>
                  <a:cubicBezTo>
                    <a:pt x="26" y="3"/>
                    <a:pt x="26" y="6"/>
                    <a:pt x="25" y="7"/>
                  </a:cubicBezTo>
                  <a:cubicBezTo>
                    <a:pt x="24" y="7"/>
                    <a:pt x="22" y="6"/>
                    <a:pt x="21" y="6"/>
                  </a:cubicBezTo>
                  <a:cubicBezTo>
                    <a:pt x="19" y="7"/>
                    <a:pt x="17" y="9"/>
                    <a:pt x="15" y="11"/>
                  </a:cubicBezTo>
                  <a:cubicBezTo>
                    <a:pt x="13" y="11"/>
                    <a:pt x="12" y="12"/>
                    <a:pt x="11" y="12"/>
                  </a:cubicBezTo>
                  <a:cubicBezTo>
                    <a:pt x="10" y="12"/>
                    <a:pt x="11" y="10"/>
                    <a:pt x="10" y="10"/>
                  </a:cubicBezTo>
                  <a:cubicBezTo>
                    <a:pt x="9" y="9"/>
                    <a:pt x="7" y="9"/>
                    <a:pt x="6" y="9"/>
                  </a:cubicBezTo>
                  <a:cubicBezTo>
                    <a:pt x="4" y="9"/>
                    <a:pt x="2" y="10"/>
                    <a:pt x="1" y="9"/>
                  </a:cubicBezTo>
                  <a:cubicBezTo>
                    <a:pt x="0" y="8"/>
                    <a:pt x="2" y="7"/>
                    <a:pt x="3" y="7"/>
                  </a:cubicBezTo>
                  <a:cubicBezTo>
                    <a:pt x="7" y="6"/>
                    <a:pt x="10" y="7"/>
                    <a:pt x="13" y="7"/>
                  </a:cubicBezTo>
                  <a:cubicBezTo>
                    <a:pt x="15" y="6"/>
                    <a:pt x="17" y="5"/>
                    <a:pt x="19" y="3"/>
                  </a:cubicBezTo>
                  <a:cubicBezTo>
                    <a:pt x="20" y="2"/>
                    <a:pt x="20" y="1"/>
                    <a:pt x="2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2" name="Freeform 742"/>
            <p:cNvSpPr>
              <a:spLocks noChangeAspect="1"/>
            </p:cNvSpPr>
            <p:nvPr/>
          </p:nvSpPr>
          <p:spPr bwMode="auto">
            <a:xfrm>
              <a:off x="5527675" y="1489075"/>
              <a:ext cx="11113" cy="14288"/>
            </a:xfrm>
            <a:custGeom>
              <a:avLst/>
              <a:gdLst>
                <a:gd name="T0" fmla="*/ 3704 w 6"/>
                <a:gd name="T1" fmla="*/ 1786 h 8"/>
                <a:gd name="T2" fmla="*/ 11113 w 6"/>
                <a:gd name="T3" fmla="*/ 5358 h 8"/>
                <a:gd name="T4" fmla="*/ 5557 w 6"/>
                <a:gd name="T5" fmla="*/ 10716 h 8"/>
                <a:gd name="T6" fmla="*/ 3704 w 6"/>
                <a:gd name="T7" fmla="*/ 14288 h 8"/>
                <a:gd name="T8" fmla="*/ 3704 w 6"/>
                <a:gd name="T9" fmla="*/ 1786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2" y="1"/>
                  </a:moveTo>
                  <a:cubicBezTo>
                    <a:pt x="3" y="0"/>
                    <a:pt x="6" y="2"/>
                    <a:pt x="6" y="3"/>
                  </a:cubicBezTo>
                  <a:cubicBezTo>
                    <a:pt x="6" y="5"/>
                    <a:pt x="4" y="5"/>
                    <a:pt x="3" y="6"/>
                  </a:cubicBezTo>
                  <a:cubicBezTo>
                    <a:pt x="3" y="7"/>
                    <a:pt x="2" y="8"/>
                    <a:pt x="2" y="8"/>
                  </a:cubicBezTo>
                  <a:cubicBezTo>
                    <a:pt x="1" y="6"/>
                    <a:pt x="0" y="3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3" name="Freeform 743"/>
            <p:cNvSpPr>
              <a:spLocks noChangeAspect="1"/>
            </p:cNvSpPr>
            <p:nvPr/>
          </p:nvSpPr>
          <p:spPr bwMode="auto">
            <a:xfrm>
              <a:off x="5522913" y="1535113"/>
              <a:ext cx="11112" cy="12700"/>
            </a:xfrm>
            <a:custGeom>
              <a:avLst/>
              <a:gdLst>
                <a:gd name="T0" fmla="*/ 0 w 6"/>
                <a:gd name="T1" fmla="*/ 5443 h 7"/>
                <a:gd name="T2" fmla="*/ 5556 w 6"/>
                <a:gd name="T3" fmla="*/ 0 h 7"/>
                <a:gd name="T4" fmla="*/ 11112 w 6"/>
                <a:gd name="T5" fmla="*/ 1814 h 7"/>
                <a:gd name="T6" fmla="*/ 9260 w 6"/>
                <a:gd name="T7" fmla="*/ 10886 h 7"/>
                <a:gd name="T8" fmla="*/ 1852 w 6"/>
                <a:gd name="T9" fmla="*/ 12700 h 7"/>
                <a:gd name="T10" fmla="*/ 0 w 6"/>
                <a:gd name="T11" fmla="*/ 5443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7"/>
                <a:gd name="T20" fmla="*/ 6 w 6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7">
                  <a:moveTo>
                    <a:pt x="0" y="3"/>
                  </a:moveTo>
                  <a:cubicBezTo>
                    <a:pt x="0" y="2"/>
                    <a:pt x="2" y="1"/>
                    <a:pt x="3" y="0"/>
                  </a:cubicBezTo>
                  <a:cubicBezTo>
                    <a:pt x="4" y="0"/>
                    <a:pt x="6" y="0"/>
                    <a:pt x="6" y="1"/>
                  </a:cubicBezTo>
                  <a:cubicBezTo>
                    <a:pt x="6" y="2"/>
                    <a:pt x="6" y="5"/>
                    <a:pt x="5" y="6"/>
                  </a:cubicBezTo>
                  <a:cubicBezTo>
                    <a:pt x="4" y="7"/>
                    <a:pt x="2" y="7"/>
                    <a:pt x="1" y="7"/>
                  </a:cubicBezTo>
                  <a:cubicBezTo>
                    <a:pt x="0" y="6"/>
                    <a:pt x="0" y="5"/>
                    <a:pt x="0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4" name="Freeform 744"/>
            <p:cNvSpPr>
              <a:spLocks noChangeAspect="1"/>
            </p:cNvSpPr>
            <p:nvPr/>
          </p:nvSpPr>
          <p:spPr bwMode="auto">
            <a:xfrm>
              <a:off x="5529263" y="1544638"/>
              <a:ext cx="33337" cy="15875"/>
            </a:xfrm>
            <a:custGeom>
              <a:avLst/>
              <a:gdLst>
                <a:gd name="T0" fmla="*/ 1961 w 17"/>
                <a:gd name="T1" fmla="*/ 8819 h 9"/>
                <a:gd name="T2" fmla="*/ 7844 w 17"/>
                <a:gd name="T3" fmla="*/ 14111 h 9"/>
                <a:gd name="T4" fmla="*/ 31376 w 17"/>
                <a:gd name="T5" fmla="*/ 14111 h 9"/>
                <a:gd name="T6" fmla="*/ 31376 w 17"/>
                <a:gd name="T7" fmla="*/ 10583 h 9"/>
                <a:gd name="T8" fmla="*/ 25493 w 17"/>
                <a:gd name="T9" fmla="*/ 5292 h 9"/>
                <a:gd name="T10" fmla="*/ 19610 w 17"/>
                <a:gd name="T11" fmla="*/ 1764 h 9"/>
                <a:gd name="T12" fmla="*/ 13727 w 17"/>
                <a:gd name="T13" fmla="*/ 10583 h 9"/>
                <a:gd name="T14" fmla="*/ 1961 w 17"/>
                <a:gd name="T15" fmla="*/ 8819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9"/>
                <a:gd name="T26" fmla="*/ 17 w 17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9">
                  <a:moveTo>
                    <a:pt x="1" y="5"/>
                  </a:moveTo>
                  <a:cubicBezTo>
                    <a:pt x="0" y="6"/>
                    <a:pt x="3" y="7"/>
                    <a:pt x="4" y="8"/>
                  </a:cubicBezTo>
                  <a:cubicBezTo>
                    <a:pt x="8" y="8"/>
                    <a:pt x="12" y="9"/>
                    <a:pt x="16" y="8"/>
                  </a:cubicBezTo>
                  <a:cubicBezTo>
                    <a:pt x="17" y="8"/>
                    <a:pt x="16" y="7"/>
                    <a:pt x="16" y="6"/>
                  </a:cubicBezTo>
                  <a:cubicBezTo>
                    <a:pt x="15" y="5"/>
                    <a:pt x="14" y="4"/>
                    <a:pt x="13" y="3"/>
                  </a:cubicBezTo>
                  <a:cubicBezTo>
                    <a:pt x="12" y="3"/>
                    <a:pt x="11" y="0"/>
                    <a:pt x="10" y="1"/>
                  </a:cubicBezTo>
                  <a:cubicBezTo>
                    <a:pt x="8" y="2"/>
                    <a:pt x="9" y="5"/>
                    <a:pt x="7" y="6"/>
                  </a:cubicBezTo>
                  <a:cubicBezTo>
                    <a:pt x="5" y="7"/>
                    <a:pt x="3" y="5"/>
                    <a:pt x="1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5" name="Freeform 745"/>
            <p:cNvSpPr>
              <a:spLocks noChangeAspect="1"/>
            </p:cNvSpPr>
            <p:nvPr/>
          </p:nvSpPr>
          <p:spPr bwMode="auto">
            <a:xfrm>
              <a:off x="7142163" y="4079875"/>
              <a:ext cx="19050" cy="17463"/>
            </a:xfrm>
            <a:custGeom>
              <a:avLst/>
              <a:gdLst>
                <a:gd name="T0" fmla="*/ 1905 w 10"/>
                <a:gd name="T1" fmla="*/ 5821 h 9"/>
                <a:gd name="T2" fmla="*/ 11430 w 10"/>
                <a:gd name="T3" fmla="*/ 1940 h 9"/>
                <a:gd name="T4" fmla="*/ 17145 w 10"/>
                <a:gd name="T5" fmla="*/ 13582 h 9"/>
                <a:gd name="T6" fmla="*/ 7620 w 10"/>
                <a:gd name="T7" fmla="*/ 11642 h 9"/>
                <a:gd name="T8" fmla="*/ 1905 w 10"/>
                <a:gd name="T9" fmla="*/ 582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9"/>
                <a:gd name="T17" fmla="*/ 10 w 10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9">
                  <a:moveTo>
                    <a:pt x="1" y="3"/>
                  </a:moveTo>
                  <a:cubicBezTo>
                    <a:pt x="2" y="1"/>
                    <a:pt x="5" y="0"/>
                    <a:pt x="6" y="1"/>
                  </a:cubicBezTo>
                  <a:cubicBezTo>
                    <a:pt x="8" y="2"/>
                    <a:pt x="10" y="5"/>
                    <a:pt x="9" y="7"/>
                  </a:cubicBezTo>
                  <a:cubicBezTo>
                    <a:pt x="8" y="9"/>
                    <a:pt x="5" y="7"/>
                    <a:pt x="4" y="6"/>
                  </a:cubicBezTo>
                  <a:cubicBezTo>
                    <a:pt x="2" y="5"/>
                    <a:pt x="0" y="4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6" name="Freeform 746"/>
            <p:cNvSpPr>
              <a:spLocks noChangeAspect="1"/>
            </p:cNvSpPr>
            <p:nvPr/>
          </p:nvSpPr>
          <p:spPr bwMode="auto">
            <a:xfrm>
              <a:off x="7473950" y="3941763"/>
              <a:ext cx="119063" cy="109537"/>
            </a:xfrm>
            <a:custGeom>
              <a:avLst/>
              <a:gdLst>
                <a:gd name="T0" fmla="*/ 109614 w 63"/>
                <a:gd name="T1" fmla="*/ 88763 h 58"/>
                <a:gd name="T2" fmla="*/ 109614 w 63"/>
                <a:gd name="T3" fmla="*/ 71766 h 58"/>
                <a:gd name="T4" fmla="*/ 119063 w 63"/>
                <a:gd name="T5" fmla="*/ 60434 h 58"/>
                <a:gd name="T6" fmla="*/ 111503 w 63"/>
                <a:gd name="T7" fmla="*/ 45326 h 58"/>
                <a:gd name="T8" fmla="*/ 109614 w 63"/>
                <a:gd name="T9" fmla="*/ 26440 h 58"/>
                <a:gd name="T10" fmla="*/ 102054 w 63"/>
                <a:gd name="T11" fmla="*/ 26440 h 58"/>
                <a:gd name="T12" fmla="*/ 109614 w 63"/>
                <a:gd name="T13" fmla="*/ 16997 h 58"/>
                <a:gd name="T14" fmla="*/ 102054 w 63"/>
                <a:gd name="T15" fmla="*/ 7554 h 58"/>
                <a:gd name="T16" fmla="*/ 90715 w 63"/>
                <a:gd name="T17" fmla="*/ 1889 h 58"/>
                <a:gd name="T18" fmla="*/ 85045 w 63"/>
                <a:gd name="T19" fmla="*/ 13220 h 58"/>
                <a:gd name="T20" fmla="*/ 77485 w 63"/>
                <a:gd name="T21" fmla="*/ 9443 h 58"/>
                <a:gd name="T22" fmla="*/ 75596 w 63"/>
                <a:gd name="T23" fmla="*/ 15109 h 58"/>
                <a:gd name="T24" fmla="*/ 68036 w 63"/>
                <a:gd name="T25" fmla="*/ 13220 h 58"/>
                <a:gd name="T26" fmla="*/ 64256 w 63"/>
                <a:gd name="T27" fmla="*/ 28329 h 58"/>
                <a:gd name="T28" fmla="*/ 56697 w 63"/>
                <a:gd name="T29" fmla="*/ 26440 h 58"/>
                <a:gd name="T30" fmla="*/ 54807 w 63"/>
                <a:gd name="T31" fmla="*/ 37771 h 58"/>
                <a:gd name="T32" fmla="*/ 43467 w 63"/>
                <a:gd name="T33" fmla="*/ 39660 h 58"/>
                <a:gd name="T34" fmla="*/ 47247 w 63"/>
                <a:gd name="T35" fmla="*/ 28329 h 58"/>
                <a:gd name="T36" fmla="*/ 35908 w 63"/>
                <a:gd name="T37" fmla="*/ 26440 h 58"/>
                <a:gd name="T38" fmla="*/ 26458 w 63"/>
                <a:gd name="T39" fmla="*/ 33994 h 58"/>
                <a:gd name="T40" fmla="*/ 15119 w 63"/>
                <a:gd name="T41" fmla="*/ 39660 h 58"/>
                <a:gd name="T42" fmla="*/ 1890 w 63"/>
                <a:gd name="T43" fmla="*/ 58546 h 58"/>
                <a:gd name="T44" fmla="*/ 3780 w 63"/>
                <a:gd name="T45" fmla="*/ 71766 h 58"/>
                <a:gd name="T46" fmla="*/ 20789 w 63"/>
                <a:gd name="T47" fmla="*/ 49103 h 58"/>
                <a:gd name="T48" fmla="*/ 22679 w 63"/>
                <a:gd name="T49" fmla="*/ 56657 h 58"/>
                <a:gd name="T50" fmla="*/ 30238 w 63"/>
                <a:gd name="T51" fmla="*/ 47214 h 58"/>
                <a:gd name="T52" fmla="*/ 37798 w 63"/>
                <a:gd name="T53" fmla="*/ 56657 h 58"/>
                <a:gd name="T54" fmla="*/ 43467 w 63"/>
                <a:gd name="T55" fmla="*/ 47214 h 58"/>
                <a:gd name="T56" fmla="*/ 60476 w 63"/>
                <a:gd name="T57" fmla="*/ 56657 h 58"/>
                <a:gd name="T58" fmla="*/ 51027 w 63"/>
                <a:gd name="T59" fmla="*/ 67988 h 58"/>
                <a:gd name="T60" fmla="*/ 58587 w 63"/>
                <a:gd name="T61" fmla="*/ 88763 h 58"/>
                <a:gd name="T62" fmla="*/ 77485 w 63"/>
                <a:gd name="T63" fmla="*/ 100094 h 58"/>
                <a:gd name="T64" fmla="*/ 85045 w 63"/>
                <a:gd name="T65" fmla="*/ 92540 h 58"/>
                <a:gd name="T66" fmla="*/ 88825 w 63"/>
                <a:gd name="T67" fmla="*/ 107648 h 58"/>
                <a:gd name="T68" fmla="*/ 96384 w 63"/>
                <a:gd name="T69" fmla="*/ 94428 h 58"/>
                <a:gd name="T70" fmla="*/ 90715 w 63"/>
                <a:gd name="T71" fmla="*/ 81208 h 58"/>
                <a:gd name="T72" fmla="*/ 86935 w 63"/>
                <a:gd name="T73" fmla="*/ 69877 h 58"/>
                <a:gd name="T74" fmla="*/ 98274 w 63"/>
                <a:gd name="T75" fmla="*/ 60434 h 58"/>
                <a:gd name="T76" fmla="*/ 102054 w 63"/>
                <a:gd name="T77" fmla="*/ 81208 h 58"/>
                <a:gd name="T78" fmla="*/ 109614 w 63"/>
                <a:gd name="T79" fmla="*/ 88763 h 58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63"/>
                <a:gd name="T121" fmla="*/ 0 h 58"/>
                <a:gd name="T122" fmla="*/ 63 w 63"/>
                <a:gd name="T123" fmla="*/ 58 h 58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63" h="58">
                  <a:moveTo>
                    <a:pt x="58" y="47"/>
                  </a:moveTo>
                  <a:cubicBezTo>
                    <a:pt x="59" y="44"/>
                    <a:pt x="57" y="41"/>
                    <a:pt x="58" y="38"/>
                  </a:cubicBezTo>
                  <a:cubicBezTo>
                    <a:pt x="59" y="35"/>
                    <a:pt x="63" y="35"/>
                    <a:pt x="63" y="32"/>
                  </a:cubicBezTo>
                  <a:cubicBezTo>
                    <a:pt x="63" y="29"/>
                    <a:pt x="60" y="27"/>
                    <a:pt x="59" y="24"/>
                  </a:cubicBezTo>
                  <a:cubicBezTo>
                    <a:pt x="58" y="21"/>
                    <a:pt x="59" y="17"/>
                    <a:pt x="58" y="14"/>
                  </a:cubicBezTo>
                  <a:cubicBezTo>
                    <a:pt x="57" y="13"/>
                    <a:pt x="54" y="16"/>
                    <a:pt x="54" y="14"/>
                  </a:cubicBezTo>
                  <a:cubicBezTo>
                    <a:pt x="54" y="12"/>
                    <a:pt x="58" y="11"/>
                    <a:pt x="58" y="9"/>
                  </a:cubicBezTo>
                  <a:cubicBezTo>
                    <a:pt x="58" y="7"/>
                    <a:pt x="56" y="5"/>
                    <a:pt x="54" y="4"/>
                  </a:cubicBezTo>
                  <a:cubicBezTo>
                    <a:pt x="53" y="2"/>
                    <a:pt x="50" y="0"/>
                    <a:pt x="48" y="1"/>
                  </a:cubicBezTo>
                  <a:cubicBezTo>
                    <a:pt x="46" y="2"/>
                    <a:pt x="47" y="6"/>
                    <a:pt x="45" y="7"/>
                  </a:cubicBezTo>
                  <a:cubicBezTo>
                    <a:pt x="44" y="8"/>
                    <a:pt x="42" y="5"/>
                    <a:pt x="41" y="5"/>
                  </a:cubicBezTo>
                  <a:cubicBezTo>
                    <a:pt x="40" y="6"/>
                    <a:pt x="41" y="8"/>
                    <a:pt x="40" y="8"/>
                  </a:cubicBezTo>
                  <a:cubicBezTo>
                    <a:pt x="39" y="8"/>
                    <a:pt x="37" y="6"/>
                    <a:pt x="36" y="7"/>
                  </a:cubicBezTo>
                  <a:cubicBezTo>
                    <a:pt x="35" y="9"/>
                    <a:pt x="36" y="12"/>
                    <a:pt x="34" y="15"/>
                  </a:cubicBezTo>
                  <a:cubicBezTo>
                    <a:pt x="33" y="16"/>
                    <a:pt x="31" y="13"/>
                    <a:pt x="30" y="14"/>
                  </a:cubicBezTo>
                  <a:cubicBezTo>
                    <a:pt x="29" y="15"/>
                    <a:pt x="30" y="18"/>
                    <a:pt x="29" y="20"/>
                  </a:cubicBezTo>
                  <a:cubicBezTo>
                    <a:pt x="27" y="21"/>
                    <a:pt x="24" y="23"/>
                    <a:pt x="23" y="21"/>
                  </a:cubicBezTo>
                  <a:cubicBezTo>
                    <a:pt x="21" y="19"/>
                    <a:pt x="26" y="17"/>
                    <a:pt x="25" y="15"/>
                  </a:cubicBezTo>
                  <a:cubicBezTo>
                    <a:pt x="24" y="13"/>
                    <a:pt x="21" y="14"/>
                    <a:pt x="19" y="14"/>
                  </a:cubicBezTo>
                  <a:cubicBezTo>
                    <a:pt x="17" y="15"/>
                    <a:pt x="16" y="17"/>
                    <a:pt x="14" y="18"/>
                  </a:cubicBezTo>
                  <a:cubicBezTo>
                    <a:pt x="12" y="20"/>
                    <a:pt x="9" y="20"/>
                    <a:pt x="8" y="21"/>
                  </a:cubicBezTo>
                  <a:cubicBezTo>
                    <a:pt x="5" y="24"/>
                    <a:pt x="3" y="27"/>
                    <a:pt x="1" y="31"/>
                  </a:cubicBezTo>
                  <a:cubicBezTo>
                    <a:pt x="1" y="33"/>
                    <a:pt x="0" y="39"/>
                    <a:pt x="2" y="38"/>
                  </a:cubicBezTo>
                  <a:cubicBezTo>
                    <a:pt x="6" y="35"/>
                    <a:pt x="7" y="29"/>
                    <a:pt x="11" y="26"/>
                  </a:cubicBezTo>
                  <a:cubicBezTo>
                    <a:pt x="12" y="25"/>
                    <a:pt x="10" y="30"/>
                    <a:pt x="12" y="30"/>
                  </a:cubicBezTo>
                  <a:cubicBezTo>
                    <a:pt x="14" y="30"/>
                    <a:pt x="14" y="25"/>
                    <a:pt x="16" y="25"/>
                  </a:cubicBezTo>
                  <a:cubicBezTo>
                    <a:pt x="18" y="25"/>
                    <a:pt x="18" y="30"/>
                    <a:pt x="20" y="30"/>
                  </a:cubicBezTo>
                  <a:cubicBezTo>
                    <a:pt x="22" y="30"/>
                    <a:pt x="21" y="25"/>
                    <a:pt x="23" y="25"/>
                  </a:cubicBezTo>
                  <a:cubicBezTo>
                    <a:pt x="26" y="25"/>
                    <a:pt x="31" y="27"/>
                    <a:pt x="32" y="30"/>
                  </a:cubicBezTo>
                  <a:cubicBezTo>
                    <a:pt x="33" y="32"/>
                    <a:pt x="28" y="34"/>
                    <a:pt x="27" y="36"/>
                  </a:cubicBezTo>
                  <a:cubicBezTo>
                    <a:pt x="27" y="40"/>
                    <a:pt x="28" y="44"/>
                    <a:pt x="31" y="47"/>
                  </a:cubicBezTo>
                  <a:cubicBezTo>
                    <a:pt x="33" y="50"/>
                    <a:pt x="37" y="52"/>
                    <a:pt x="41" y="53"/>
                  </a:cubicBezTo>
                  <a:cubicBezTo>
                    <a:pt x="43" y="53"/>
                    <a:pt x="43" y="48"/>
                    <a:pt x="45" y="49"/>
                  </a:cubicBezTo>
                  <a:cubicBezTo>
                    <a:pt x="47" y="51"/>
                    <a:pt x="44" y="57"/>
                    <a:pt x="47" y="57"/>
                  </a:cubicBezTo>
                  <a:cubicBezTo>
                    <a:pt x="49" y="58"/>
                    <a:pt x="51" y="53"/>
                    <a:pt x="51" y="50"/>
                  </a:cubicBezTo>
                  <a:cubicBezTo>
                    <a:pt x="51" y="48"/>
                    <a:pt x="49" y="45"/>
                    <a:pt x="48" y="43"/>
                  </a:cubicBezTo>
                  <a:cubicBezTo>
                    <a:pt x="48" y="41"/>
                    <a:pt x="45" y="39"/>
                    <a:pt x="46" y="37"/>
                  </a:cubicBezTo>
                  <a:cubicBezTo>
                    <a:pt x="46" y="35"/>
                    <a:pt x="50" y="30"/>
                    <a:pt x="52" y="32"/>
                  </a:cubicBezTo>
                  <a:cubicBezTo>
                    <a:pt x="55" y="34"/>
                    <a:pt x="53" y="39"/>
                    <a:pt x="54" y="43"/>
                  </a:cubicBezTo>
                  <a:cubicBezTo>
                    <a:pt x="55" y="45"/>
                    <a:pt x="57" y="48"/>
                    <a:pt x="58" y="4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7" name="Freeform 748"/>
            <p:cNvSpPr>
              <a:spLocks noChangeAspect="1"/>
            </p:cNvSpPr>
            <p:nvPr/>
          </p:nvSpPr>
          <p:spPr bwMode="auto">
            <a:xfrm>
              <a:off x="2759075" y="4048125"/>
              <a:ext cx="942975" cy="1101725"/>
            </a:xfrm>
            <a:custGeom>
              <a:avLst/>
              <a:gdLst>
                <a:gd name="T0" fmla="*/ 546735 w 495"/>
                <a:gd name="T1" fmla="*/ 1065509 h 578"/>
                <a:gd name="T2" fmla="*/ 502920 w 495"/>
                <a:gd name="T3" fmla="*/ 1035012 h 578"/>
                <a:gd name="T4" fmla="*/ 426720 w 495"/>
                <a:gd name="T5" fmla="*/ 996890 h 578"/>
                <a:gd name="T6" fmla="*/ 508635 w 495"/>
                <a:gd name="T7" fmla="*/ 890148 h 578"/>
                <a:gd name="T8" fmla="*/ 493395 w 495"/>
                <a:gd name="T9" fmla="*/ 832965 h 578"/>
                <a:gd name="T10" fmla="*/ 443865 w 495"/>
                <a:gd name="T11" fmla="*/ 760533 h 578"/>
                <a:gd name="T12" fmla="*/ 394335 w 495"/>
                <a:gd name="T13" fmla="*/ 697632 h 578"/>
                <a:gd name="T14" fmla="*/ 386715 w 495"/>
                <a:gd name="T15" fmla="*/ 598515 h 578"/>
                <a:gd name="T16" fmla="*/ 337185 w 495"/>
                <a:gd name="T17" fmla="*/ 552769 h 578"/>
                <a:gd name="T18" fmla="*/ 278130 w 495"/>
                <a:gd name="T19" fmla="*/ 507022 h 578"/>
                <a:gd name="T20" fmla="*/ 205740 w 495"/>
                <a:gd name="T21" fmla="*/ 436497 h 578"/>
                <a:gd name="T22" fmla="*/ 129540 w 495"/>
                <a:gd name="T23" fmla="*/ 447933 h 578"/>
                <a:gd name="T24" fmla="*/ 80010 w 495"/>
                <a:gd name="T25" fmla="*/ 407905 h 578"/>
                <a:gd name="T26" fmla="*/ 5715 w 495"/>
                <a:gd name="T27" fmla="*/ 379314 h 578"/>
                <a:gd name="T28" fmla="*/ 28575 w 495"/>
                <a:gd name="T29" fmla="*/ 299257 h 578"/>
                <a:gd name="T30" fmla="*/ 97155 w 495"/>
                <a:gd name="T31" fmla="*/ 263042 h 578"/>
                <a:gd name="T32" fmla="*/ 99060 w 495"/>
                <a:gd name="T33" fmla="*/ 123896 h 578"/>
                <a:gd name="T34" fmla="*/ 135255 w 495"/>
                <a:gd name="T35" fmla="*/ 95305 h 578"/>
                <a:gd name="T36" fmla="*/ 167640 w 495"/>
                <a:gd name="T37" fmla="*/ 108648 h 578"/>
                <a:gd name="T38" fmla="*/ 230505 w 495"/>
                <a:gd name="T39" fmla="*/ 106742 h 578"/>
                <a:gd name="T40" fmla="*/ 253365 w 495"/>
                <a:gd name="T41" fmla="*/ 76244 h 578"/>
                <a:gd name="T42" fmla="*/ 234315 w 495"/>
                <a:gd name="T43" fmla="*/ 40028 h 578"/>
                <a:gd name="T44" fmla="*/ 272415 w 495"/>
                <a:gd name="T45" fmla="*/ 34310 h 578"/>
                <a:gd name="T46" fmla="*/ 331470 w 495"/>
                <a:gd name="T47" fmla="*/ 1906 h 578"/>
                <a:gd name="T48" fmla="*/ 350520 w 495"/>
                <a:gd name="T49" fmla="*/ 36216 h 578"/>
                <a:gd name="T50" fmla="*/ 356235 w 495"/>
                <a:gd name="T51" fmla="*/ 99117 h 578"/>
                <a:gd name="T52" fmla="*/ 384810 w 495"/>
                <a:gd name="T53" fmla="*/ 102929 h 578"/>
                <a:gd name="T54" fmla="*/ 428625 w 495"/>
                <a:gd name="T55" fmla="*/ 91493 h 578"/>
                <a:gd name="T56" fmla="*/ 457200 w 495"/>
                <a:gd name="T57" fmla="*/ 72432 h 578"/>
                <a:gd name="T58" fmla="*/ 497205 w 495"/>
                <a:gd name="T59" fmla="*/ 85774 h 578"/>
                <a:gd name="T60" fmla="*/ 542925 w 495"/>
                <a:gd name="T61" fmla="*/ 28591 h 578"/>
                <a:gd name="T62" fmla="*/ 573405 w 495"/>
                <a:gd name="T63" fmla="*/ 97211 h 578"/>
                <a:gd name="T64" fmla="*/ 560070 w 495"/>
                <a:gd name="T65" fmla="*/ 133427 h 578"/>
                <a:gd name="T66" fmla="*/ 491490 w 495"/>
                <a:gd name="T67" fmla="*/ 192516 h 578"/>
                <a:gd name="T68" fmla="*/ 527685 w 495"/>
                <a:gd name="T69" fmla="*/ 207765 h 578"/>
                <a:gd name="T70" fmla="*/ 561975 w 495"/>
                <a:gd name="T71" fmla="*/ 156300 h 578"/>
                <a:gd name="T72" fmla="*/ 607695 w 495"/>
                <a:gd name="T73" fmla="*/ 171549 h 578"/>
                <a:gd name="T74" fmla="*/ 590550 w 495"/>
                <a:gd name="T75" fmla="*/ 194422 h 578"/>
                <a:gd name="T76" fmla="*/ 598170 w 495"/>
                <a:gd name="T77" fmla="*/ 194422 h 578"/>
                <a:gd name="T78" fmla="*/ 661035 w 495"/>
                <a:gd name="T79" fmla="*/ 171549 h 578"/>
                <a:gd name="T80" fmla="*/ 710565 w 495"/>
                <a:gd name="T81" fmla="*/ 203953 h 578"/>
                <a:gd name="T82" fmla="*/ 781050 w 495"/>
                <a:gd name="T83" fmla="*/ 217295 h 578"/>
                <a:gd name="T84" fmla="*/ 880110 w 495"/>
                <a:gd name="T85" fmla="*/ 272572 h 578"/>
                <a:gd name="T86" fmla="*/ 941070 w 495"/>
                <a:gd name="T87" fmla="*/ 337379 h 578"/>
                <a:gd name="T88" fmla="*/ 878205 w 495"/>
                <a:gd name="T89" fmla="*/ 470806 h 578"/>
                <a:gd name="T90" fmla="*/ 847725 w 495"/>
                <a:gd name="T91" fmla="*/ 554675 h 578"/>
                <a:gd name="T92" fmla="*/ 828675 w 495"/>
                <a:gd name="T93" fmla="*/ 695726 h 578"/>
                <a:gd name="T94" fmla="*/ 779145 w 495"/>
                <a:gd name="T95" fmla="*/ 785313 h 578"/>
                <a:gd name="T96" fmla="*/ 720090 w 495"/>
                <a:gd name="T97" fmla="*/ 789125 h 578"/>
                <a:gd name="T98" fmla="*/ 630555 w 495"/>
                <a:gd name="T99" fmla="*/ 867275 h 578"/>
                <a:gd name="T100" fmla="*/ 630555 w 495"/>
                <a:gd name="T101" fmla="*/ 951143 h 578"/>
                <a:gd name="T102" fmla="*/ 567690 w 495"/>
                <a:gd name="T103" fmla="*/ 1042636 h 578"/>
                <a:gd name="T104" fmla="*/ 573405 w 495"/>
                <a:gd name="T105" fmla="*/ 991171 h 578"/>
                <a:gd name="T106" fmla="*/ 550545 w 495"/>
                <a:gd name="T107" fmla="*/ 1071227 h 5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5"/>
                <a:gd name="T163" fmla="*/ 0 h 578"/>
                <a:gd name="T164" fmla="*/ 495 w 495"/>
                <a:gd name="T165" fmla="*/ 578 h 5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5" h="578">
                  <a:moveTo>
                    <a:pt x="281" y="578"/>
                  </a:moveTo>
                  <a:cubicBezTo>
                    <a:pt x="280" y="577"/>
                    <a:pt x="278" y="576"/>
                    <a:pt x="277" y="575"/>
                  </a:cubicBezTo>
                  <a:cubicBezTo>
                    <a:pt x="277" y="573"/>
                    <a:pt x="278" y="571"/>
                    <a:pt x="279" y="570"/>
                  </a:cubicBezTo>
                  <a:cubicBezTo>
                    <a:pt x="280" y="567"/>
                    <a:pt x="280" y="565"/>
                    <a:pt x="282" y="563"/>
                  </a:cubicBezTo>
                  <a:cubicBezTo>
                    <a:pt x="283" y="562"/>
                    <a:pt x="285" y="563"/>
                    <a:pt x="285" y="563"/>
                  </a:cubicBezTo>
                  <a:cubicBezTo>
                    <a:pt x="286" y="562"/>
                    <a:pt x="286" y="560"/>
                    <a:pt x="287" y="559"/>
                  </a:cubicBezTo>
                  <a:cubicBezTo>
                    <a:pt x="287" y="556"/>
                    <a:pt x="289" y="553"/>
                    <a:pt x="287" y="552"/>
                  </a:cubicBezTo>
                  <a:cubicBezTo>
                    <a:pt x="285" y="551"/>
                    <a:pt x="286" y="556"/>
                    <a:pt x="285" y="558"/>
                  </a:cubicBezTo>
                  <a:cubicBezTo>
                    <a:pt x="283" y="559"/>
                    <a:pt x="281" y="559"/>
                    <a:pt x="279" y="559"/>
                  </a:cubicBezTo>
                  <a:cubicBezTo>
                    <a:pt x="278" y="559"/>
                    <a:pt x="277" y="558"/>
                    <a:pt x="276" y="557"/>
                  </a:cubicBezTo>
                  <a:cubicBezTo>
                    <a:pt x="275" y="556"/>
                    <a:pt x="275" y="554"/>
                    <a:pt x="274" y="553"/>
                  </a:cubicBezTo>
                  <a:cubicBezTo>
                    <a:pt x="271" y="549"/>
                    <a:pt x="268" y="545"/>
                    <a:pt x="264" y="543"/>
                  </a:cubicBezTo>
                  <a:cubicBezTo>
                    <a:pt x="260" y="541"/>
                    <a:pt x="256" y="541"/>
                    <a:pt x="253" y="539"/>
                  </a:cubicBezTo>
                  <a:cubicBezTo>
                    <a:pt x="251" y="537"/>
                    <a:pt x="250" y="534"/>
                    <a:pt x="247" y="532"/>
                  </a:cubicBezTo>
                  <a:cubicBezTo>
                    <a:pt x="247" y="532"/>
                    <a:pt x="247" y="533"/>
                    <a:pt x="246" y="534"/>
                  </a:cubicBezTo>
                  <a:cubicBezTo>
                    <a:pt x="245" y="534"/>
                    <a:pt x="244" y="536"/>
                    <a:pt x="243" y="536"/>
                  </a:cubicBezTo>
                  <a:cubicBezTo>
                    <a:pt x="239" y="531"/>
                    <a:pt x="239" y="523"/>
                    <a:pt x="234" y="520"/>
                  </a:cubicBezTo>
                  <a:cubicBezTo>
                    <a:pt x="232" y="518"/>
                    <a:pt x="227" y="522"/>
                    <a:pt x="224" y="523"/>
                  </a:cubicBezTo>
                  <a:cubicBezTo>
                    <a:pt x="228" y="518"/>
                    <a:pt x="232" y="514"/>
                    <a:pt x="235" y="509"/>
                  </a:cubicBezTo>
                  <a:cubicBezTo>
                    <a:pt x="238" y="504"/>
                    <a:pt x="239" y="498"/>
                    <a:pt x="242" y="494"/>
                  </a:cubicBezTo>
                  <a:cubicBezTo>
                    <a:pt x="244" y="491"/>
                    <a:pt x="248" y="491"/>
                    <a:pt x="250" y="489"/>
                  </a:cubicBezTo>
                  <a:cubicBezTo>
                    <a:pt x="252" y="487"/>
                    <a:pt x="253" y="484"/>
                    <a:pt x="255" y="482"/>
                  </a:cubicBezTo>
                  <a:cubicBezTo>
                    <a:pt x="259" y="479"/>
                    <a:pt x="265" y="479"/>
                    <a:pt x="267" y="476"/>
                  </a:cubicBezTo>
                  <a:cubicBezTo>
                    <a:pt x="269" y="473"/>
                    <a:pt x="267" y="470"/>
                    <a:pt x="267" y="467"/>
                  </a:cubicBezTo>
                  <a:cubicBezTo>
                    <a:pt x="267" y="464"/>
                    <a:pt x="269" y="462"/>
                    <a:pt x="268" y="460"/>
                  </a:cubicBezTo>
                  <a:cubicBezTo>
                    <a:pt x="268" y="458"/>
                    <a:pt x="265" y="455"/>
                    <a:pt x="264" y="453"/>
                  </a:cubicBezTo>
                  <a:cubicBezTo>
                    <a:pt x="263" y="452"/>
                    <a:pt x="262" y="451"/>
                    <a:pt x="261" y="451"/>
                  </a:cubicBezTo>
                  <a:cubicBezTo>
                    <a:pt x="259" y="451"/>
                    <a:pt x="257" y="451"/>
                    <a:pt x="256" y="451"/>
                  </a:cubicBezTo>
                  <a:cubicBezTo>
                    <a:pt x="256" y="449"/>
                    <a:pt x="256" y="447"/>
                    <a:pt x="256" y="445"/>
                  </a:cubicBezTo>
                  <a:cubicBezTo>
                    <a:pt x="257" y="443"/>
                    <a:pt x="258" y="440"/>
                    <a:pt x="259" y="437"/>
                  </a:cubicBezTo>
                  <a:cubicBezTo>
                    <a:pt x="259" y="434"/>
                    <a:pt x="261" y="430"/>
                    <a:pt x="261" y="426"/>
                  </a:cubicBezTo>
                  <a:cubicBezTo>
                    <a:pt x="260" y="424"/>
                    <a:pt x="257" y="423"/>
                    <a:pt x="255" y="423"/>
                  </a:cubicBezTo>
                  <a:cubicBezTo>
                    <a:pt x="251" y="422"/>
                    <a:pt x="247" y="427"/>
                    <a:pt x="244" y="425"/>
                  </a:cubicBezTo>
                  <a:cubicBezTo>
                    <a:pt x="241" y="424"/>
                    <a:pt x="239" y="420"/>
                    <a:pt x="239" y="417"/>
                  </a:cubicBezTo>
                  <a:cubicBezTo>
                    <a:pt x="238" y="413"/>
                    <a:pt x="242" y="408"/>
                    <a:pt x="241" y="403"/>
                  </a:cubicBezTo>
                  <a:cubicBezTo>
                    <a:pt x="240" y="401"/>
                    <a:pt x="236" y="400"/>
                    <a:pt x="233" y="399"/>
                  </a:cubicBezTo>
                  <a:cubicBezTo>
                    <a:pt x="229" y="398"/>
                    <a:pt x="225" y="399"/>
                    <a:pt x="222" y="398"/>
                  </a:cubicBezTo>
                  <a:cubicBezTo>
                    <a:pt x="219" y="398"/>
                    <a:pt x="216" y="399"/>
                    <a:pt x="213" y="398"/>
                  </a:cubicBezTo>
                  <a:cubicBezTo>
                    <a:pt x="212" y="398"/>
                    <a:pt x="213" y="396"/>
                    <a:pt x="213" y="395"/>
                  </a:cubicBezTo>
                  <a:cubicBezTo>
                    <a:pt x="213" y="390"/>
                    <a:pt x="214" y="386"/>
                    <a:pt x="213" y="381"/>
                  </a:cubicBezTo>
                  <a:cubicBezTo>
                    <a:pt x="212" y="378"/>
                    <a:pt x="208" y="378"/>
                    <a:pt x="207" y="375"/>
                  </a:cubicBezTo>
                  <a:cubicBezTo>
                    <a:pt x="206" y="372"/>
                    <a:pt x="207" y="369"/>
                    <a:pt x="207" y="366"/>
                  </a:cubicBezTo>
                  <a:cubicBezTo>
                    <a:pt x="208" y="362"/>
                    <a:pt x="210" y="357"/>
                    <a:pt x="211" y="353"/>
                  </a:cubicBezTo>
                  <a:cubicBezTo>
                    <a:pt x="212" y="348"/>
                    <a:pt x="212" y="344"/>
                    <a:pt x="212" y="339"/>
                  </a:cubicBezTo>
                  <a:cubicBezTo>
                    <a:pt x="211" y="335"/>
                    <a:pt x="211" y="331"/>
                    <a:pt x="208" y="328"/>
                  </a:cubicBezTo>
                  <a:cubicBezTo>
                    <a:pt x="207" y="326"/>
                    <a:pt x="202" y="327"/>
                    <a:pt x="201" y="325"/>
                  </a:cubicBezTo>
                  <a:cubicBezTo>
                    <a:pt x="200" y="322"/>
                    <a:pt x="203" y="320"/>
                    <a:pt x="203" y="317"/>
                  </a:cubicBezTo>
                  <a:cubicBezTo>
                    <a:pt x="204" y="316"/>
                    <a:pt x="203" y="315"/>
                    <a:pt x="203" y="314"/>
                  </a:cubicBezTo>
                  <a:cubicBezTo>
                    <a:pt x="203" y="313"/>
                    <a:pt x="202" y="314"/>
                    <a:pt x="202" y="314"/>
                  </a:cubicBezTo>
                  <a:cubicBezTo>
                    <a:pt x="194" y="314"/>
                    <a:pt x="186" y="314"/>
                    <a:pt x="179" y="314"/>
                  </a:cubicBezTo>
                  <a:cubicBezTo>
                    <a:pt x="178" y="314"/>
                    <a:pt x="179" y="313"/>
                    <a:pt x="179" y="312"/>
                  </a:cubicBezTo>
                  <a:cubicBezTo>
                    <a:pt x="177" y="307"/>
                    <a:pt x="174" y="303"/>
                    <a:pt x="174" y="298"/>
                  </a:cubicBezTo>
                  <a:cubicBezTo>
                    <a:pt x="174" y="296"/>
                    <a:pt x="177" y="297"/>
                    <a:pt x="177" y="296"/>
                  </a:cubicBezTo>
                  <a:cubicBezTo>
                    <a:pt x="178" y="294"/>
                    <a:pt x="178" y="292"/>
                    <a:pt x="177" y="290"/>
                  </a:cubicBezTo>
                  <a:cubicBezTo>
                    <a:pt x="177" y="288"/>
                    <a:pt x="175" y="286"/>
                    <a:pt x="174" y="284"/>
                  </a:cubicBezTo>
                  <a:cubicBezTo>
                    <a:pt x="174" y="281"/>
                    <a:pt x="176" y="277"/>
                    <a:pt x="174" y="275"/>
                  </a:cubicBezTo>
                  <a:cubicBezTo>
                    <a:pt x="173" y="274"/>
                    <a:pt x="169" y="273"/>
                    <a:pt x="166" y="273"/>
                  </a:cubicBezTo>
                  <a:cubicBezTo>
                    <a:pt x="162" y="272"/>
                    <a:pt x="159" y="273"/>
                    <a:pt x="155" y="272"/>
                  </a:cubicBezTo>
                  <a:cubicBezTo>
                    <a:pt x="153" y="271"/>
                    <a:pt x="153" y="267"/>
                    <a:pt x="151" y="266"/>
                  </a:cubicBezTo>
                  <a:cubicBezTo>
                    <a:pt x="149" y="266"/>
                    <a:pt x="148" y="267"/>
                    <a:pt x="146" y="266"/>
                  </a:cubicBezTo>
                  <a:cubicBezTo>
                    <a:pt x="144" y="265"/>
                    <a:pt x="144" y="261"/>
                    <a:pt x="142" y="260"/>
                  </a:cubicBezTo>
                  <a:cubicBezTo>
                    <a:pt x="139" y="259"/>
                    <a:pt x="137" y="260"/>
                    <a:pt x="134" y="260"/>
                  </a:cubicBezTo>
                  <a:cubicBezTo>
                    <a:pt x="131" y="259"/>
                    <a:pt x="126" y="260"/>
                    <a:pt x="123" y="258"/>
                  </a:cubicBezTo>
                  <a:cubicBezTo>
                    <a:pt x="120" y="254"/>
                    <a:pt x="116" y="249"/>
                    <a:pt x="113" y="245"/>
                  </a:cubicBezTo>
                  <a:cubicBezTo>
                    <a:pt x="112" y="243"/>
                    <a:pt x="112" y="241"/>
                    <a:pt x="111" y="239"/>
                  </a:cubicBezTo>
                  <a:cubicBezTo>
                    <a:pt x="110" y="236"/>
                    <a:pt x="111" y="233"/>
                    <a:pt x="108" y="229"/>
                  </a:cubicBezTo>
                  <a:cubicBezTo>
                    <a:pt x="108" y="226"/>
                    <a:pt x="112" y="220"/>
                    <a:pt x="109" y="218"/>
                  </a:cubicBezTo>
                  <a:cubicBezTo>
                    <a:pt x="105" y="219"/>
                    <a:pt x="100" y="217"/>
                    <a:pt x="95" y="219"/>
                  </a:cubicBezTo>
                  <a:cubicBezTo>
                    <a:pt x="92" y="220"/>
                    <a:pt x="91" y="224"/>
                    <a:pt x="88" y="225"/>
                  </a:cubicBezTo>
                  <a:cubicBezTo>
                    <a:pt x="86" y="226"/>
                    <a:pt x="83" y="226"/>
                    <a:pt x="82" y="227"/>
                  </a:cubicBezTo>
                  <a:cubicBezTo>
                    <a:pt x="79" y="228"/>
                    <a:pt x="78" y="231"/>
                    <a:pt x="76" y="232"/>
                  </a:cubicBezTo>
                  <a:cubicBezTo>
                    <a:pt x="73" y="234"/>
                    <a:pt x="71" y="235"/>
                    <a:pt x="68" y="235"/>
                  </a:cubicBezTo>
                  <a:cubicBezTo>
                    <a:pt x="66" y="236"/>
                    <a:pt x="64" y="235"/>
                    <a:pt x="63" y="235"/>
                  </a:cubicBezTo>
                  <a:cubicBezTo>
                    <a:pt x="61" y="235"/>
                    <a:pt x="59" y="234"/>
                    <a:pt x="58" y="234"/>
                  </a:cubicBezTo>
                  <a:cubicBezTo>
                    <a:pt x="57" y="234"/>
                    <a:pt x="55" y="235"/>
                    <a:pt x="54" y="235"/>
                  </a:cubicBezTo>
                  <a:cubicBezTo>
                    <a:pt x="51" y="235"/>
                    <a:pt x="47" y="238"/>
                    <a:pt x="46" y="235"/>
                  </a:cubicBezTo>
                  <a:cubicBezTo>
                    <a:pt x="43" y="229"/>
                    <a:pt x="45" y="221"/>
                    <a:pt x="44" y="214"/>
                  </a:cubicBezTo>
                  <a:cubicBezTo>
                    <a:pt x="44" y="214"/>
                    <a:pt x="43" y="214"/>
                    <a:pt x="42" y="214"/>
                  </a:cubicBezTo>
                  <a:cubicBezTo>
                    <a:pt x="39" y="217"/>
                    <a:pt x="38" y="221"/>
                    <a:pt x="34" y="223"/>
                  </a:cubicBezTo>
                  <a:cubicBezTo>
                    <a:pt x="32" y="224"/>
                    <a:pt x="28" y="224"/>
                    <a:pt x="25" y="223"/>
                  </a:cubicBezTo>
                  <a:cubicBezTo>
                    <a:pt x="23" y="221"/>
                    <a:pt x="24" y="217"/>
                    <a:pt x="22" y="215"/>
                  </a:cubicBezTo>
                  <a:cubicBezTo>
                    <a:pt x="20" y="213"/>
                    <a:pt x="15" y="215"/>
                    <a:pt x="14" y="213"/>
                  </a:cubicBezTo>
                  <a:cubicBezTo>
                    <a:pt x="12" y="211"/>
                    <a:pt x="16" y="208"/>
                    <a:pt x="15" y="206"/>
                  </a:cubicBezTo>
                  <a:cubicBezTo>
                    <a:pt x="12" y="203"/>
                    <a:pt x="5" y="203"/>
                    <a:pt x="3" y="199"/>
                  </a:cubicBezTo>
                  <a:cubicBezTo>
                    <a:pt x="1" y="197"/>
                    <a:pt x="2" y="193"/>
                    <a:pt x="2" y="190"/>
                  </a:cubicBezTo>
                  <a:cubicBezTo>
                    <a:pt x="2" y="188"/>
                    <a:pt x="2" y="185"/>
                    <a:pt x="2" y="182"/>
                  </a:cubicBezTo>
                  <a:cubicBezTo>
                    <a:pt x="2" y="180"/>
                    <a:pt x="0" y="177"/>
                    <a:pt x="2" y="175"/>
                  </a:cubicBezTo>
                  <a:cubicBezTo>
                    <a:pt x="4" y="172"/>
                    <a:pt x="10" y="172"/>
                    <a:pt x="12" y="168"/>
                  </a:cubicBezTo>
                  <a:cubicBezTo>
                    <a:pt x="13" y="167"/>
                    <a:pt x="9" y="166"/>
                    <a:pt x="10" y="164"/>
                  </a:cubicBezTo>
                  <a:cubicBezTo>
                    <a:pt x="10" y="161"/>
                    <a:pt x="14" y="160"/>
                    <a:pt x="15" y="157"/>
                  </a:cubicBezTo>
                  <a:cubicBezTo>
                    <a:pt x="16" y="154"/>
                    <a:pt x="14" y="152"/>
                    <a:pt x="15" y="150"/>
                  </a:cubicBezTo>
                  <a:cubicBezTo>
                    <a:pt x="17" y="146"/>
                    <a:pt x="21" y="144"/>
                    <a:pt x="24" y="142"/>
                  </a:cubicBezTo>
                  <a:cubicBezTo>
                    <a:pt x="26" y="142"/>
                    <a:pt x="28" y="143"/>
                    <a:pt x="29" y="142"/>
                  </a:cubicBezTo>
                  <a:cubicBezTo>
                    <a:pt x="33" y="142"/>
                    <a:pt x="36" y="140"/>
                    <a:pt x="39" y="139"/>
                  </a:cubicBezTo>
                  <a:cubicBezTo>
                    <a:pt x="41" y="139"/>
                    <a:pt x="44" y="137"/>
                    <a:pt x="46" y="137"/>
                  </a:cubicBezTo>
                  <a:cubicBezTo>
                    <a:pt x="48" y="137"/>
                    <a:pt x="49" y="138"/>
                    <a:pt x="51" y="138"/>
                  </a:cubicBezTo>
                  <a:cubicBezTo>
                    <a:pt x="53" y="125"/>
                    <a:pt x="55" y="110"/>
                    <a:pt x="57" y="97"/>
                  </a:cubicBezTo>
                  <a:cubicBezTo>
                    <a:pt x="58" y="94"/>
                    <a:pt x="58" y="92"/>
                    <a:pt x="59" y="90"/>
                  </a:cubicBezTo>
                  <a:cubicBezTo>
                    <a:pt x="57" y="88"/>
                    <a:pt x="55" y="87"/>
                    <a:pt x="54" y="85"/>
                  </a:cubicBezTo>
                  <a:cubicBezTo>
                    <a:pt x="52" y="84"/>
                    <a:pt x="50" y="83"/>
                    <a:pt x="49" y="82"/>
                  </a:cubicBezTo>
                  <a:cubicBezTo>
                    <a:pt x="49" y="77"/>
                    <a:pt x="49" y="72"/>
                    <a:pt x="49" y="67"/>
                  </a:cubicBezTo>
                  <a:cubicBezTo>
                    <a:pt x="50" y="66"/>
                    <a:pt x="51" y="66"/>
                    <a:pt x="52" y="65"/>
                  </a:cubicBezTo>
                  <a:cubicBezTo>
                    <a:pt x="55" y="65"/>
                    <a:pt x="57" y="66"/>
                    <a:pt x="59" y="65"/>
                  </a:cubicBezTo>
                  <a:cubicBezTo>
                    <a:pt x="60" y="65"/>
                    <a:pt x="59" y="64"/>
                    <a:pt x="59" y="63"/>
                  </a:cubicBezTo>
                  <a:cubicBezTo>
                    <a:pt x="58" y="61"/>
                    <a:pt x="58" y="60"/>
                    <a:pt x="57" y="59"/>
                  </a:cubicBezTo>
                  <a:cubicBezTo>
                    <a:pt x="56" y="58"/>
                    <a:pt x="55" y="59"/>
                    <a:pt x="54" y="59"/>
                  </a:cubicBezTo>
                  <a:cubicBezTo>
                    <a:pt x="53" y="56"/>
                    <a:pt x="53" y="54"/>
                    <a:pt x="53" y="51"/>
                  </a:cubicBezTo>
                  <a:cubicBezTo>
                    <a:pt x="59" y="51"/>
                    <a:pt x="65" y="50"/>
                    <a:pt x="71" y="50"/>
                  </a:cubicBezTo>
                  <a:cubicBezTo>
                    <a:pt x="71" y="49"/>
                    <a:pt x="71" y="48"/>
                    <a:pt x="72" y="48"/>
                  </a:cubicBezTo>
                  <a:cubicBezTo>
                    <a:pt x="73" y="48"/>
                    <a:pt x="74" y="49"/>
                    <a:pt x="76" y="50"/>
                  </a:cubicBezTo>
                  <a:cubicBezTo>
                    <a:pt x="77" y="48"/>
                    <a:pt x="77" y="45"/>
                    <a:pt x="79" y="45"/>
                  </a:cubicBezTo>
                  <a:cubicBezTo>
                    <a:pt x="80" y="44"/>
                    <a:pt x="80" y="47"/>
                    <a:pt x="81" y="48"/>
                  </a:cubicBezTo>
                  <a:cubicBezTo>
                    <a:pt x="83" y="52"/>
                    <a:pt x="84" y="56"/>
                    <a:pt x="86" y="60"/>
                  </a:cubicBezTo>
                  <a:cubicBezTo>
                    <a:pt x="87" y="59"/>
                    <a:pt x="87" y="58"/>
                    <a:pt x="88" y="57"/>
                  </a:cubicBezTo>
                  <a:cubicBezTo>
                    <a:pt x="91" y="60"/>
                    <a:pt x="93" y="64"/>
                    <a:pt x="96" y="65"/>
                  </a:cubicBezTo>
                  <a:cubicBezTo>
                    <a:pt x="98" y="67"/>
                    <a:pt x="101" y="66"/>
                    <a:pt x="104" y="65"/>
                  </a:cubicBezTo>
                  <a:cubicBezTo>
                    <a:pt x="107" y="63"/>
                    <a:pt x="110" y="60"/>
                    <a:pt x="113" y="58"/>
                  </a:cubicBezTo>
                  <a:cubicBezTo>
                    <a:pt x="114" y="57"/>
                    <a:pt x="115" y="57"/>
                    <a:pt x="116" y="56"/>
                  </a:cubicBezTo>
                  <a:cubicBezTo>
                    <a:pt x="117" y="56"/>
                    <a:pt x="118" y="54"/>
                    <a:pt x="119" y="54"/>
                  </a:cubicBezTo>
                  <a:cubicBezTo>
                    <a:pt x="120" y="54"/>
                    <a:pt x="120" y="56"/>
                    <a:pt x="121" y="56"/>
                  </a:cubicBezTo>
                  <a:cubicBezTo>
                    <a:pt x="122" y="56"/>
                    <a:pt x="122" y="55"/>
                    <a:pt x="122" y="54"/>
                  </a:cubicBezTo>
                  <a:cubicBezTo>
                    <a:pt x="123" y="52"/>
                    <a:pt x="121" y="50"/>
                    <a:pt x="122" y="48"/>
                  </a:cubicBezTo>
                  <a:cubicBezTo>
                    <a:pt x="123" y="47"/>
                    <a:pt x="126" y="48"/>
                    <a:pt x="128" y="47"/>
                  </a:cubicBezTo>
                  <a:cubicBezTo>
                    <a:pt x="128" y="46"/>
                    <a:pt x="127" y="45"/>
                    <a:pt x="128" y="45"/>
                  </a:cubicBezTo>
                  <a:cubicBezTo>
                    <a:pt x="129" y="43"/>
                    <a:pt x="132" y="43"/>
                    <a:pt x="133" y="42"/>
                  </a:cubicBezTo>
                  <a:cubicBezTo>
                    <a:pt x="134" y="41"/>
                    <a:pt x="134" y="40"/>
                    <a:pt x="133" y="40"/>
                  </a:cubicBezTo>
                  <a:cubicBezTo>
                    <a:pt x="130" y="39"/>
                    <a:pt x="127" y="40"/>
                    <a:pt x="124" y="40"/>
                  </a:cubicBezTo>
                  <a:cubicBezTo>
                    <a:pt x="123" y="40"/>
                    <a:pt x="122" y="39"/>
                    <a:pt x="122" y="38"/>
                  </a:cubicBezTo>
                  <a:cubicBezTo>
                    <a:pt x="121" y="37"/>
                    <a:pt x="122" y="35"/>
                    <a:pt x="122" y="34"/>
                  </a:cubicBezTo>
                  <a:cubicBezTo>
                    <a:pt x="121" y="34"/>
                    <a:pt x="120" y="33"/>
                    <a:pt x="120" y="32"/>
                  </a:cubicBezTo>
                  <a:cubicBezTo>
                    <a:pt x="121" y="30"/>
                    <a:pt x="123" y="29"/>
                    <a:pt x="123" y="27"/>
                  </a:cubicBezTo>
                  <a:cubicBezTo>
                    <a:pt x="124" y="25"/>
                    <a:pt x="124" y="23"/>
                    <a:pt x="123" y="21"/>
                  </a:cubicBezTo>
                  <a:cubicBezTo>
                    <a:pt x="122" y="19"/>
                    <a:pt x="119" y="20"/>
                    <a:pt x="118" y="18"/>
                  </a:cubicBezTo>
                  <a:cubicBezTo>
                    <a:pt x="118" y="17"/>
                    <a:pt x="120" y="17"/>
                    <a:pt x="122" y="17"/>
                  </a:cubicBezTo>
                  <a:cubicBezTo>
                    <a:pt x="125" y="17"/>
                    <a:pt x="127" y="20"/>
                    <a:pt x="130" y="20"/>
                  </a:cubicBezTo>
                  <a:cubicBezTo>
                    <a:pt x="132" y="21"/>
                    <a:pt x="133" y="20"/>
                    <a:pt x="134" y="20"/>
                  </a:cubicBezTo>
                  <a:cubicBezTo>
                    <a:pt x="137" y="21"/>
                    <a:pt x="139" y="22"/>
                    <a:pt x="141" y="22"/>
                  </a:cubicBezTo>
                  <a:cubicBezTo>
                    <a:pt x="142" y="21"/>
                    <a:pt x="141" y="19"/>
                    <a:pt x="143" y="18"/>
                  </a:cubicBezTo>
                  <a:cubicBezTo>
                    <a:pt x="147" y="17"/>
                    <a:pt x="152" y="18"/>
                    <a:pt x="156" y="17"/>
                  </a:cubicBezTo>
                  <a:cubicBezTo>
                    <a:pt x="158" y="16"/>
                    <a:pt x="158" y="14"/>
                    <a:pt x="160" y="13"/>
                  </a:cubicBezTo>
                  <a:cubicBezTo>
                    <a:pt x="162" y="12"/>
                    <a:pt x="164" y="13"/>
                    <a:pt x="165" y="12"/>
                  </a:cubicBezTo>
                  <a:cubicBezTo>
                    <a:pt x="166" y="11"/>
                    <a:pt x="167" y="9"/>
                    <a:pt x="167" y="7"/>
                  </a:cubicBezTo>
                  <a:cubicBezTo>
                    <a:pt x="168" y="5"/>
                    <a:pt x="167" y="2"/>
                    <a:pt x="167" y="1"/>
                  </a:cubicBezTo>
                  <a:cubicBezTo>
                    <a:pt x="170" y="1"/>
                    <a:pt x="172" y="0"/>
                    <a:pt x="174" y="1"/>
                  </a:cubicBezTo>
                  <a:cubicBezTo>
                    <a:pt x="176" y="1"/>
                    <a:pt x="175" y="4"/>
                    <a:pt x="175" y="5"/>
                  </a:cubicBezTo>
                  <a:cubicBezTo>
                    <a:pt x="175" y="6"/>
                    <a:pt x="173" y="7"/>
                    <a:pt x="173" y="8"/>
                  </a:cubicBezTo>
                  <a:cubicBezTo>
                    <a:pt x="173" y="9"/>
                    <a:pt x="173" y="11"/>
                    <a:pt x="174" y="11"/>
                  </a:cubicBezTo>
                  <a:cubicBezTo>
                    <a:pt x="176" y="12"/>
                    <a:pt x="178" y="10"/>
                    <a:pt x="180" y="11"/>
                  </a:cubicBezTo>
                  <a:cubicBezTo>
                    <a:pt x="181" y="12"/>
                    <a:pt x="179" y="15"/>
                    <a:pt x="180" y="17"/>
                  </a:cubicBezTo>
                  <a:cubicBezTo>
                    <a:pt x="181" y="18"/>
                    <a:pt x="184" y="17"/>
                    <a:pt x="184" y="19"/>
                  </a:cubicBezTo>
                  <a:cubicBezTo>
                    <a:pt x="182" y="21"/>
                    <a:pt x="177" y="21"/>
                    <a:pt x="176" y="24"/>
                  </a:cubicBezTo>
                  <a:cubicBezTo>
                    <a:pt x="176" y="28"/>
                    <a:pt x="176" y="34"/>
                    <a:pt x="176" y="38"/>
                  </a:cubicBezTo>
                  <a:cubicBezTo>
                    <a:pt x="176" y="40"/>
                    <a:pt x="179" y="40"/>
                    <a:pt x="179" y="41"/>
                  </a:cubicBezTo>
                  <a:cubicBezTo>
                    <a:pt x="180" y="42"/>
                    <a:pt x="179" y="45"/>
                    <a:pt x="179" y="46"/>
                  </a:cubicBezTo>
                  <a:cubicBezTo>
                    <a:pt x="179" y="48"/>
                    <a:pt x="180" y="49"/>
                    <a:pt x="181" y="49"/>
                  </a:cubicBezTo>
                  <a:cubicBezTo>
                    <a:pt x="182" y="51"/>
                    <a:pt x="185" y="51"/>
                    <a:pt x="187" y="52"/>
                  </a:cubicBezTo>
                  <a:cubicBezTo>
                    <a:pt x="188" y="53"/>
                    <a:pt x="186" y="55"/>
                    <a:pt x="187" y="56"/>
                  </a:cubicBezTo>
                  <a:cubicBezTo>
                    <a:pt x="188" y="57"/>
                    <a:pt x="189" y="59"/>
                    <a:pt x="191" y="59"/>
                  </a:cubicBezTo>
                  <a:cubicBezTo>
                    <a:pt x="192" y="60"/>
                    <a:pt x="194" y="61"/>
                    <a:pt x="195" y="60"/>
                  </a:cubicBezTo>
                  <a:cubicBezTo>
                    <a:pt x="196" y="59"/>
                    <a:pt x="194" y="57"/>
                    <a:pt x="194" y="56"/>
                  </a:cubicBezTo>
                  <a:cubicBezTo>
                    <a:pt x="195" y="54"/>
                    <a:pt x="197" y="53"/>
                    <a:pt x="199" y="52"/>
                  </a:cubicBezTo>
                  <a:cubicBezTo>
                    <a:pt x="200" y="52"/>
                    <a:pt x="201" y="54"/>
                    <a:pt x="202" y="54"/>
                  </a:cubicBezTo>
                  <a:cubicBezTo>
                    <a:pt x="203" y="53"/>
                    <a:pt x="202" y="50"/>
                    <a:pt x="204" y="49"/>
                  </a:cubicBezTo>
                  <a:cubicBezTo>
                    <a:pt x="205" y="49"/>
                    <a:pt x="206" y="50"/>
                    <a:pt x="208" y="49"/>
                  </a:cubicBezTo>
                  <a:cubicBezTo>
                    <a:pt x="209" y="49"/>
                    <a:pt x="209" y="47"/>
                    <a:pt x="210" y="47"/>
                  </a:cubicBezTo>
                  <a:cubicBezTo>
                    <a:pt x="212" y="47"/>
                    <a:pt x="213" y="48"/>
                    <a:pt x="214" y="48"/>
                  </a:cubicBezTo>
                  <a:cubicBezTo>
                    <a:pt x="216" y="49"/>
                    <a:pt x="218" y="48"/>
                    <a:pt x="220" y="48"/>
                  </a:cubicBezTo>
                  <a:cubicBezTo>
                    <a:pt x="221" y="48"/>
                    <a:pt x="224" y="48"/>
                    <a:pt x="225" y="48"/>
                  </a:cubicBezTo>
                  <a:cubicBezTo>
                    <a:pt x="227" y="48"/>
                    <a:pt x="229" y="47"/>
                    <a:pt x="229" y="46"/>
                  </a:cubicBezTo>
                  <a:cubicBezTo>
                    <a:pt x="229" y="44"/>
                    <a:pt x="225" y="45"/>
                    <a:pt x="225" y="43"/>
                  </a:cubicBezTo>
                  <a:cubicBezTo>
                    <a:pt x="225" y="41"/>
                    <a:pt x="227" y="39"/>
                    <a:pt x="229" y="38"/>
                  </a:cubicBezTo>
                  <a:cubicBezTo>
                    <a:pt x="231" y="38"/>
                    <a:pt x="232" y="40"/>
                    <a:pt x="234" y="40"/>
                  </a:cubicBezTo>
                  <a:cubicBezTo>
                    <a:pt x="235" y="40"/>
                    <a:pt x="237" y="39"/>
                    <a:pt x="238" y="39"/>
                  </a:cubicBezTo>
                  <a:cubicBezTo>
                    <a:pt x="239" y="39"/>
                    <a:pt x="240" y="37"/>
                    <a:pt x="240" y="38"/>
                  </a:cubicBezTo>
                  <a:cubicBezTo>
                    <a:pt x="242" y="38"/>
                    <a:pt x="242" y="40"/>
                    <a:pt x="242" y="41"/>
                  </a:cubicBezTo>
                  <a:cubicBezTo>
                    <a:pt x="244" y="43"/>
                    <a:pt x="245" y="44"/>
                    <a:pt x="247" y="45"/>
                  </a:cubicBezTo>
                  <a:cubicBezTo>
                    <a:pt x="249" y="46"/>
                    <a:pt x="251" y="46"/>
                    <a:pt x="252" y="45"/>
                  </a:cubicBezTo>
                  <a:cubicBezTo>
                    <a:pt x="253" y="45"/>
                    <a:pt x="254" y="43"/>
                    <a:pt x="255" y="43"/>
                  </a:cubicBezTo>
                  <a:cubicBezTo>
                    <a:pt x="257" y="42"/>
                    <a:pt x="258" y="42"/>
                    <a:pt x="259" y="43"/>
                  </a:cubicBezTo>
                  <a:cubicBezTo>
                    <a:pt x="260" y="43"/>
                    <a:pt x="260" y="45"/>
                    <a:pt x="261" y="45"/>
                  </a:cubicBezTo>
                  <a:cubicBezTo>
                    <a:pt x="262" y="46"/>
                    <a:pt x="265" y="46"/>
                    <a:pt x="267" y="45"/>
                  </a:cubicBezTo>
                  <a:cubicBezTo>
                    <a:pt x="269" y="44"/>
                    <a:pt x="270" y="41"/>
                    <a:pt x="270" y="39"/>
                  </a:cubicBezTo>
                  <a:cubicBezTo>
                    <a:pt x="271" y="36"/>
                    <a:pt x="271" y="33"/>
                    <a:pt x="272" y="29"/>
                  </a:cubicBezTo>
                  <a:cubicBezTo>
                    <a:pt x="273" y="27"/>
                    <a:pt x="275" y="24"/>
                    <a:pt x="277" y="22"/>
                  </a:cubicBezTo>
                  <a:cubicBezTo>
                    <a:pt x="279" y="20"/>
                    <a:pt x="281" y="19"/>
                    <a:pt x="284" y="17"/>
                  </a:cubicBezTo>
                  <a:cubicBezTo>
                    <a:pt x="285" y="16"/>
                    <a:pt x="284" y="15"/>
                    <a:pt x="285" y="15"/>
                  </a:cubicBezTo>
                  <a:cubicBezTo>
                    <a:pt x="287" y="15"/>
                    <a:pt x="288" y="17"/>
                    <a:pt x="288" y="18"/>
                  </a:cubicBezTo>
                  <a:cubicBezTo>
                    <a:pt x="289" y="21"/>
                    <a:pt x="287" y="24"/>
                    <a:pt x="288" y="27"/>
                  </a:cubicBezTo>
                  <a:cubicBezTo>
                    <a:pt x="289" y="29"/>
                    <a:pt x="290" y="30"/>
                    <a:pt x="291" y="32"/>
                  </a:cubicBezTo>
                  <a:cubicBezTo>
                    <a:pt x="293" y="36"/>
                    <a:pt x="294" y="41"/>
                    <a:pt x="295" y="45"/>
                  </a:cubicBezTo>
                  <a:cubicBezTo>
                    <a:pt x="296" y="47"/>
                    <a:pt x="295" y="49"/>
                    <a:pt x="296" y="51"/>
                  </a:cubicBezTo>
                  <a:cubicBezTo>
                    <a:pt x="297" y="52"/>
                    <a:pt x="300" y="50"/>
                    <a:pt x="301" y="51"/>
                  </a:cubicBezTo>
                  <a:cubicBezTo>
                    <a:pt x="302" y="52"/>
                    <a:pt x="297" y="53"/>
                    <a:pt x="298" y="54"/>
                  </a:cubicBezTo>
                  <a:cubicBezTo>
                    <a:pt x="299" y="55"/>
                    <a:pt x="302" y="54"/>
                    <a:pt x="303" y="56"/>
                  </a:cubicBezTo>
                  <a:cubicBezTo>
                    <a:pt x="303" y="57"/>
                    <a:pt x="299" y="55"/>
                    <a:pt x="299" y="56"/>
                  </a:cubicBezTo>
                  <a:cubicBezTo>
                    <a:pt x="299" y="58"/>
                    <a:pt x="302" y="58"/>
                    <a:pt x="302" y="59"/>
                  </a:cubicBezTo>
                  <a:cubicBezTo>
                    <a:pt x="302" y="61"/>
                    <a:pt x="300" y="62"/>
                    <a:pt x="299" y="64"/>
                  </a:cubicBezTo>
                  <a:cubicBezTo>
                    <a:pt x="297" y="66"/>
                    <a:pt x="296" y="68"/>
                    <a:pt x="294" y="70"/>
                  </a:cubicBezTo>
                  <a:cubicBezTo>
                    <a:pt x="293" y="72"/>
                    <a:pt x="291" y="73"/>
                    <a:pt x="290" y="74"/>
                  </a:cubicBezTo>
                  <a:cubicBezTo>
                    <a:pt x="288" y="76"/>
                    <a:pt x="287" y="78"/>
                    <a:pt x="285" y="80"/>
                  </a:cubicBezTo>
                  <a:cubicBezTo>
                    <a:pt x="284" y="83"/>
                    <a:pt x="283" y="87"/>
                    <a:pt x="281" y="90"/>
                  </a:cubicBezTo>
                  <a:cubicBezTo>
                    <a:pt x="279" y="92"/>
                    <a:pt x="278" y="94"/>
                    <a:pt x="275" y="95"/>
                  </a:cubicBezTo>
                  <a:cubicBezTo>
                    <a:pt x="272" y="97"/>
                    <a:pt x="268" y="98"/>
                    <a:pt x="264" y="99"/>
                  </a:cubicBezTo>
                  <a:cubicBezTo>
                    <a:pt x="262" y="100"/>
                    <a:pt x="260" y="101"/>
                    <a:pt x="258" y="101"/>
                  </a:cubicBezTo>
                  <a:cubicBezTo>
                    <a:pt x="260" y="102"/>
                    <a:pt x="263" y="103"/>
                    <a:pt x="265" y="103"/>
                  </a:cubicBezTo>
                  <a:cubicBezTo>
                    <a:pt x="268" y="102"/>
                    <a:pt x="270" y="100"/>
                    <a:pt x="273" y="99"/>
                  </a:cubicBezTo>
                  <a:cubicBezTo>
                    <a:pt x="273" y="98"/>
                    <a:pt x="275" y="98"/>
                    <a:pt x="275" y="99"/>
                  </a:cubicBezTo>
                  <a:cubicBezTo>
                    <a:pt x="275" y="102"/>
                    <a:pt x="273" y="105"/>
                    <a:pt x="274" y="108"/>
                  </a:cubicBezTo>
                  <a:cubicBezTo>
                    <a:pt x="274" y="111"/>
                    <a:pt x="277" y="112"/>
                    <a:pt x="279" y="115"/>
                  </a:cubicBezTo>
                  <a:cubicBezTo>
                    <a:pt x="278" y="113"/>
                    <a:pt x="277" y="111"/>
                    <a:pt x="277" y="109"/>
                  </a:cubicBezTo>
                  <a:cubicBezTo>
                    <a:pt x="276" y="106"/>
                    <a:pt x="276" y="103"/>
                    <a:pt x="277" y="100"/>
                  </a:cubicBezTo>
                  <a:cubicBezTo>
                    <a:pt x="278" y="99"/>
                    <a:pt x="281" y="99"/>
                    <a:pt x="282" y="98"/>
                  </a:cubicBezTo>
                  <a:cubicBezTo>
                    <a:pt x="284" y="96"/>
                    <a:pt x="286" y="94"/>
                    <a:pt x="288" y="92"/>
                  </a:cubicBezTo>
                  <a:cubicBezTo>
                    <a:pt x="289" y="90"/>
                    <a:pt x="289" y="87"/>
                    <a:pt x="291" y="85"/>
                  </a:cubicBezTo>
                  <a:cubicBezTo>
                    <a:pt x="292" y="84"/>
                    <a:pt x="295" y="86"/>
                    <a:pt x="296" y="85"/>
                  </a:cubicBezTo>
                  <a:cubicBezTo>
                    <a:pt x="296" y="84"/>
                    <a:pt x="295" y="83"/>
                    <a:pt x="295" y="82"/>
                  </a:cubicBezTo>
                  <a:cubicBezTo>
                    <a:pt x="295" y="80"/>
                    <a:pt x="296" y="79"/>
                    <a:pt x="297" y="78"/>
                  </a:cubicBezTo>
                  <a:cubicBezTo>
                    <a:pt x="299" y="78"/>
                    <a:pt x="301" y="78"/>
                    <a:pt x="302" y="78"/>
                  </a:cubicBezTo>
                  <a:cubicBezTo>
                    <a:pt x="304" y="79"/>
                    <a:pt x="304" y="81"/>
                    <a:pt x="306" y="81"/>
                  </a:cubicBezTo>
                  <a:cubicBezTo>
                    <a:pt x="310" y="81"/>
                    <a:pt x="314" y="79"/>
                    <a:pt x="318" y="79"/>
                  </a:cubicBezTo>
                  <a:cubicBezTo>
                    <a:pt x="319" y="79"/>
                    <a:pt x="321" y="78"/>
                    <a:pt x="321" y="79"/>
                  </a:cubicBezTo>
                  <a:cubicBezTo>
                    <a:pt x="321" y="83"/>
                    <a:pt x="320" y="87"/>
                    <a:pt x="319" y="90"/>
                  </a:cubicBezTo>
                  <a:cubicBezTo>
                    <a:pt x="318" y="93"/>
                    <a:pt x="318" y="95"/>
                    <a:pt x="317" y="97"/>
                  </a:cubicBezTo>
                  <a:cubicBezTo>
                    <a:pt x="316" y="99"/>
                    <a:pt x="314" y="100"/>
                    <a:pt x="313" y="100"/>
                  </a:cubicBezTo>
                  <a:cubicBezTo>
                    <a:pt x="307" y="101"/>
                    <a:pt x="301" y="99"/>
                    <a:pt x="296" y="100"/>
                  </a:cubicBezTo>
                  <a:cubicBezTo>
                    <a:pt x="294" y="101"/>
                    <a:pt x="292" y="103"/>
                    <a:pt x="291" y="104"/>
                  </a:cubicBezTo>
                  <a:cubicBezTo>
                    <a:pt x="294" y="104"/>
                    <a:pt x="298" y="103"/>
                    <a:pt x="302" y="103"/>
                  </a:cubicBezTo>
                  <a:cubicBezTo>
                    <a:pt x="305" y="103"/>
                    <a:pt x="307" y="102"/>
                    <a:pt x="310" y="102"/>
                  </a:cubicBezTo>
                  <a:cubicBezTo>
                    <a:pt x="310" y="105"/>
                    <a:pt x="309" y="108"/>
                    <a:pt x="308" y="111"/>
                  </a:cubicBezTo>
                  <a:cubicBezTo>
                    <a:pt x="308" y="113"/>
                    <a:pt x="305" y="114"/>
                    <a:pt x="305" y="117"/>
                  </a:cubicBezTo>
                  <a:cubicBezTo>
                    <a:pt x="304" y="120"/>
                    <a:pt x="306" y="123"/>
                    <a:pt x="307" y="126"/>
                  </a:cubicBezTo>
                  <a:cubicBezTo>
                    <a:pt x="307" y="123"/>
                    <a:pt x="307" y="121"/>
                    <a:pt x="308" y="118"/>
                  </a:cubicBezTo>
                  <a:cubicBezTo>
                    <a:pt x="308" y="117"/>
                    <a:pt x="309" y="115"/>
                    <a:pt x="309" y="114"/>
                  </a:cubicBezTo>
                  <a:cubicBezTo>
                    <a:pt x="311" y="110"/>
                    <a:pt x="312" y="106"/>
                    <a:pt x="314" y="102"/>
                  </a:cubicBezTo>
                  <a:cubicBezTo>
                    <a:pt x="315" y="100"/>
                    <a:pt x="318" y="100"/>
                    <a:pt x="320" y="98"/>
                  </a:cubicBezTo>
                  <a:cubicBezTo>
                    <a:pt x="321" y="97"/>
                    <a:pt x="323" y="95"/>
                    <a:pt x="324" y="93"/>
                  </a:cubicBezTo>
                  <a:cubicBezTo>
                    <a:pt x="325" y="90"/>
                    <a:pt x="324" y="87"/>
                    <a:pt x="326" y="85"/>
                  </a:cubicBezTo>
                  <a:cubicBezTo>
                    <a:pt x="328" y="83"/>
                    <a:pt x="330" y="85"/>
                    <a:pt x="332" y="85"/>
                  </a:cubicBezTo>
                  <a:cubicBezTo>
                    <a:pt x="335" y="85"/>
                    <a:pt x="338" y="84"/>
                    <a:pt x="340" y="85"/>
                  </a:cubicBezTo>
                  <a:cubicBezTo>
                    <a:pt x="343" y="86"/>
                    <a:pt x="345" y="89"/>
                    <a:pt x="347" y="90"/>
                  </a:cubicBezTo>
                  <a:cubicBezTo>
                    <a:pt x="352" y="92"/>
                    <a:pt x="357" y="92"/>
                    <a:pt x="361" y="94"/>
                  </a:cubicBezTo>
                  <a:cubicBezTo>
                    <a:pt x="362" y="94"/>
                    <a:pt x="360" y="97"/>
                    <a:pt x="361" y="97"/>
                  </a:cubicBezTo>
                  <a:cubicBezTo>
                    <a:pt x="362" y="98"/>
                    <a:pt x="363" y="95"/>
                    <a:pt x="364" y="95"/>
                  </a:cubicBezTo>
                  <a:cubicBezTo>
                    <a:pt x="365" y="95"/>
                    <a:pt x="366" y="96"/>
                    <a:pt x="367" y="97"/>
                  </a:cubicBezTo>
                  <a:cubicBezTo>
                    <a:pt x="369" y="98"/>
                    <a:pt x="370" y="99"/>
                    <a:pt x="371" y="100"/>
                  </a:cubicBezTo>
                  <a:cubicBezTo>
                    <a:pt x="372" y="102"/>
                    <a:pt x="373" y="105"/>
                    <a:pt x="373" y="107"/>
                  </a:cubicBezTo>
                  <a:cubicBezTo>
                    <a:pt x="373" y="109"/>
                    <a:pt x="371" y="112"/>
                    <a:pt x="372" y="114"/>
                  </a:cubicBezTo>
                  <a:cubicBezTo>
                    <a:pt x="372" y="115"/>
                    <a:pt x="375" y="116"/>
                    <a:pt x="376" y="115"/>
                  </a:cubicBezTo>
                  <a:cubicBezTo>
                    <a:pt x="379" y="114"/>
                    <a:pt x="381" y="111"/>
                    <a:pt x="384" y="110"/>
                  </a:cubicBezTo>
                  <a:cubicBezTo>
                    <a:pt x="386" y="109"/>
                    <a:pt x="389" y="110"/>
                    <a:pt x="391" y="110"/>
                  </a:cubicBezTo>
                  <a:cubicBezTo>
                    <a:pt x="392" y="110"/>
                    <a:pt x="394" y="111"/>
                    <a:pt x="396" y="111"/>
                  </a:cubicBezTo>
                  <a:cubicBezTo>
                    <a:pt x="400" y="112"/>
                    <a:pt x="405" y="113"/>
                    <a:pt x="410" y="114"/>
                  </a:cubicBezTo>
                  <a:cubicBezTo>
                    <a:pt x="414" y="114"/>
                    <a:pt x="419" y="113"/>
                    <a:pt x="423" y="114"/>
                  </a:cubicBezTo>
                  <a:cubicBezTo>
                    <a:pt x="427" y="114"/>
                    <a:pt x="431" y="115"/>
                    <a:pt x="435" y="117"/>
                  </a:cubicBezTo>
                  <a:cubicBezTo>
                    <a:pt x="440" y="120"/>
                    <a:pt x="444" y="124"/>
                    <a:pt x="448" y="128"/>
                  </a:cubicBezTo>
                  <a:cubicBezTo>
                    <a:pt x="451" y="130"/>
                    <a:pt x="451" y="134"/>
                    <a:pt x="453" y="137"/>
                  </a:cubicBezTo>
                  <a:cubicBezTo>
                    <a:pt x="455" y="138"/>
                    <a:pt x="457" y="137"/>
                    <a:pt x="459" y="138"/>
                  </a:cubicBezTo>
                  <a:cubicBezTo>
                    <a:pt x="460" y="139"/>
                    <a:pt x="460" y="141"/>
                    <a:pt x="462" y="143"/>
                  </a:cubicBezTo>
                  <a:cubicBezTo>
                    <a:pt x="463" y="144"/>
                    <a:pt x="465" y="144"/>
                    <a:pt x="466" y="145"/>
                  </a:cubicBezTo>
                  <a:cubicBezTo>
                    <a:pt x="468" y="146"/>
                    <a:pt x="470" y="148"/>
                    <a:pt x="472" y="148"/>
                  </a:cubicBezTo>
                  <a:cubicBezTo>
                    <a:pt x="476" y="149"/>
                    <a:pt x="481" y="146"/>
                    <a:pt x="485" y="147"/>
                  </a:cubicBezTo>
                  <a:cubicBezTo>
                    <a:pt x="488" y="149"/>
                    <a:pt x="489" y="153"/>
                    <a:pt x="490" y="156"/>
                  </a:cubicBezTo>
                  <a:cubicBezTo>
                    <a:pt x="491" y="158"/>
                    <a:pt x="490" y="160"/>
                    <a:pt x="490" y="162"/>
                  </a:cubicBezTo>
                  <a:cubicBezTo>
                    <a:pt x="491" y="167"/>
                    <a:pt x="494" y="172"/>
                    <a:pt x="494" y="177"/>
                  </a:cubicBezTo>
                  <a:cubicBezTo>
                    <a:pt x="495" y="181"/>
                    <a:pt x="495" y="185"/>
                    <a:pt x="494" y="188"/>
                  </a:cubicBezTo>
                  <a:cubicBezTo>
                    <a:pt x="494" y="192"/>
                    <a:pt x="494" y="196"/>
                    <a:pt x="492" y="200"/>
                  </a:cubicBezTo>
                  <a:cubicBezTo>
                    <a:pt x="490" y="204"/>
                    <a:pt x="485" y="207"/>
                    <a:pt x="483" y="212"/>
                  </a:cubicBezTo>
                  <a:cubicBezTo>
                    <a:pt x="481" y="216"/>
                    <a:pt x="481" y="221"/>
                    <a:pt x="478" y="224"/>
                  </a:cubicBezTo>
                  <a:cubicBezTo>
                    <a:pt x="476" y="228"/>
                    <a:pt x="470" y="230"/>
                    <a:pt x="467" y="234"/>
                  </a:cubicBezTo>
                  <a:cubicBezTo>
                    <a:pt x="464" y="238"/>
                    <a:pt x="463" y="243"/>
                    <a:pt x="461" y="247"/>
                  </a:cubicBezTo>
                  <a:cubicBezTo>
                    <a:pt x="459" y="251"/>
                    <a:pt x="458" y="256"/>
                    <a:pt x="454" y="260"/>
                  </a:cubicBezTo>
                  <a:cubicBezTo>
                    <a:pt x="453" y="261"/>
                    <a:pt x="449" y="258"/>
                    <a:pt x="448" y="260"/>
                  </a:cubicBezTo>
                  <a:cubicBezTo>
                    <a:pt x="446" y="263"/>
                    <a:pt x="447" y="267"/>
                    <a:pt x="446" y="271"/>
                  </a:cubicBezTo>
                  <a:cubicBezTo>
                    <a:pt x="445" y="273"/>
                    <a:pt x="443" y="275"/>
                    <a:pt x="443" y="277"/>
                  </a:cubicBezTo>
                  <a:cubicBezTo>
                    <a:pt x="443" y="278"/>
                    <a:pt x="446" y="279"/>
                    <a:pt x="446" y="281"/>
                  </a:cubicBezTo>
                  <a:cubicBezTo>
                    <a:pt x="447" y="284"/>
                    <a:pt x="445" y="287"/>
                    <a:pt x="445" y="291"/>
                  </a:cubicBezTo>
                  <a:cubicBezTo>
                    <a:pt x="445" y="296"/>
                    <a:pt x="448" y="300"/>
                    <a:pt x="447" y="305"/>
                  </a:cubicBezTo>
                  <a:cubicBezTo>
                    <a:pt x="447" y="313"/>
                    <a:pt x="443" y="320"/>
                    <a:pt x="443" y="328"/>
                  </a:cubicBezTo>
                  <a:cubicBezTo>
                    <a:pt x="442" y="330"/>
                    <a:pt x="445" y="332"/>
                    <a:pt x="444" y="334"/>
                  </a:cubicBezTo>
                  <a:cubicBezTo>
                    <a:pt x="444" y="336"/>
                    <a:pt x="441" y="337"/>
                    <a:pt x="441" y="339"/>
                  </a:cubicBezTo>
                  <a:cubicBezTo>
                    <a:pt x="440" y="344"/>
                    <a:pt x="441" y="350"/>
                    <a:pt x="440" y="356"/>
                  </a:cubicBezTo>
                  <a:cubicBezTo>
                    <a:pt x="439" y="359"/>
                    <a:pt x="436" y="362"/>
                    <a:pt x="435" y="365"/>
                  </a:cubicBezTo>
                  <a:cubicBezTo>
                    <a:pt x="433" y="368"/>
                    <a:pt x="431" y="371"/>
                    <a:pt x="430" y="375"/>
                  </a:cubicBezTo>
                  <a:cubicBezTo>
                    <a:pt x="428" y="378"/>
                    <a:pt x="426" y="381"/>
                    <a:pt x="424" y="385"/>
                  </a:cubicBezTo>
                  <a:cubicBezTo>
                    <a:pt x="423" y="387"/>
                    <a:pt x="422" y="389"/>
                    <a:pt x="422" y="391"/>
                  </a:cubicBezTo>
                  <a:cubicBezTo>
                    <a:pt x="422" y="394"/>
                    <a:pt x="424" y="397"/>
                    <a:pt x="422" y="399"/>
                  </a:cubicBezTo>
                  <a:cubicBezTo>
                    <a:pt x="420" y="402"/>
                    <a:pt x="415" y="403"/>
                    <a:pt x="412" y="406"/>
                  </a:cubicBezTo>
                  <a:cubicBezTo>
                    <a:pt x="410" y="407"/>
                    <a:pt x="411" y="411"/>
                    <a:pt x="409" y="412"/>
                  </a:cubicBezTo>
                  <a:cubicBezTo>
                    <a:pt x="407" y="413"/>
                    <a:pt x="404" y="413"/>
                    <a:pt x="401" y="412"/>
                  </a:cubicBezTo>
                  <a:cubicBezTo>
                    <a:pt x="400" y="412"/>
                    <a:pt x="399" y="409"/>
                    <a:pt x="397" y="409"/>
                  </a:cubicBezTo>
                  <a:cubicBezTo>
                    <a:pt x="396" y="409"/>
                    <a:pt x="397" y="412"/>
                    <a:pt x="396" y="412"/>
                  </a:cubicBezTo>
                  <a:cubicBezTo>
                    <a:pt x="394" y="414"/>
                    <a:pt x="391" y="415"/>
                    <a:pt x="388" y="415"/>
                  </a:cubicBezTo>
                  <a:cubicBezTo>
                    <a:pt x="386" y="415"/>
                    <a:pt x="384" y="412"/>
                    <a:pt x="382" y="412"/>
                  </a:cubicBezTo>
                  <a:cubicBezTo>
                    <a:pt x="380" y="412"/>
                    <a:pt x="379" y="413"/>
                    <a:pt x="378" y="414"/>
                  </a:cubicBezTo>
                  <a:cubicBezTo>
                    <a:pt x="375" y="416"/>
                    <a:pt x="374" y="419"/>
                    <a:pt x="372" y="421"/>
                  </a:cubicBezTo>
                  <a:cubicBezTo>
                    <a:pt x="371" y="422"/>
                    <a:pt x="369" y="424"/>
                    <a:pt x="367" y="425"/>
                  </a:cubicBezTo>
                  <a:cubicBezTo>
                    <a:pt x="364" y="426"/>
                    <a:pt x="360" y="425"/>
                    <a:pt x="358" y="426"/>
                  </a:cubicBezTo>
                  <a:cubicBezTo>
                    <a:pt x="352" y="429"/>
                    <a:pt x="348" y="435"/>
                    <a:pt x="343" y="439"/>
                  </a:cubicBezTo>
                  <a:cubicBezTo>
                    <a:pt x="341" y="441"/>
                    <a:pt x="339" y="443"/>
                    <a:pt x="338" y="445"/>
                  </a:cubicBezTo>
                  <a:cubicBezTo>
                    <a:pt x="335" y="448"/>
                    <a:pt x="332" y="451"/>
                    <a:pt x="331" y="455"/>
                  </a:cubicBezTo>
                  <a:cubicBezTo>
                    <a:pt x="330" y="457"/>
                    <a:pt x="331" y="460"/>
                    <a:pt x="331" y="463"/>
                  </a:cubicBezTo>
                  <a:cubicBezTo>
                    <a:pt x="331" y="464"/>
                    <a:pt x="329" y="465"/>
                    <a:pt x="329" y="466"/>
                  </a:cubicBezTo>
                  <a:cubicBezTo>
                    <a:pt x="330" y="469"/>
                    <a:pt x="333" y="472"/>
                    <a:pt x="334" y="476"/>
                  </a:cubicBezTo>
                  <a:cubicBezTo>
                    <a:pt x="334" y="482"/>
                    <a:pt x="334" y="488"/>
                    <a:pt x="332" y="494"/>
                  </a:cubicBezTo>
                  <a:cubicBezTo>
                    <a:pt x="332" y="495"/>
                    <a:pt x="329" y="494"/>
                    <a:pt x="329" y="495"/>
                  </a:cubicBezTo>
                  <a:cubicBezTo>
                    <a:pt x="329" y="497"/>
                    <a:pt x="332" y="498"/>
                    <a:pt x="331" y="499"/>
                  </a:cubicBezTo>
                  <a:cubicBezTo>
                    <a:pt x="329" y="502"/>
                    <a:pt x="323" y="504"/>
                    <a:pt x="321" y="507"/>
                  </a:cubicBezTo>
                  <a:cubicBezTo>
                    <a:pt x="317" y="513"/>
                    <a:pt x="315" y="521"/>
                    <a:pt x="312" y="528"/>
                  </a:cubicBezTo>
                  <a:cubicBezTo>
                    <a:pt x="311" y="532"/>
                    <a:pt x="310" y="537"/>
                    <a:pt x="307" y="541"/>
                  </a:cubicBezTo>
                  <a:cubicBezTo>
                    <a:pt x="304" y="545"/>
                    <a:pt x="300" y="548"/>
                    <a:pt x="296" y="551"/>
                  </a:cubicBezTo>
                  <a:cubicBezTo>
                    <a:pt x="295" y="552"/>
                    <a:pt x="293" y="550"/>
                    <a:pt x="293" y="549"/>
                  </a:cubicBezTo>
                  <a:cubicBezTo>
                    <a:pt x="294" y="547"/>
                    <a:pt x="296" y="548"/>
                    <a:pt x="298" y="547"/>
                  </a:cubicBezTo>
                  <a:cubicBezTo>
                    <a:pt x="300" y="545"/>
                    <a:pt x="302" y="544"/>
                    <a:pt x="303" y="541"/>
                  </a:cubicBezTo>
                  <a:cubicBezTo>
                    <a:pt x="304" y="540"/>
                    <a:pt x="302" y="538"/>
                    <a:pt x="303" y="537"/>
                  </a:cubicBezTo>
                  <a:cubicBezTo>
                    <a:pt x="304" y="536"/>
                    <a:pt x="306" y="537"/>
                    <a:pt x="306" y="536"/>
                  </a:cubicBezTo>
                  <a:cubicBezTo>
                    <a:pt x="308" y="533"/>
                    <a:pt x="310" y="529"/>
                    <a:pt x="310" y="525"/>
                  </a:cubicBezTo>
                  <a:cubicBezTo>
                    <a:pt x="309" y="523"/>
                    <a:pt x="307" y="527"/>
                    <a:pt x="305" y="526"/>
                  </a:cubicBezTo>
                  <a:cubicBezTo>
                    <a:pt x="303" y="525"/>
                    <a:pt x="303" y="521"/>
                    <a:pt x="301" y="520"/>
                  </a:cubicBezTo>
                  <a:cubicBezTo>
                    <a:pt x="299" y="520"/>
                    <a:pt x="299" y="523"/>
                    <a:pt x="300" y="525"/>
                  </a:cubicBezTo>
                  <a:cubicBezTo>
                    <a:pt x="300" y="526"/>
                    <a:pt x="303" y="527"/>
                    <a:pt x="303" y="528"/>
                  </a:cubicBezTo>
                  <a:cubicBezTo>
                    <a:pt x="302" y="533"/>
                    <a:pt x="297" y="536"/>
                    <a:pt x="295" y="540"/>
                  </a:cubicBezTo>
                  <a:cubicBezTo>
                    <a:pt x="294" y="543"/>
                    <a:pt x="292" y="546"/>
                    <a:pt x="291" y="549"/>
                  </a:cubicBezTo>
                  <a:cubicBezTo>
                    <a:pt x="291" y="550"/>
                    <a:pt x="294" y="551"/>
                    <a:pt x="293" y="553"/>
                  </a:cubicBezTo>
                  <a:cubicBezTo>
                    <a:pt x="293" y="556"/>
                    <a:pt x="290" y="559"/>
                    <a:pt x="289" y="562"/>
                  </a:cubicBezTo>
                  <a:cubicBezTo>
                    <a:pt x="287" y="565"/>
                    <a:pt x="287" y="568"/>
                    <a:pt x="285" y="571"/>
                  </a:cubicBezTo>
                  <a:cubicBezTo>
                    <a:pt x="284" y="573"/>
                    <a:pt x="282" y="576"/>
                    <a:pt x="281" y="578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8" name="Freeform 749"/>
            <p:cNvSpPr>
              <a:spLocks noChangeAspect="1"/>
            </p:cNvSpPr>
            <p:nvPr/>
          </p:nvSpPr>
          <p:spPr bwMode="auto">
            <a:xfrm>
              <a:off x="2870200" y="4460875"/>
              <a:ext cx="293688" cy="376238"/>
            </a:xfrm>
            <a:custGeom>
              <a:avLst/>
              <a:gdLst>
                <a:gd name="T0" fmla="*/ 186892 w 154"/>
                <a:gd name="T1" fmla="*/ 318943 h 197"/>
                <a:gd name="T2" fmla="*/ 192614 w 154"/>
                <a:gd name="T3" fmla="*/ 296025 h 197"/>
                <a:gd name="T4" fmla="*/ 238383 w 154"/>
                <a:gd name="T5" fmla="*/ 267377 h 197"/>
                <a:gd name="T6" fmla="*/ 284153 w 154"/>
                <a:gd name="T7" fmla="*/ 284566 h 197"/>
                <a:gd name="T8" fmla="*/ 293688 w 154"/>
                <a:gd name="T9" fmla="*/ 233000 h 197"/>
                <a:gd name="T10" fmla="*/ 272710 w 154"/>
                <a:gd name="T11" fmla="*/ 206262 h 197"/>
                <a:gd name="T12" fmla="*/ 276524 w 154"/>
                <a:gd name="T13" fmla="*/ 185254 h 197"/>
                <a:gd name="T14" fmla="*/ 230755 w 154"/>
                <a:gd name="T15" fmla="*/ 185254 h 197"/>
                <a:gd name="T16" fmla="*/ 221220 w 154"/>
                <a:gd name="T17" fmla="*/ 154697 h 197"/>
                <a:gd name="T18" fmla="*/ 226941 w 154"/>
                <a:gd name="T19" fmla="*/ 139418 h 197"/>
                <a:gd name="T20" fmla="*/ 221220 w 154"/>
                <a:gd name="T21" fmla="*/ 110771 h 197"/>
                <a:gd name="T22" fmla="*/ 184985 w 154"/>
                <a:gd name="T23" fmla="*/ 105041 h 197"/>
                <a:gd name="T24" fmla="*/ 167822 w 154"/>
                <a:gd name="T25" fmla="*/ 93582 h 197"/>
                <a:gd name="T26" fmla="*/ 144937 w 154"/>
                <a:gd name="T27" fmla="*/ 82123 h 197"/>
                <a:gd name="T28" fmla="*/ 104889 w 154"/>
                <a:gd name="T29" fmla="*/ 53475 h 197"/>
                <a:gd name="T30" fmla="*/ 95353 w 154"/>
                <a:gd name="T31" fmla="*/ 22918 h 197"/>
                <a:gd name="T32" fmla="*/ 70561 w 154"/>
                <a:gd name="T33" fmla="*/ 3820 h 197"/>
                <a:gd name="T34" fmla="*/ 45770 w 154"/>
                <a:gd name="T35" fmla="*/ 19098 h 197"/>
                <a:gd name="T36" fmla="*/ 19071 w 154"/>
                <a:gd name="T37" fmla="*/ 34377 h 197"/>
                <a:gd name="T38" fmla="*/ 0 w 154"/>
                <a:gd name="T39" fmla="*/ 32467 h 197"/>
                <a:gd name="T40" fmla="*/ 24792 w 154"/>
                <a:gd name="T41" fmla="*/ 89762 h 197"/>
                <a:gd name="T42" fmla="*/ 20978 w 154"/>
                <a:gd name="T43" fmla="*/ 112680 h 197"/>
                <a:gd name="T44" fmla="*/ 20978 w 154"/>
                <a:gd name="T45" fmla="*/ 126049 h 197"/>
                <a:gd name="T46" fmla="*/ 15257 w 154"/>
                <a:gd name="T47" fmla="*/ 158517 h 197"/>
                <a:gd name="T48" fmla="*/ 9535 w 154"/>
                <a:gd name="T49" fmla="*/ 204353 h 197"/>
                <a:gd name="T50" fmla="*/ 9535 w 154"/>
                <a:gd name="T51" fmla="*/ 223451 h 197"/>
                <a:gd name="T52" fmla="*/ 24792 w 154"/>
                <a:gd name="T53" fmla="*/ 259738 h 197"/>
                <a:gd name="T54" fmla="*/ 30513 w 154"/>
                <a:gd name="T55" fmla="*/ 280746 h 197"/>
                <a:gd name="T56" fmla="*/ 30513 w 154"/>
                <a:gd name="T57" fmla="*/ 290295 h 197"/>
                <a:gd name="T58" fmla="*/ 36234 w 154"/>
                <a:gd name="T59" fmla="*/ 307484 h 197"/>
                <a:gd name="T60" fmla="*/ 41955 w 154"/>
                <a:gd name="T61" fmla="*/ 317033 h 197"/>
                <a:gd name="T62" fmla="*/ 55305 w 154"/>
                <a:gd name="T63" fmla="*/ 359049 h 197"/>
                <a:gd name="T64" fmla="*/ 62933 w 154"/>
                <a:gd name="T65" fmla="*/ 370508 h 197"/>
                <a:gd name="T66" fmla="*/ 78190 w 154"/>
                <a:gd name="T67" fmla="*/ 360959 h 197"/>
                <a:gd name="T68" fmla="*/ 89632 w 154"/>
                <a:gd name="T69" fmla="*/ 351410 h 197"/>
                <a:gd name="T70" fmla="*/ 106796 w 154"/>
                <a:gd name="T71" fmla="*/ 349500 h 197"/>
                <a:gd name="T72" fmla="*/ 139216 w 154"/>
                <a:gd name="T73" fmla="*/ 372418 h 197"/>
                <a:gd name="T74" fmla="*/ 148751 w 154"/>
                <a:gd name="T75" fmla="*/ 345681 h 197"/>
                <a:gd name="T76" fmla="*/ 179264 w 154"/>
                <a:gd name="T77" fmla="*/ 353320 h 19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4"/>
                <a:gd name="T118" fmla="*/ 0 h 197"/>
                <a:gd name="T119" fmla="*/ 154 w 154"/>
                <a:gd name="T120" fmla="*/ 197 h 19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4" h="197">
                  <a:moveTo>
                    <a:pt x="94" y="185"/>
                  </a:moveTo>
                  <a:cubicBezTo>
                    <a:pt x="96" y="179"/>
                    <a:pt x="97" y="173"/>
                    <a:pt x="98" y="167"/>
                  </a:cubicBezTo>
                  <a:cubicBezTo>
                    <a:pt x="98" y="164"/>
                    <a:pt x="97" y="162"/>
                    <a:pt x="97" y="160"/>
                  </a:cubicBezTo>
                  <a:cubicBezTo>
                    <a:pt x="99" y="158"/>
                    <a:pt x="100" y="156"/>
                    <a:pt x="101" y="155"/>
                  </a:cubicBezTo>
                  <a:cubicBezTo>
                    <a:pt x="102" y="152"/>
                    <a:pt x="102" y="149"/>
                    <a:pt x="103" y="147"/>
                  </a:cubicBezTo>
                  <a:cubicBezTo>
                    <a:pt x="110" y="144"/>
                    <a:pt x="117" y="142"/>
                    <a:pt x="125" y="140"/>
                  </a:cubicBezTo>
                  <a:cubicBezTo>
                    <a:pt x="129" y="140"/>
                    <a:pt x="133" y="141"/>
                    <a:pt x="138" y="141"/>
                  </a:cubicBezTo>
                  <a:cubicBezTo>
                    <a:pt x="141" y="144"/>
                    <a:pt x="145" y="146"/>
                    <a:pt x="149" y="149"/>
                  </a:cubicBezTo>
                  <a:cubicBezTo>
                    <a:pt x="150" y="145"/>
                    <a:pt x="152" y="140"/>
                    <a:pt x="153" y="136"/>
                  </a:cubicBezTo>
                  <a:cubicBezTo>
                    <a:pt x="154" y="131"/>
                    <a:pt x="154" y="127"/>
                    <a:pt x="154" y="122"/>
                  </a:cubicBezTo>
                  <a:cubicBezTo>
                    <a:pt x="153" y="118"/>
                    <a:pt x="153" y="114"/>
                    <a:pt x="150" y="111"/>
                  </a:cubicBezTo>
                  <a:cubicBezTo>
                    <a:pt x="149" y="109"/>
                    <a:pt x="144" y="110"/>
                    <a:pt x="143" y="108"/>
                  </a:cubicBezTo>
                  <a:cubicBezTo>
                    <a:pt x="142" y="105"/>
                    <a:pt x="145" y="103"/>
                    <a:pt x="145" y="100"/>
                  </a:cubicBezTo>
                  <a:cubicBezTo>
                    <a:pt x="146" y="99"/>
                    <a:pt x="145" y="98"/>
                    <a:pt x="145" y="97"/>
                  </a:cubicBezTo>
                  <a:cubicBezTo>
                    <a:pt x="145" y="96"/>
                    <a:pt x="144" y="97"/>
                    <a:pt x="144" y="97"/>
                  </a:cubicBezTo>
                  <a:cubicBezTo>
                    <a:pt x="136" y="97"/>
                    <a:pt x="128" y="97"/>
                    <a:pt x="121" y="97"/>
                  </a:cubicBezTo>
                  <a:cubicBezTo>
                    <a:pt x="120" y="97"/>
                    <a:pt x="121" y="96"/>
                    <a:pt x="121" y="95"/>
                  </a:cubicBezTo>
                  <a:cubicBezTo>
                    <a:pt x="119" y="90"/>
                    <a:pt x="116" y="86"/>
                    <a:pt x="116" y="81"/>
                  </a:cubicBezTo>
                  <a:cubicBezTo>
                    <a:pt x="116" y="79"/>
                    <a:pt x="119" y="80"/>
                    <a:pt x="119" y="79"/>
                  </a:cubicBezTo>
                  <a:cubicBezTo>
                    <a:pt x="120" y="77"/>
                    <a:pt x="120" y="75"/>
                    <a:pt x="119" y="73"/>
                  </a:cubicBezTo>
                  <a:cubicBezTo>
                    <a:pt x="119" y="71"/>
                    <a:pt x="117" y="69"/>
                    <a:pt x="116" y="67"/>
                  </a:cubicBezTo>
                  <a:cubicBezTo>
                    <a:pt x="116" y="64"/>
                    <a:pt x="118" y="60"/>
                    <a:pt x="116" y="58"/>
                  </a:cubicBezTo>
                  <a:cubicBezTo>
                    <a:pt x="115" y="57"/>
                    <a:pt x="111" y="56"/>
                    <a:pt x="108" y="56"/>
                  </a:cubicBezTo>
                  <a:cubicBezTo>
                    <a:pt x="104" y="55"/>
                    <a:pt x="101" y="56"/>
                    <a:pt x="97" y="55"/>
                  </a:cubicBezTo>
                  <a:cubicBezTo>
                    <a:pt x="95" y="54"/>
                    <a:pt x="95" y="50"/>
                    <a:pt x="93" y="49"/>
                  </a:cubicBezTo>
                  <a:cubicBezTo>
                    <a:pt x="91" y="49"/>
                    <a:pt x="90" y="50"/>
                    <a:pt x="88" y="49"/>
                  </a:cubicBezTo>
                  <a:cubicBezTo>
                    <a:pt x="86" y="48"/>
                    <a:pt x="86" y="44"/>
                    <a:pt x="84" y="43"/>
                  </a:cubicBezTo>
                  <a:cubicBezTo>
                    <a:pt x="81" y="42"/>
                    <a:pt x="79" y="43"/>
                    <a:pt x="76" y="43"/>
                  </a:cubicBezTo>
                  <a:cubicBezTo>
                    <a:pt x="73" y="42"/>
                    <a:pt x="68" y="43"/>
                    <a:pt x="65" y="41"/>
                  </a:cubicBezTo>
                  <a:cubicBezTo>
                    <a:pt x="62" y="37"/>
                    <a:pt x="58" y="32"/>
                    <a:pt x="55" y="28"/>
                  </a:cubicBezTo>
                  <a:cubicBezTo>
                    <a:pt x="54" y="26"/>
                    <a:pt x="54" y="24"/>
                    <a:pt x="53" y="22"/>
                  </a:cubicBezTo>
                  <a:cubicBezTo>
                    <a:pt x="52" y="19"/>
                    <a:pt x="53" y="16"/>
                    <a:pt x="50" y="12"/>
                  </a:cubicBezTo>
                  <a:cubicBezTo>
                    <a:pt x="50" y="9"/>
                    <a:pt x="54" y="3"/>
                    <a:pt x="51" y="1"/>
                  </a:cubicBezTo>
                  <a:cubicBezTo>
                    <a:pt x="47" y="2"/>
                    <a:pt x="42" y="0"/>
                    <a:pt x="37" y="2"/>
                  </a:cubicBezTo>
                  <a:cubicBezTo>
                    <a:pt x="34" y="3"/>
                    <a:pt x="33" y="7"/>
                    <a:pt x="30" y="8"/>
                  </a:cubicBezTo>
                  <a:cubicBezTo>
                    <a:pt x="28" y="9"/>
                    <a:pt x="25" y="9"/>
                    <a:pt x="24" y="10"/>
                  </a:cubicBezTo>
                  <a:cubicBezTo>
                    <a:pt x="21" y="11"/>
                    <a:pt x="20" y="14"/>
                    <a:pt x="18" y="15"/>
                  </a:cubicBezTo>
                  <a:cubicBezTo>
                    <a:pt x="15" y="17"/>
                    <a:pt x="13" y="18"/>
                    <a:pt x="10" y="18"/>
                  </a:cubicBezTo>
                  <a:cubicBezTo>
                    <a:pt x="8" y="19"/>
                    <a:pt x="6" y="18"/>
                    <a:pt x="5" y="18"/>
                  </a:cubicBezTo>
                  <a:cubicBezTo>
                    <a:pt x="3" y="18"/>
                    <a:pt x="1" y="17"/>
                    <a:pt x="0" y="17"/>
                  </a:cubicBezTo>
                  <a:cubicBezTo>
                    <a:pt x="5" y="25"/>
                    <a:pt x="10" y="33"/>
                    <a:pt x="16" y="41"/>
                  </a:cubicBezTo>
                  <a:cubicBezTo>
                    <a:pt x="15" y="43"/>
                    <a:pt x="14" y="45"/>
                    <a:pt x="13" y="47"/>
                  </a:cubicBezTo>
                  <a:cubicBezTo>
                    <a:pt x="12" y="49"/>
                    <a:pt x="11" y="50"/>
                    <a:pt x="10" y="52"/>
                  </a:cubicBezTo>
                  <a:cubicBezTo>
                    <a:pt x="10" y="54"/>
                    <a:pt x="11" y="56"/>
                    <a:pt x="11" y="59"/>
                  </a:cubicBezTo>
                  <a:cubicBezTo>
                    <a:pt x="10" y="60"/>
                    <a:pt x="8" y="58"/>
                    <a:pt x="8" y="59"/>
                  </a:cubicBezTo>
                  <a:cubicBezTo>
                    <a:pt x="8" y="61"/>
                    <a:pt x="11" y="64"/>
                    <a:pt x="11" y="66"/>
                  </a:cubicBezTo>
                  <a:cubicBezTo>
                    <a:pt x="11" y="70"/>
                    <a:pt x="6" y="73"/>
                    <a:pt x="6" y="77"/>
                  </a:cubicBezTo>
                  <a:cubicBezTo>
                    <a:pt x="5" y="79"/>
                    <a:pt x="8" y="81"/>
                    <a:pt x="8" y="83"/>
                  </a:cubicBezTo>
                  <a:cubicBezTo>
                    <a:pt x="9" y="88"/>
                    <a:pt x="9" y="94"/>
                    <a:pt x="8" y="100"/>
                  </a:cubicBezTo>
                  <a:cubicBezTo>
                    <a:pt x="8" y="102"/>
                    <a:pt x="7" y="105"/>
                    <a:pt x="5" y="107"/>
                  </a:cubicBezTo>
                  <a:cubicBezTo>
                    <a:pt x="4" y="108"/>
                    <a:pt x="2" y="109"/>
                    <a:pt x="2" y="110"/>
                  </a:cubicBezTo>
                  <a:cubicBezTo>
                    <a:pt x="1" y="112"/>
                    <a:pt x="4" y="115"/>
                    <a:pt x="5" y="117"/>
                  </a:cubicBezTo>
                  <a:cubicBezTo>
                    <a:pt x="6" y="119"/>
                    <a:pt x="9" y="120"/>
                    <a:pt x="10" y="122"/>
                  </a:cubicBezTo>
                  <a:cubicBezTo>
                    <a:pt x="12" y="127"/>
                    <a:pt x="11" y="131"/>
                    <a:pt x="13" y="136"/>
                  </a:cubicBezTo>
                  <a:cubicBezTo>
                    <a:pt x="14" y="138"/>
                    <a:pt x="17" y="140"/>
                    <a:pt x="18" y="142"/>
                  </a:cubicBezTo>
                  <a:cubicBezTo>
                    <a:pt x="18" y="144"/>
                    <a:pt x="16" y="145"/>
                    <a:pt x="16" y="147"/>
                  </a:cubicBezTo>
                  <a:cubicBezTo>
                    <a:pt x="16" y="148"/>
                    <a:pt x="18" y="149"/>
                    <a:pt x="17" y="150"/>
                  </a:cubicBezTo>
                  <a:cubicBezTo>
                    <a:pt x="17" y="150"/>
                    <a:pt x="16" y="151"/>
                    <a:pt x="16" y="152"/>
                  </a:cubicBezTo>
                  <a:cubicBezTo>
                    <a:pt x="16" y="154"/>
                    <a:pt x="16" y="156"/>
                    <a:pt x="16" y="158"/>
                  </a:cubicBezTo>
                  <a:cubicBezTo>
                    <a:pt x="17" y="159"/>
                    <a:pt x="19" y="159"/>
                    <a:pt x="19" y="161"/>
                  </a:cubicBezTo>
                  <a:cubicBezTo>
                    <a:pt x="19" y="162"/>
                    <a:pt x="18" y="164"/>
                    <a:pt x="19" y="165"/>
                  </a:cubicBezTo>
                  <a:cubicBezTo>
                    <a:pt x="19" y="166"/>
                    <a:pt x="21" y="165"/>
                    <a:pt x="22" y="166"/>
                  </a:cubicBezTo>
                  <a:cubicBezTo>
                    <a:pt x="23" y="168"/>
                    <a:pt x="23" y="171"/>
                    <a:pt x="24" y="173"/>
                  </a:cubicBezTo>
                  <a:cubicBezTo>
                    <a:pt x="26" y="178"/>
                    <a:pt x="28" y="183"/>
                    <a:pt x="29" y="188"/>
                  </a:cubicBezTo>
                  <a:cubicBezTo>
                    <a:pt x="30" y="189"/>
                    <a:pt x="29" y="191"/>
                    <a:pt x="30" y="193"/>
                  </a:cubicBezTo>
                  <a:cubicBezTo>
                    <a:pt x="31" y="194"/>
                    <a:pt x="32" y="194"/>
                    <a:pt x="33" y="194"/>
                  </a:cubicBezTo>
                  <a:cubicBezTo>
                    <a:pt x="35" y="195"/>
                    <a:pt x="36" y="194"/>
                    <a:pt x="37" y="194"/>
                  </a:cubicBezTo>
                  <a:cubicBezTo>
                    <a:pt x="38" y="193"/>
                    <a:pt x="39" y="191"/>
                    <a:pt x="41" y="189"/>
                  </a:cubicBezTo>
                  <a:cubicBezTo>
                    <a:pt x="41" y="188"/>
                    <a:pt x="42" y="187"/>
                    <a:pt x="44" y="186"/>
                  </a:cubicBezTo>
                  <a:cubicBezTo>
                    <a:pt x="45" y="185"/>
                    <a:pt x="47" y="186"/>
                    <a:pt x="47" y="184"/>
                  </a:cubicBezTo>
                  <a:cubicBezTo>
                    <a:pt x="49" y="183"/>
                    <a:pt x="47" y="178"/>
                    <a:pt x="49" y="178"/>
                  </a:cubicBezTo>
                  <a:cubicBezTo>
                    <a:pt x="52" y="177"/>
                    <a:pt x="53" y="182"/>
                    <a:pt x="56" y="183"/>
                  </a:cubicBezTo>
                  <a:cubicBezTo>
                    <a:pt x="60" y="185"/>
                    <a:pt x="66" y="182"/>
                    <a:pt x="69" y="184"/>
                  </a:cubicBezTo>
                  <a:cubicBezTo>
                    <a:pt x="72" y="186"/>
                    <a:pt x="70" y="193"/>
                    <a:pt x="73" y="195"/>
                  </a:cubicBezTo>
                  <a:cubicBezTo>
                    <a:pt x="75" y="197"/>
                    <a:pt x="73" y="190"/>
                    <a:pt x="74" y="188"/>
                  </a:cubicBezTo>
                  <a:cubicBezTo>
                    <a:pt x="75" y="185"/>
                    <a:pt x="76" y="182"/>
                    <a:pt x="78" y="181"/>
                  </a:cubicBezTo>
                  <a:cubicBezTo>
                    <a:pt x="82" y="180"/>
                    <a:pt x="87" y="180"/>
                    <a:pt x="91" y="181"/>
                  </a:cubicBezTo>
                  <a:cubicBezTo>
                    <a:pt x="92" y="182"/>
                    <a:pt x="93" y="184"/>
                    <a:pt x="94" y="18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49" name="Freeform 750"/>
            <p:cNvSpPr>
              <a:spLocks noChangeAspect="1"/>
            </p:cNvSpPr>
            <p:nvPr/>
          </p:nvSpPr>
          <p:spPr bwMode="auto">
            <a:xfrm>
              <a:off x="3049588" y="4727575"/>
              <a:ext cx="206375" cy="236538"/>
            </a:xfrm>
            <a:custGeom>
              <a:avLst/>
              <a:gdLst>
                <a:gd name="T0" fmla="*/ 196908 w 109"/>
                <a:gd name="T1" fmla="*/ 179311 h 124"/>
                <a:gd name="T2" fmla="*/ 196908 w 109"/>
                <a:gd name="T3" fmla="*/ 167866 h 124"/>
                <a:gd name="T4" fmla="*/ 202588 w 109"/>
                <a:gd name="T5" fmla="*/ 152605 h 124"/>
                <a:gd name="T6" fmla="*/ 206375 w 109"/>
                <a:gd name="T7" fmla="*/ 131622 h 124"/>
                <a:gd name="T8" fmla="*/ 195015 w 109"/>
                <a:gd name="T9" fmla="*/ 125899 h 124"/>
                <a:gd name="T10" fmla="*/ 174188 w 109"/>
                <a:gd name="T11" fmla="*/ 129714 h 124"/>
                <a:gd name="T12" fmla="*/ 164721 w 109"/>
                <a:gd name="T13" fmla="*/ 114454 h 124"/>
                <a:gd name="T14" fmla="*/ 168508 w 109"/>
                <a:gd name="T15" fmla="*/ 87748 h 124"/>
                <a:gd name="T16" fmla="*/ 153361 w 109"/>
                <a:gd name="T17" fmla="*/ 80118 h 124"/>
                <a:gd name="T18" fmla="*/ 132534 w 109"/>
                <a:gd name="T19" fmla="*/ 78210 h 124"/>
                <a:gd name="T20" fmla="*/ 115494 w 109"/>
                <a:gd name="T21" fmla="*/ 78210 h 124"/>
                <a:gd name="T22" fmla="*/ 115494 w 109"/>
                <a:gd name="T23" fmla="*/ 72487 h 124"/>
                <a:gd name="T24" fmla="*/ 115494 w 109"/>
                <a:gd name="T25" fmla="*/ 45782 h 124"/>
                <a:gd name="T26" fmla="*/ 104134 w 109"/>
                <a:gd name="T27" fmla="*/ 34336 h 124"/>
                <a:gd name="T28" fmla="*/ 104134 w 109"/>
                <a:gd name="T29" fmla="*/ 17168 h 124"/>
                <a:gd name="T30" fmla="*/ 83307 w 109"/>
                <a:gd name="T31" fmla="*/ 1908 h 124"/>
                <a:gd name="T32" fmla="*/ 58694 w 109"/>
                <a:gd name="T33" fmla="*/ 0 h 124"/>
                <a:gd name="T34" fmla="*/ 17040 w 109"/>
                <a:gd name="T35" fmla="*/ 13353 h 124"/>
                <a:gd name="T36" fmla="*/ 13253 w 109"/>
                <a:gd name="T37" fmla="*/ 28613 h 124"/>
                <a:gd name="T38" fmla="*/ 5680 w 109"/>
                <a:gd name="T39" fmla="*/ 38151 h 124"/>
                <a:gd name="T40" fmla="*/ 7573 w 109"/>
                <a:gd name="T41" fmla="*/ 51504 h 124"/>
                <a:gd name="T42" fmla="*/ 0 w 109"/>
                <a:gd name="T43" fmla="*/ 85840 h 124"/>
                <a:gd name="T44" fmla="*/ 9467 w 109"/>
                <a:gd name="T45" fmla="*/ 97286 h 124"/>
                <a:gd name="T46" fmla="*/ 17040 w 109"/>
                <a:gd name="T47" fmla="*/ 112546 h 124"/>
                <a:gd name="T48" fmla="*/ 39760 w 109"/>
                <a:gd name="T49" fmla="*/ 125899 h 124"/>
                <a:gd name="T50" fmla="*/ 54907 w 109"/>
                <a:gd name="T51" fmla="*/ 137345 h 124"/>
                <a:gd name="T52" fmla="*/ 68161 w 109"/>
                <a:gd name="T53" fmla="*/ 137345 h 124"/>
                <a:gd name="T54" fmla="*/ 90881 w 109"/>
                <a:gd name="T55" fmla="*/ 156420 h 124"/>
                <a:gd name="T56" fmla="*/ 117388 w 109"/>
                <a:gd name="T57" fmla="*/ 164051 h 124"/>
                <a:gd name="T58" fmla="*/ 123068 w 109"/>
                <a:gd name="T59" fmla="*/ 173588 h 124"/>
                <a:gd name="T60" fmla="*/ 123068 w 109"/>
                <a:gd name="T61" fmla="*/ 194572 h 124"/>
                <a:gd name="T62" fmla="*/ 111708 w 109"/>
                <a:gd name="T63" fmla="*/ 198387 h 124"/>
                <a:gd name="T64" fmla="*/ 111708 w 109"/>
                <a:gd name="T65" fmla="*/ 211740 h 124"/>
                <a:gd name="T66" fmla="*/ 104134 w 109"/>
                <a:gd name="T67" fmla="*/ 228908 h 124"/>
                <a:gd name="T68" fmla="*/ 121174 w 109"/>
                <a:gd name="T69" fmla="*/ 228908 h 124"/>
                <a:gd name="T70" fmla="*/ 145788 w 109"/>
                <a:gd name="T71" fmla="*/ 236538 h 124"/>
                <a:gd name="T72" fmla="*/ 160935 w 109"/>
                <a:gd name="T73" fmla="*/ 230815 h 124"/>
                <a:gd name="T74" fmla="*/ 170401 w 109"/>
                <a:gd name="T75" fmla="*/ 232723 h 124"/>
                <a:gd name="T76" fmla="*/ 174188 w 109"/>
                <a:gd name="T77" fmla="*/ 234630 h 124"/>
                <a:gd name="T78" fmla="*/ 183655 w 109"/>
                <a:gd name="T79" fmla="*/ 217462 h 124"/>
                <a:gd name="T80" fmla="*/ 196908 w 109"/>
                <a:gd name="T81" fmla="*/ 206017 h 124"/>
                <a:gd name="T82" fmla="*/ 196908 w 109"/>
                <a:gd name="T83" fmla="*/ 194572 h 124"/>
                <a:gd name="T84" fmla="*/ 196908 w 109"/>
                <a:gd name="T85" fmla="*/ 179311 h 1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9"/>
                <a:gd name="T130" fmla="*/ 0 h 124"/>
                <a:gd name="T131" fmla="*/ 109 w 109"/>
                <a:gd name="T132" fmla="*/ 124 h 12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9" h="124">
                  <a:moveTo>
                    <a:pt x="104" y="94"/>
                  </a:moveTo>
                  <a:cubicBezTo>
                    <a:pt x="104" y="92"/>
                    <a:pt x="104" y="90"/>
                    <a:pt x="104" y="88"/>
                  </a:cubicBezTo>
                  <a:cubicBezTo>
                    <a:pt x="105" y="86"/>
                    <a:pt x="106" y="83"/>
                    <a:pt x="107" y="80"/>
                  </a:cubicBezTo>
                  <a:cubicBezTo>
                    <a:pt x="107" y="77"/>
                    <a:pt x="109" y="73"/>
                    <a:pt x="109" y="69"/>
                  </a:cubicBezTo>
                  <a:cubicBezTo>
                    <a:pt x="108" y="67"/>
                    <a:pt x="105" y="66"/>
                    <a:pt x="103" y="66"/>
                  </a:cubicBezTo>
                  <a:cubicBezTo>
                    <a:pt x="99" y="65"/>
                    <a:pt x="95" y="70"/>
                    <a:pt x="92" y="68"/>
                  </a:cubicBezTo>
                  <a:cubicBezTo>
                    <a:pt x="89" y="67"/>
                    <a:pt x="87" y="63"/>
                    <a:pt x="87" y="60"/>
                  </a:cubicBezTo>
                  <a:cubicBezTo>
                    <a:pt x="86" y="56"/>
                    <a:pt x="90" y="51"/>
                    <a:pt x="89" y="46"/>
                  </a:cubicBezTo>
                  <a:cubicBezTo>
                    <a:pt x="88" y="44"/>
                    <a:pt x="84" y="43"/>
                    <a:pt x="81" y="42"/>
                  </a:cubicBezTo>
                  <a:cubicBezTo>
                    <a:pt x="77" y="41"/>
                    <a:pt x="73" y="42"/>
                    <a:pt x="70" y="41"/>
                  </a:cubicBezTo>
                  <a:cubicBezTo>
                    <a:pt x="67" y="41"/>
                    <a:pt x="64" y="42"/>
                    <a:pt x="61" y="41"/>
                  </a:cubicBezTo>
                  <a:cubicBezTo>
                    <a:pt x="60" y="41"/>
                    <a:pt x="61" y="39"/>
                    <a:pt x="61" y="38"/>
                  </a:cubicBezTo>
                  <a:cubicBezTo>
                    <a:pt x="61" y="33"/>
                    <a:pt x="62" y="29"/>
                    <a:pt x="61" y="24"/>
                  </a:cubicBezTo>
                  <a:cubicBezTo>
                    <a:pt x="60" y="21"/>
                    <a:pt x="56" y="21"/>
                    <a:pt x="55" y="18"/>
                  </a:cubicBezTo>
                  <a:cubicBezTo>
                    <a:pt x="54" y="15"/>
                    <a:pt x="55" y="12"/>
                    <a:pt x="55" y="9"/>
                  </a:cubicBezTo>
                  <a:cubicBezTo>
                    <a:pt x="51" y="6"/>
                    <a:pt x="47" y="4"/>
                    <a:pt x="44" y="1"/>
                  </a:cubicBezTo>
                  <a:cubicBezTo>
                    <a:pt x="39" y="1"/>
                    <a:pt x="35" y="0"/>
                    <a:pt x="31" y="0"/>
                  </a:cubicBezTo>
                  <a:cubicBezTo>
                    <a:pt x="23" y="2"/>
                    <a:pt x="16" y="4"/>
                    <a:pt x="9" y="7"/>
                  </a:cubicBezTo>
                  <a:cubicBezTo>
                    <a:pt x="8" y="9"/>
                    <a:pt x="8" y="12"/>
                    <a:pt x="7" y="15"/>
                  </a:cubicBezTo>
                  <a:cubicBezTo>
                    <a:pt x="6" y="16"/>
                    <a:pt x="5" y="18"/>
                    <a:pt x="3" y="20"/>
                  </a:cubicBezTo>
                  <a:cubicBezTo>
                    <a:pt x="3" y="22"/>
                    <a:pt x="4" y="24"/>
                    <a:pt x="4" y="27"/>
                  </a:cubicBezTo>
                  <a:cubicBezTo>
                    <a:pt x="3" y="33"/>
                    <a:pt x="2" y="39"/>
                    <a:pt x="0" y="45"/>
                  </a:cubicBezTo>
                  <a:cubicBezTo>
                    <a:pt x="2" y="47"/>
                    <a:pt x="4" y="49"/>
                    <a:pt x="5" y="51"/>
                  </a:cubicBezTo>
                  <a:cubicBezTo>
                    <a:pt x="7" y="53"/>
                    <a:pt x="7" y="56"/>
                    <a:pt x="9" y="59"/>
                  </a:cubicBezTo>
                  <a:cubicBezTo>
                    <a:pt x="13" y="62"/>
                    <a:pt x="17" y="63"/>
                    <a:pt x="21" y="66"/>
                  </a:cubicBezTo>
                  <a:cubicBezTo>
                    <a:pt x="24" y="68"/>
                    <a:pt x="26" y="70"/>
                    <a:pt x="29" y="72"/>
                  </a:cubicBezTo>
                  <a:cubicBezTo>
                    <a:pt x="31" y="73"/>
                    <a:pt x="34" y="71"/>
                    <a:pt x="36" y="72"/>
                  </a:cubicBezTo>
                  <a:cubicBezTo>
                    <a:pt x="40" y="74"/>
                    <a:pt x="43" y="79"/>
                    <a:pt x="48" y="82"/>
                  </a:cubicBezTo>
                  <a:cubicBezTo>
                    <a:pt x="52" y="84"/>
                    <a:pt x="57" y="84"/>
                    <a:pt x="62" y="86"/>
                  </a:cubicBezTo>
                  <a:cubicBezTo>
                    <a:pt x="64" y="87"/>
                    <a:pt x="65" y="89"/>
                    <a:pt x="65" y="91"/>
                  </a:cubicBezTo>
                  <a:cubicBezTo>
                    <a:pt x="66" y="95"/>
                    <a:pt x="66" y="99"/>
                    <a:pt x="65" y="102"/>
                  </a:cubicBezTo>
                  <a:cubicBezTo>
                    <a:pt x="64" y="104"/>
                    <a:pt x="60" y="103"/>
                    <a:pt x="59" y="104"/>
                  </a:cubicBezTo>
                  <a:cubicBezTo>
                    <a:pt x="57" y="106"/>
                    <a:pt x="59" y="109"/>
                    <a:pt x="59" y="111"/>
                  </a:cubicBezTo>
                  <a:cubicBezTo>
                    <a:pt x="58" y="114"/>
                    <a:pt x="53" y="117"/>
                    <a:pt x="55" y="120"/>
                  </a:cubicBezTo>
                  <a:cubicBezTo>
                    <a:pt x="56" y="123"/>
                    <a:pt x="61" y="119"/>
                    <a:pt x="64" y="120"/>
                  </a:cubicBezTo>
                  <a:cubicBezTo>
                    <a:pt x="69" y="121"/>
                    <a:pt x="73" y="124"/>
                    <a:pt x="77" y="124"/>
                  </a:cubicBezTo>
                  <a:cubicBezTo>
                    <a:pt x="80" y="124"/>
                    <a:pt x="82" y="121"/>
                    <a:pt x="85" y="121"/>
                  </a:cubicBezTo>
                  <a:cubicBezTo>
                    <a:pt x="87" y="120"/>
                    <a:pt x="89" y="121"/>
                    <a:pt x="90" y="122"/>
                  </a:cubicBezTo>
                  <a:cubicBezTo>
                    <a:pt x="91" y="122"/>
                    <a:pt x="91" y="123"/>
                    <a:pt x="92" y="123"/>
                  </a:cubicBezTo>
                  <a:cubicBezTo>
                    <a:pt x="94" y="120"/>
                    <a:pt x="95" y="117"/>
                    <a:pt x="97" y="114"/>
                  </a:cubicBezTo>
                  <a:cubicBezTo>
                    <a:pt x="99" y="112"/>
                    <a:pt x="102" y="110"/>
                    <a:pt x="104" y="108"/>
                  </a:cubicBezTo>
                  <a:cubicBezTo>
                    <a:pt x="105" y="106"/>
                    <a:pt x="104" y="104"/>
                    <a:pt x="104" y="102"/>
                  </a:cubicBezTo>
                  <a:cubicBezTo>
                    <a:pt x="104" y="99"/>
                    <a:pt x="104" y="97"/>
                    <a:pt x="104" y="9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0" name="Freeform 751"/>
            <p:cNvSpPr>
              <a:spLocks noChangeAspect="1"/>
            </p:cNvSpPr>
            <p:nvPr/>
          </p:nvSpPr>
          <p:spPr bwMode="auto">
            <a:xfrm>
              <a:off x="3168650" y="5035550"/>
              <a:ext cx="125413" cy="149225"/>
            </a:xfrm>
            <a:custGeom>
              <a:avLst/>
              <a:gdLst>
                <a:gd name="T0" fmla="*/ 117812 w 66"/>
                <a:gd name="T1" fmla="*/ 107669 h 79"/>
                <a:gd name="T2" fmla="*/ 125413 w 66"/>
                <a:gd name="T3" fmla="*/ 113335 h 79"/>
                <a:gd name="T4" fmla="*/ 117812 w 66"/>
                <a:gd name="T5" fmla="*/ 124669 h 79"/>
                <a:gd name="T6" fmla="*/ 112112 w 66"/>
                <a:gd name="T7" fmla="*/ 132225 h 79"/>
                <a:gd name="T8" fmla="*/ 87409 w 66"/>
                <a:gd name="T9" fmla="*/ 147336 h 79"/>
                <a:gd name="T10" fmla="*/ 51305 w 66"/>
                <a:gd name="T11" fmla="*/ 147336 h 79"/>
                <a:gd name="T12" fmla="*/ 19002 w 66"/>
                <a:gd name="T13" fmla="*/ 136003 h 79"/>
                <a:gd name="T14" fmla="*/ 3800 w 66"/>
                <a:gd name="T15" fmla="*/ 124669 h 79"/>
                <a:gd name="T16" fmla="*/ 3800 w 66"/>
                <a:gd name="T17" fmla="*/ 102002 h 79"/>
                <a:gd name="T18" fmla="*/ 7601 w 66"/>
                <a:gd name="T19" fmla="*/ 86891 h 79"/>
                <a:gd name="T20" fmla="*/ 5701 w 66"/>
                <a:gd name="T21" fmla="*/ 77446 h 79"/>
                <a:gd name="T22" fmla="*/ 9501 w 66"/>
                <a:gd name="T23" fmla="*/ 71779 h 79"/>
                <a:gd name="T24" fmla="*/ 3800 w 66"/>
                <a:gd name="T25" fmla="*/ 58557 h 79"/>
                <a:gd name="T26" fmla="*/ 11401 w 66"/>
                <a:gd name="T27" fmla="*/ 45334 h 79"/>
                <a:gd name="T28" fmla="*/ 11401 w 66"/>
                <a:gd name="T29" fmla="*/ 20778 h 79"/>
                <a:gd name="T30" fmla="*/ 17102 w 66"/>
                <a:gd name="T31" fmla="*/ 9445 h 79"/>
                <a:gd name="T32" fmla="*/ 36104 w 66"/>
                <a:gd name="T33" fmla="*/ 3778 h 79"/>
                <a:gd name="T34" fmla="*/ 53206 w 66"/>
                <a:gd name="T35" fmla="*/ 34001 h 79"/>
                <a:gd name="T36" fmla="*/ 58906 w 66"/>
                <a:gd name="T37" fmla="*/ 30223 h 79"/>
                <a:gd name="T38" fmla="*/ 60806 w 66"/>
                <a:gd name="T39" fmla="*/ 26445 h 79"/>
                <a:gd name="T40" fmla="*/ 72207 w 66"/>
                <a:gd name="T41" fmla="*/ 39667 h 79"/>
                <a:gd name="T42" fmla="*/ 93110 w 66"/>
                <a:gd name="T43" fmla="*/ 47223 h 79"/>
                <a:gd name="T44" fmla="*/ 112112 w 66"/>
                <a:gd name="T45" fmla="*/ 66112 h 79"/>
                <a:gd name="T46" fmla="*/ 115912 w 66"/>
                <a:gd name="T47" fmla="*/ 73668 h 79"/>
                <a:gd name="T48" fmla="*/ 121613 w 66"/>
                <a:gd name="T49" fmla="*/ 77446 h 79"/>
                <a:gd name="T50" fmla="*/ 117812 w 66"/>
                <a:gd name="T51" fmla="*/ 90668 h 79"/>
                <a:gd name="T52" fmla="*/ 114012 w 66"/>
                <a:gd name="T53" fmla="*/ 96335 h 79"/>
                <a:gd name="T54" fmla="*/ 117812 w 66"/>
                <a:gd name="T55" fmla="*/ 107669 h 7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6"/>
                <a:gd name="T85" fmla="*/ 0 h 79"/>
                <a:gd name="T86" fmla="*/ 66 w 66"/>
                <a:gd name="T87" fmla="*/ 79 h 7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6" h="79">
                  <a:moveTo>
                    <a:pt x="62" y="57"/>
                  </a:moveTo>
                  <a:cubicBezTo>
                    <a:pt x="63" y="58"/>
                    <a:pt x="65" y="59"/>
                    <a:pt x="66" y="60"/>
                  </a:cubicBezTo>
                  <a:cubicBezTo>
                    <a:pt x="65" y="62"/>
                    <a:pt x="63" y="64"/>
                    <a:pt x="62" y="66"/>
                  </a:cubicBezTo>
                  <a:cubicBezTo>
                    <a:pt x="61" y="67"/>
                    <a:pt x="61" y="69"/>
                    <a:pt x="59" y="70"/>
                  </a:cubicBezTo>
                  <a:cubicBezTo>
                    <a:pt x="55" y="73"/>
                    <a:pt x="51" y="77"/>
                    <a:pt x="46" y="78"/>
                  </a:cubicBezTo>
                  <a:cubicBezTo>
                    <a:pt x="40" y="79"/>
                    <a:pt x="34" y="77"/>
                    <a:pt x="27" y="78"/>
                  </a:cubicBezTo>
                  <a:cubicBezTo>
                    <a:pt x="23" y="75"/>
                    <a:pt x="17" y="72"/>
                    <a:pt x="10" y="72"/>
                  </a:cubicBezTo>
                  <a:cubicBezTo>
                    <a:pt x="7" y="72"/>
                    <a:pt x="3" y="69"/>
                    <a:pt x="2" y="66"/>
                  </a:cubicBezTo>
                  <a:cubicBezTo>
                    <a:pt x="0" y="63"/>
                    <a:pt x="1" y="58"/>
                    <a:pt x="2" y="54"/>
                  </a:cubicBezTo>
                  <a:cubicBezTo>
                    <a:pt x="2" y="52"/>
                    <a:pt x="4" y="49"/>
                    <a:pt x="4" y="46"/>
                  </a:cubicBezTo>
                  <a:cubicBezTo>
                    <a:pt x="4" y="45"/>
                    <a:pt x="3" y="43"/>
                    <a:pt x="3" y="41"/>
                  </a:cubicBezTo>
                  <a:cubicBezTo>
                    <a:pt x="3" y="40"/>
                    <a:pt x="5" y="39"/>
                    <a:pt x="5" y="38"/>
                  </a:cubicBezTo>
                  <a:cubicBezTo>
                    <a:pt x="4" y="35"/>
                    <a:pt x="2" y="33"/>
                    <a:pt x="2" y="31"/>
                  </a:cubicBezTo>
                  <a:cubicBezTo>
                    <a:pt x="3" y="28"/>
                    <a:pt x="5" y="26"/>
                    <a:pt x="6" y="24"/>
                  </a:cubicBezTo>
                  <a:cubicBezTo>
                    <a:pt x="6" y="20"/>
                    <a:pt x="5" y="15"/>
                    <a:pt x="6" y="11"/>
                  </a:cubicBezTo>
                  <a:cubicBezTo>
                    <a:pt x="6" y="9"/>
                    <a:pt x="8" y="7"/>
                    <a:pt x="9" y="5"/>
                  </a:cubicBezTo>
                  <a:cubicBezTo>
                    <a:pt x="12" y="4"/>
                    <a:pt x="17" y="0"/>
                    <a:pt x="19" y="2"/>
                  </a:cubicBezTo>
                  <a:cubicBezTo>
                    <a:pt x="24" y="5"/>
                    <a:pt x="24" y="13"/>
                    <a:pt x="28" y="18"/>
                  </a:cubicBezTo>
                  <a:cubicBezTo>
                    <a:pt x="29" y="18"/>
                    <a:pt x="30" y="16"/>
                    <a:pt x="31" y="16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5" y="16"/>
                    <a:pt x="36" y="19"/>
                    <a:pt x="38" y="21"/>
                  </a:cubicBezTo>
                  <a:cubicBezTo>
                    <a:pt x="41" y="23"/>
                    <a:pt x="45" y="23"/>
                    <a:pt x="49" y="25"/>
                  </a:cubicBezTo>
                  <a:cubicBezTo>
                    <a:pt x="53" y="27"/>
                    <a:pt x="56" y="31"/>
                    <a:pt x="59" y="35"/>
                  </a:cubicBezTo>
                  <a:cubicBezTo>
                    <a:pt x="60" y="36"/>
                    <a:pt x="60" y="38"/>
                    <a:pt x="61" y="39"/>
                  </a:cubicBezTo>
                  <a:cubicBezTo>
                    <a:pt x="62" y="40"/>
                    <a:pt x="63" y="41"/>
                    <a:pt x="64" y="41"/>
                  </a:cubicBezTo>
                  <a:cubicBezTo>
                    <a:pt x="64" y="43"/>
                    <a:pt x="63" y="46"/>
                    <a:pt x="62" y="48"/>
                  </a:cubicBezTo>
                  <a:cubicBezTo>
                    <a:pt x="62" y="49"/>
                    <a:pt x="60" y="50"/>
                    <a:pt x="60" y="51"/>
                  </a:cubicBezTo>
                  <a:cubicBezTo>
                    <a:pt x="60" y="53"/>
                    <a:pt x="60" y="56"/>
                    <a:pt x="62" y="5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1" name="Freeform 752"/>
            <p:cNvSpPr>
              <a:spLocks noChangeAspect="1"/>
            </p:cNvSpPr>
            <p:nvPr/>
          </p:nvSpPr>
          <p:spPr bwMode="auto">
            <a:xfrm>
              <a:off x="2957513" y="5741988"/>
              <a:ext cx="53975" cy="85725"/>
            </a:xfrm>
            <a:custGeom>
              <a:avLst/>
              <a:gdLst>
                <a:gd name="T0" fmla="*/ 53975 w 28"/>
                <a:gd name="T1" fmla="*/ 81915 h 45"/>
                <a:gd name="T2" fmla="*/ 50120 w 28"/>
                <a:gd name="T3" fmla="*/ 80010 h 45"/>
                <a:gd name="T4" fmla="*/ 50120 w 28"/>
                <a:gd name="T5" fmla="*/ 85725 h 45"/>
                <a:gd name="T6" fmla="*/ 34698 w 28"/>
                <a:gd name="T7" fmla="*/ 81915 h 45"/>
                <a:gd name="T8" fmla="*/ 17349 w 28"/>
                <a:gd name="T9" fmla="*/ 80010 h 45"/>
                <a:gd name="T10" fmla="*/ 5783 w 28"/>
                <a:gd name="T11" fmla="*/ 81915 h 45"/>
                <a:gd name="T12" fmla="*/ 1928 w 28"/>
                <a:gd name="T13" fmla="*/ 72390 h 45"/>
                <a:gd name="T14" fmla="*/ 1928 w 28"/>
                <a:gd name="T15" fmla="*/ 64770 h 45"/>
                <a:gd name="T16" fmla="*/ 7711 w 28"/>
                <a:gd name="T17" fmla="*/ 70485 h 45"/>
                <a:gd name="T18" fmla="*/ 17349 w 28"/>
                <a:gd name="T19" fmla="*/ 68580 h 45"/>
                <a:gd name="T20" fmla="*/ 17349 w 28"/>
                <a:gd name="T21" fmla="*/ 64770 h 45"/>
                <a:gd name="T22" fmla="*/ 25060 w 28"/>
                <a:gd name="T23" fmla="*/ 62865 h 45"/>
                <a:gd name="T24" fmla="*/ 34698 w 28"/>
                <a:gd name="T25" fmla="*/ 70485 h 45"/>
                <a:gd name="T26" fmla="*/ 42409 w 28"/>
                <a:gd name="T27" fmla="*/ 70485 h 45"/>
                <a:gd name="T28" fmla="*/ 42409 w 28"/>
                <a:gd name="T29" fmla="*/ 66675 h 45"/>
                <a:gd name="T30" fmla="*/ 25060 w 28"/>
                <a:gd name="T31" fmla="*/ 57150 h 45"/>
                <a:gd name="T32" fmla="*/ 15421 w 28"/>
                <a:gd name="T33" fmla="*/ 51435 h 45"/>
                <a:gd name="T34" fmla="*/ 19277 w 28"/>
                <a:gd name="T35" fmla="*/ 43815 h 45"/>
                <a:gd name="T36" fmla="*/ 32771 w 28"/>
                <a:gd name="T37" fmla="*/ 36195 h 45"/>
                <a:gd name="T38" fmla="*/ 30843 w 28"/>
                <a:gd name="T39" fmla="*/ 28575 h 45"/>
                <a:gd name="T40" fmla="*/ 11566 w 28"/>
                <a:gd name="T41" fmla="*/ 36195 h 45"/>
                <a:gd name="T42" fmla="*/ 5783 w 28"/>
                <a:gd name="T43" fmla="*/ 22860 h 45"/>
                <a:gd name="T44" fmla="*/ 13494 w 28"/>
                <a:gd name="T45" fmla="*/ 17145 h 45"/>
                <a:gd name="T46" fmla="*/ 7711 w 28"/>
                <a:gd name="T47" fmla="*/ 9525 h 45"/>
                <a:gd name="T48" fmla="*/ 13494 w 28"/>
                <a:gd name="T49" fmla="*/ 11430 h 45"/>
                <a:gd name="T50" fmla="*/ 19277 w 28"/>
                <a:gd name="T51" fmla="*/ 11430 h 45"/>
                <a:gd name="T52" fmla="*/ 25060 w 28"/>
                <a:gd name="T53" fmla="*/ 0 h 45"/>
                <a:gd name="T54" fmla="*/ 34698 w 28"/>
                <a:gd name="T55" fmla="*/ 7620 h 45"/>
                <a:gd name="T56" fmla="*/ 42409 w 28"/>
                <a:gd name="T57" fmla="*/ 5715 h 45"/>
                <a:gd name="T58" fmla="*/ 53975 w 28"/>
                <a:gd name="T59" fmla="*/ 81915 h 4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8"/>
                <a:gd name="T91" fmla="*/ 0 h 45"/>
                <a:gd name="T92" fmla="*/ 28 w 28"/>
                <a:gd name="T93" fmla="*/ 45 h 4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8" h="45">
                  <a:moveTo>
                    <a:pt x="28" y="43"/>
                  </a:moveTo>
                  <a:cubicBezTo>
                    <a:pt x="28" y="43"/>
                    <a:pt x="27" y="41"/>
                    <a:pt x="26" y="42"/>
                  </a:cubicBezTo>
                  <a:cubicBezTo>
                    <a:pt x="25" y="42"/>
                    <a:pt x="27" y="45"/>
                    <a:pt x="26" y="45"/>
                  </a:cubicBezTo>
                  <a:cubicBezTo>
                    <a:pt x="23" y="45"/>
                    <a:pt x="21" y="44"/>
                    <a:pt x="18" y="43"/>
                  </a:cubicBezTo>
                  <a:cubicBezTo>
                    <a:pt x="15" y="43"/>
                    <a:pt x="12" y="42"/>
                    <a:pt x="9" y="42"/>
                  </a:cubicBezTo>
                  <a:cubicBezTo>
                    <a:pt x="7" y="42"/>
                    <a:pt x="4" y="44"/>
                    <a:pt x="3" y="43"/>
                  </a:cubicBezTo>
                  <a:cubicBezTo>
                    <a:pt x="1" y="42"/>
                    <a:pt x="2" y="40"/>
                    <a:pt x="1" y="38"/>
                  </a:cubicBezTo>
                  <a:cubicBezTo>
                    <a:pt x="1" y="37"/>
                    <a:pt x="0" y="35"/>
                    <a:pt x="1" y="34"/>
                  </a:cubicBezTo>
                  <a:cubicBezTo>
                    <a:pt x="2" y="34"/>
                    <a:pt x="3" y="37"/>
                    <a:pt x="4" y="37"/>
                  </a:cubicBezTo>
                  <a:cubicBezTo>
                    <a:pt x="6" y="37"/>
                    <a:pt x="8" y="37"/>
                    <a:pt x="9" y="36"/>
                  </a:cubicBezTo>
                  <a:cubicBezTo>
                    <a:pt x="10" y="35"/>
                    <a:pt x="9" y="34"/>
                    <a:pt x="9" y="34"/>
                  </a:cubicBezTo>
                  <a:cubicBezTo>
                    <a:pt x="10" y="33"/>
                    <a:pt x="12" y="33"/>
                    <a:pt x="13" y="33"/>
                  </a:cubicBezTo>
                  <a:cubicBezTo>
                    <a:pt x="15" y="34"/>
                    <a:pt x="16" y="36"/>
                    <a:pt x="18" y="37"/>
                  </a:cubicBezTo>
                  <a:cubicBezTo>
                    <a:pt x="19" y="38"/>
                    <a:pt x="21" y="38"/>
                    <a:pt x="22" y="37"/>
                  </a:cubicBezTo>
                  <a:cubicBezTo>
                    <a:pt x="23" y="37"/>
                    <a:pt x="23" y="35"/>
                    <a:pt x="22" y="35"/>
                  </a:cubicBezTo>
                  <a:cubicBezTo>
                    <a:pt x="19" y="33"/>
                    <a:pt x="16" y="32"/>
                    <a:pt x="13" y="30"/>
                  </a:cubicBezTo>
                  <a:cubicBezTo>
                    <a:pt x="11" y="29"/>
                    <a:pt x="9" y="28"/>
                    <a:pt x="8" y="27"/>
                  </a:cubicBezTo>
                  <a:cubicBezTo>
                    <a:pt x="8" y="25"/>
                    <a:pt x="9" y="24"/>
                    <a:pt x="10" y="23"/>
                  </a:cubicBezTo>
                  <a:cubicBezTo>
                    <a:pt x="12" y="21"/>
                    <a:pt x="15" y="21"/>
                    <a:pt x="17" y="19"/>
                  </a:cubicBezTo>
                  <a:cubicBezTo>
                    <a:pt x="18" y="18"/>
                    <a:pt x="17" y="15"/>
                    <a:pt x="16" y="15"/>
                  </a:cubicBezTo>
                  <a:cubicBezTo>
                    <a:pt x="12" y="15"/>
                    <a:pt x="9" y="20"/>
                    <a:pt x="6" y="19"/>
                  </a:cubicBezTo>
                  <a:cubicBezTo>
                    <a:pt x="3" y="18"/>
                    <a:pt x="3" y="14"/>
                    <a:pt x="3" y="12"/>
                  </a:cubicBezTo>
                  <a:cubicBezTo>
                    <a:pt x="3" y="10"/>
                    <a:pt x="7" y="11"/>
                    <a:pt x="7" y="9"/>
                  </a:cubicBezTo>
                  <a:cubicBezTo>
                    <a:pt x="7" y="7"/>
                    <a:pt x="4" y="6"/>
                    <a:pt x="4" y="5"/>
                  </a:cubicBezTo>
                  <a:cubicBezTo>
                    <a:pt x="4" y="4"/>
                    <a:pt x="6" y="6"/>
                    <a:pt x="7" y="6"/>
                  </a:cubicBezTo>
                  <a:cubicBezTo>
                    <a:pt x="8" y="6"/>
                    <a:pt x="9" y="7"/>
                    <a:pt x="10" y="6"/>
                  </a:cubicBezTo>
                  <a:cubicBezTo>
                    <a:pt x="12" y="4"/>
                    <a:pt x="11" y="1"/>
                    <a:pt x="13" y="0"/>
                  </a:cubicBezTo>
                  <a:cubicBezTo>
                    <a:pt x="15" y="0"/>
                    <a:pt x="16" y="4"/>
                    <a:pt x="18" y="4"/>
                  </a:cubicBezTo>
                  <a:cubicBezTo>
                    <a:pt x="19" y="4"/>
                    <a:pt x="20" y="4"/>
                    <a:pt x="22" y="3"/>
                  </a:cubicBezTo>
                  <a:cubicBezTo>
                    <a:pt x="24" y="16"/>
                    <a:pt x="26" y="30"/>
                    <a:pt x="28" y="4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2" name="Freeform 753"/>
            <p:cNvSpPr>
              <a:spLocks noChangeAspect="1"/>
            </p:cNvSpPr>
            <p:nvPr/>
          </p:nvSpPr>
          <p:spPr bwMode="auto">
            <a:xfrm>
              <a:off x="2874963" y="4799013"/>
              <a:ext cx="396875" cy="949325"/>
            </a:xfrm>
            <a:custGeom>
              <a:avLst/>
              <a:gdLst>
                <a:gd name="T0" fmla="*/ 106851 w 208"/>
                <a:gd name="T1" fmla="*/ 901668 h 498"/>
                <a:gd name="T2" fmla="*/ 114483 w 208"/>
                <a:gd name="T3" fmla="*/ 857824 h 498"/>
                <a:gd name="T4" fmla="*/ 133564 w 208"/>
                <a:gd name="T5" fmla="*/ 829230 h 498"/>
                <a:gd name="T6" fmla="*/ 162185 w 208"/>
                <a:gd name="T7" fmla="*/ 766323 h 498"/>
                <a:gd name="T8" fmla="*/ 124023 w 208"/>
                <a:gd name="T9" fmla="*/ 724385 h 498"/>
                <a:gd name="T10" fmla="*/ 158368 w 208"/>
                <a:gd name="T11" fmla="*/ 691978 h 498"/>
                <a:gd name="T12" fmla="*/ 179357 w 208"/>
                <a:gd name="T13" fmla="*/ 634790 h 498"/>
                <a:gd name="T14" fmla="*/ 192713 w 208"/>
                <a:gd name="T15" fmla="*/ 634790 h 498"/>
                <a:gd name="T16" fmla="*/ 188897 w 208"/>
                <a:gd name="T17" fmla="*/ 615727 h 498"/>
                <a:gd name="T18" fmla="*/ 167909 w 208"/>
                <a:gd name="T19" fmla="*/ 606196 h 498"/>
                <a:gd name="T20" fmla="*/ 166001 w 208"/>
                <a:gd name="T21" fmla="*/ 564258 h 498"/>
                <a:gd name="T22" fmla="*/ 206070 w 208"/>
                <a:gd name="T23" fmla="*/ 577601 h 498"/>
                <a:gd name="T24" fmla="*/ 227058 w 208"/>
                <a:gd name="T25" fmla="*/ 535663 h 498"/>
                <a:gd name="T26" fmla="*/ 240415 w 208"/>
                <a:gd name="T27" fmla="*/ 510882 h 498"/>
                <a:gd name="T28" fmla="*/ 328185 w 208"/>
                <a:gd name="T29" fmla="*/ 476569 h 498"/>
                <a:gd name="T30" fmla="*/ 335817 w 208"/>
                <a:gd name="T31" fmla="*/ 428912 h 498"/>
                <a:gd name="T32" fmla="*/ 328185 w 208"/>
                <a:gd name="T33" fmla="*/ 396505 h 498"/>
                <a:gd name="T34" fmla="*/ 295748 w 208"/>
                <a:gd name="T35" fmla="*/ 367911 h 498"/>
                <a:gd name="T36" fmla="*/ 301472 w 208"/>
                <a:gd name="T37" fmla="*/ 324067 h 498"/>
                <a:gd name="T38" fmla="*/ 297656 w 208"/>
                <a:gd name="T39" fmla="*/ 295473 h 498"/>
                <a:gd name="T40" fmla="*/ 311013 w 208"/>
                <a:gd name="T41" fmla="*/ 245910 h 498"/>
                <a:gd name="T42" fmla="*/ 360622 w 208"/>
                <a:gd name="T43" fmla="*/ 181096 h 498"/>
                <a:gd name="T44" fmla="*/ 393059 w 208"/>
                <a:gd name="T45" fmla="*/ 139158 h 498"/>
                <a:gd name="T46" fmla="*/ 381611 w 208"/>
                <a:gd name="T47" fmla="*/ 108658 h 498"/>
                <a:gd name="T48" fmla="*/ 372070 w 208"/>
                <a:gd name="T49" fmla="*/ 135346 h 498"/>
                <a:gd name="T50" fmla="*/ 345358 w 208"/>
                <a:gd name="T51" fmla="*/ 162033 h 498"/>
                <a:gd name="T52" fmla="*/ 295748 w 208"/>
                <a:gd name="T53" fmla="*/ 158221 h 498"/>
                <a:gd name="T54" fmla="*/ 286208 w 208"/>
                <a:gd name="T55" fmla="*/ 127720 h 498"/>
                <a:gd name="T56" fmla="*/ 291932 w 208"/>
                <a:gd name="T57" fmla="*/ 93407 h 498"/>
                <a:gd name="T58" fmla="*/ 228966 w 208"/>
                <a:gd name="T59" fmla="*/ 66720 h 498"/>
                <a:gd name="T60" fmla="*/ 183173 w 208"/>
                <a:gd name="T61" fmla="*/ 26688 h 498"/>
                <a:gd name="T62" fmla="*/ 143104 w 208"/>
                <a:gd name="T63" fmla="*/ 7625 h 498"/>
                <a:gd name="T64" fmla="*/ 125932 w 208"/>
                <a:gd name="T65" fmla="*/ 13344 h 498"/>
                <a:gd name="T66" fmla="*/ 83954 w 208"/>
                <a:gd name="T67" fmla="*/ 13344 h 498"/>
                <a:gd name="T68" fmla="*/ 64874 w 208"/>
                <a:gd name="T69" fmla="*/ 32407 h 498"/>
                <a:gd name="T70" fmla="*/ 43885 w 208"/>
                <a:gd name="T71" fmla="*/ 78157 h 498"/>
                <a:gd name="T72" fmla="*/ 40069 w 208"/>
                <a:gd name="T73" fmla="*/ 101033 h 498"/>
                <a:gd name="T74" fmla="*/ 41977 w 208"/>
                <a:gd name="T75" fmla="*/ 142971 h 498"/>
                <a:gd name="T76" fmla="*/ 30529 w 208"/>
                <a:gd name="T77" fmla="*/ 181096 h 498"/>
                <a:gd name="T78" fmla="*/ 13356 w 208"/>
                <a:gd name="T79" fmla="*/ 219222 h 498"/>
                <a:gd name="T80" fmla="*/ 7632 w 208"/>
                <a:gd name="T81" fmla="*/ 287848 h 498"/>
                <a:gd name="T82" fmla="*/ 20989 w 208"/>
                <a:gd name="T83" fmla="*/ 314535 h 498"/>
                <a:gd name="T84" fmla="*/ 26713 w 208"/>
                <a:gd name="T85" fmla="*/ 356473 h 498"/>
                <a:gd name="T86" fmla="*/ 19081 w 208"/>
                <a:gd name="T87" fmla="*/ 423193 h 498"/>
                <a:gd name="T88" fmla="*/ 19081 w 208"/>
                <a:gd name="T89" fmla="*/ 495632 h 498"/>
                <a:gd name="T90" fmla="*/ 3816 w 208"/>
                <a:gd name="T91" fmla="*/ 533757 h 498"/>
                <a:gd name="T92" fmla="*/ 9540 w 208"/>
                <a:gd name="T93" fmla="*/ 594758 h 498"/>
                <a:gd name="T94" fmla="*/ 13356 w 208"/>
                <a:gd name="T95" fmla="*/ 636696 h 498"/>
                <a:gd name="T96" fmla="*/ 17172 w 208"/>
                <a:gd name="T97" fmla="*/ 678634 h 498"/>
                <a:gd name="T98" fmla="*/ 32437 w 208"/>
                <a:gd name="T99" fmla="*/ 691978 h 498"/>
                <a:gd name="T100" fmla="*/ 34345 w 208"/>
                <a:gd name="T101" fmla="*/ 703416 h 498"/>
                <a:gd name="T102" fmla="*/ 30529 w 208"/>
                <a:gd name="T103" fmla="*/ 745354 h 498"/>
                <a:gd name="T104" fmla="*/ 13356 w 208"/>
                <a:gd name="T105" fmla="*/ 783479 h 498"/>
                <a:gd name="T106" fmla="*/ 15264 w 208"/>
                <a:gd name="T107" fmla="*/ 825417 h 498"/>
                <a:gd name="T108" fmla="*/ 15264 w 208"/>
                <a:gd name="T109" fmla="*/ 886418 h 498"/>
                <a:gd name="T110" fmla="*/ 41977 w 208"/>
                <a:gd name="T111" fmla="*/ 913106 h 498"/>
                <a:gd name="T112" fmla="*/ 110667 w 208"/>
                <a:gd name="T113" fmla="*/ 935981 h 4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8"/>
                <a:gd name="T172" fmla="*/ 0 h 498"/>
                <a:gd name="T173" fmla="*/ 208 w 208"/>
                <a:gd name="T174" fmla="*/ 498 h 4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8" h="498">
                  <a:moveTo>
                    <a:pt x="58" y="491"/>
                  </a:moveTo>
                  <a:cubicBezTo>
                    <a:pt x="61" y="492"/>
                    <a:pt x="69" y="498"/>
                    <a:pt x="68" y="494"/>
                  </a:cubicBezTo>
                  <a:cubicBezTo>
                    <a:pt x="68" y="486"/>
                    <a:pt x="60" y="480"/>
                    <a:pt x="56" y="473"/>
                  </a:cubicBezTo>
                  <a:cubicBezTo>
                    <a:pt x="55" y="470"/>
                    <a:pt x="54" y="467"/>
                    <a:pt x="55" y="464"/>
                  </a:cubicBezTo>
                  <a:cubicBezTo>
                    <a:pt x="56" y="461"/>
                    <a:pt x="60" y="459"/>
                    <a:pt x="61" y="455"/>
                  </a:cubicBezTo>
                  <a:cubicBezTo>
                    <a:pt x="62" y="454"/>
                    <a:pt x="58" y="451"/>
                    <a:pt x="60" y="450"/>
                  </a:cubicBezTo>
                  <a:cubicBezTo>
                    <a:pt x="61" y="449"/>
                    <a:pt x="62" y="453"/>
                    <a:pt x="64" y="453"/>
                  </a:cubicBezTo>
                  <a:cubicBezTo>
                    <a:pt x="66" y="453"/>
                    <a:pt x="69" y="452"/>
                    <a:pt x="70" y="450"/>
                  </a:cubicBezTo>
                  <a:cubicBezTo>
                    <a:pt x="72" y="445"/>
                    <a:pt x="68" y="439"/>
                    <a:pt x="70" y="435"/>
                  </a:cubicBezTo>
                  <a:cubicBezTo>
                    <a:pt x="74" y="428"/>
                    <a:pt x="83" y="424"/>
                    <a:pt x="88" y="417"/>
                  </a:cubicBezTo>
                  <a:cubicBezTo>
                    <a:pt x="90" y="414"/>
                    <a:pt x="91" y="410"/>
                    <a:pt x="90" y="407"/>
                  </a:cubicBezTo>
                  <a:cubicBezTo>
                    <a:pt x="90" y="404"/>
                    <a:pt x="87" y="403"/>
                    <a:pt x="85" y="402"/>
                  </a:cubicBezTo>
                  <a:cubicBezTo>
                    <a:pt x="82" y="401"/>
                    <a:pt x="78" y="401"/>
                    <a:pt x="75" y="399"/>
                  </a:cubicBezTo>
                  <a:cubicBezTo>
                    <a:pt x="71" y="396"/>
                    <a:pt x="67" y="392"/>
                    <a:pt x="65" y="387"/>
                  </a:cubicBezTo>
                  <a:cubicBezTo>
                    <a:pt x="64" y="385"/>
                    <a:pt x="64" y="382"/>
                    <a:pt x="65" y="380"/>
                  </a:cubicBezTo>
                  <a:cubicBezTo>
                    <a:pt x="69" y="375"/>
                    <a:pt x="73" y="370"/>
                    <a:pt x="78" y="367"/>
                  </a:cubicBezTo>
                  <a:cubicBezTo>
                    <a:pt x="80" y="365"/>
                    <a:pt x="84" y="368"/>
                    <a:pt x="87" y="367"/>
                  </a:cubicBezTo>
                  <a:cubicBezTo>
                    <a:pt x="88" y="366"/>
                    <a:pt x="83" y="365"/>
                    <a:pt x="83" y="363"/>
                  </a:cubicBezTo>
                  <a:cubicBezTo>
                    <a:pt x="84" y="361"/>
                    <a:pt x="88" y="360"/>
                    <a:pt x="88" y="358"/>
                  </a:cubicBezTo>
                  <a:cubicBezTo>
                    <a:pt x="89" y="354"/>
                    <a:pt x="86" y="349"/>
                    <a:pt x="87" y="345"/>
                  </a:cubicBezTo>
                  <a:cubicBezTo>
                    <a:pt x="88" y="341"/>
                    <a:pt x="93" y="338"/>
                    <a:pt x="94" y="333"/>
                  </a:cubicBezTo>
                  <a:cubicBezTo>
                    <a:pt x="94" y="331"/>
                    <a:pt x="89" y="330"/>
                    <a:pt x="90" y="328"/>
                  </a:cubicBezTo>
                  <a:cubicBezTo>
                    <a:pt x="92" y="326"/>
                    <a:pt x="96" y="325"/>
                    <a:pt x="99" y="326"/>
                  </a:cubicBezTo>
                  <a:cubicBezTo>
                    <a:pt x="101" y="327"/>
                    <a:pt x="99" y="333"/>
                    <a:pt x="101" y="333"/>
                  </a:cubicBezTo>
                  <a:cubicBezTo>
                    <a:pt x="104" y="332"/>
                    <a:pt x="105" y="328"/>
                    <a:pt x="105" y="325"/>
                  </a:cubicBezTo>
                  <a:cubicBezTo>
                    <a:pt x="106" y="322"/>
                    <a:pt x="104" y="319"/>
                    <a:pt x="101" y="318"/>
                  </a:cubicBezTo>
                  <a:cubicBezTo>
                    <a:pt x="100" y="317"/>
                    <a:pt x="100" y="322"/>
                    <a:pt x="99" y="323"/>
                  </a:cubicBezTo>
                  <a:cubicBezTo>
                    <a:pt x="97" y="324"/>
                    <a:pt x="95" y="324"/>
                    <a:pt x="94" y="323"/>
                  </a:cubicBezTo>
                  <a:cubicBezTo>
                    <a:pt x="93" y="323"/>
                    <a:pt x="95" y="321"/>
                    <a:pt x="94" y="320"/>
                  </a:cubicBezTo>
                  <a:cubicBezTo>
                    <a:pt x="92" y="319"/>
                    <a:pt x="89" y="320"/>
                    <a:pt x="88" y="318"/>
                  </a:cubicBezTo>
                  <a:cubicBezTo>
                    <a:pt x="87" y="316"/>
                    <a:pt x="89" y="313"/>
                    <a:pt x="88" y="310"/>
                  </a:cubicBezTo>
                  <a:cubicBezTo>
                    <a:pt x="87" y="307"/>
                    <a:pt x="83" y="306"/>
                    <a:pt x="83" y="303"/>
                  </a:cubicBezTo>
                  <a:cubicBezTo>
                    <a:pt x="83" y="300"/>
                    <a:pt x="85" y="298"/>
                    <a:pt x="87" y="296"/>
                  </a:cubicBezTo>
                  <a:cubicBezTo>
                    <a:pt x="88" y="296"/>
                    <a:pt x="88" y="298"/>
                    <a:pt x="89" y="298"/>
                  </a:cubicBezTo>
                  <a:cubicBezTo>
                    <a:pt x="92" y="300"/>
                    <a:pt x="95" y="302"/>
                    <a:pt x="99" y="303"/>
                  </a:cubicBezTo>
                  <a:cubicBezTo>
                    <a:pt x="102" y="303"/>
                    <a:pt x="105" y="303"/>
                    <a:pt x="108" y="303"/>
                  </a:cubicBezTo>
                  <a:cubicBezTo>
                    <a:pt x="111" y="302"/>
                    <a:pt x="115" y="301"/>
                    <a:pt x="118" y="298"/>
                  </a:cubicBezTo>
                  <a:cubicBezTo>
                    <a:pt x="119" y="296"/>
                    <a:pt x="115" y="294"/>
                    <a:pt x="115" y="292"/>
                  </a:cubicBezTo>
                  <a:cubicBezTo>
                    <a:pt x="115" y="288"/>
                    <a:pt x="119" y="285"/>
                    <a:pt x="119" y="281"/>
                  </a:cubicBezTo>
                  <a:cubicBezTo>
                    <a:pt x="119" y="278"/>
                    <a:pt x="117" y="275"/>
                    <a:pt x="116" y="273"/>
                  </a:cubicBezTo>
                  <a:cubicBezTo>
                    <a:pt x="116" y="270"/>
                    <a:pt x="113" y="265"/>
                    <a:pt x="116" y="263"/>
                  </a:cubicBezTo>
                  <a:cubicBezTo>
                    <a:pt x="119" y="262"/>
                    <a:pt x="122" y="268"/>
                    <a:pt x="126" y="268"/>
                  </a:cubicBezTo>
                  <a:cubicBezTo>
                    <a:pt x="130" y="269"/>
                    <a:pt x="134" y="267"/>
                    <a:pt x="138" y="267"/>
                  </a:cubicBezTo>
                  <a:cubicBezTo>
                    <a:pt x="144" y="266"/>
                    <a:pt x="150" y="266"/>
                    <a:pt x="155" y="263"/>
                  </a:cubicBezTo>
                  <a:cubicBezTo>
                    <a:pt x="161" y="260"/>
                    <a:pt x="167" y="255"/>
                    <a:pt x="172" y="250"/>
                  </a:cubicBezTo>
                  <a:cubicBezTo>
                    <a:pt x="176" y="246"/>
                    <a:pt x="180" y="240"/>
                    <a:pt x="181" y="235"/>
                  </a:cubicBezTo>
                  <a:cubicBezTo>
                    <a:pt x="182" y="232"/>
                    <a:pt x="181" y="228"/>
                    <a:pt x="180" y="225"/>
                  </a:cubicBezTo>
                  <a:cubicBezTo>
                    <a:pt x="179" y="224"/>
                    <a:pt x="177" y="226"/>
                    <a:pt x="176" y="225"/>
                  </a:cubicBezTo>
                  <a:cubicBezTo>
                    <a:pt x="175" y="224"/>
                    <a:pt x="173" y="221"/>
                    <a:pt x="173" y="219"/>
                  </a:cubicBezTo>
                  <a:cubicBezTo>
                    <a:pt x="172" y="218"/>
                    <a:pt x="174" y="217"/>
                    <a:pt x="174" y="215"/>
                  </a:cubicBezTo>
                  <a:cubicBezTo>
                    <a:pt x="174" y="213"/>
                    <a:pt x="174" y="210"/>
                    <a:pt x="172" y="208"/>
                  </a:cubicBezTo>
                  <a:cubicBezTo>
                    <a:pt x="167" y="204"/>
                    <a:pt x="161" y="203"/>
                    <a:pt x="156" y="200"/>
                  </a:cubicBezTo>
                  <a:cubicBezTo>
                    <a:pt x="154" y="199"/>
                    <a:pt x="153" y="197"/>
                    <a:pt x="152" y="195"/>
                  </a:cubicBezTo>
                  <a:cubicBezTo>
                    <a:pt x="152" y="194"/>
                    <a:pt x="155" y="194"/>
                    <a:pt x="155" y="193"/>
                  </a:cubicBezTo>
                  <a:cubicBezTo>
                    <a:pt x="155" y="191"/>
                    <a:pt x="153" y="189"/>
                    <a:pt x="153" y="187"/>
                  </a:cubicBezTo>
                  <a:cubicBezTo>
                    <a:pt x="152" y="183"/>
                    <a:pt x="152" y="180"/>
                    <a:pt x="153" y="176"/>
                  </a:cubicBezTo>
                  <a:cubicBezTo>
                    <a:pt x="154" y="174"/>
                    <a:pt x="157" y="172"/>
                    <a:pt x="158" y="170"/>
                  </a:cubicBezTo>
                  <a:cubicBezTo>
                    <a:pt x="158" y="169"/>
                    <a:pt x="157" y="167"/>
                    <a:pt x="157" y="165"/>
                  </a:cubicBezTo>
                  <a:cubicBezTo>
                    <a:pt x="157" y="164"/>
                    <a:pt x="159" y="163"/>
                    <a:pt x="159" y="162"/>
                  </a:cubicBezTo>
                  <a:cubicBezTo>
                    <a:pt x="158" y="159"/>
                    <a:pt x="156" y="157"/>
                    <a:pt x="156" y="155"/>
                  </a:cubicBezTo>
                  <a:cubicBezTo>
                    <a:pt x="157" y="152"/>
                    <a:pt x="159" y="150"/>
                    <a:pt x="160" y="148"/>
                  </a:cubicBezTo>
                  <a:cubicBezTo>
                    <a:pt x="160" y="144"/>
                    <a:pt x="159" y="139"/>
                    <a:pt x="160" y="135"/>
                  </a:cubicBezTo>
                  <a:cubicBezTo>
                    <a:pt x="160" y="133"/>
                    <a:pt x="162" y="131"/>
                    <a:pt x="163" y="129"/>
                  </a:cubicBezTo>
                  <a:cubicBezTo>
                    <a:pt x="167" y="124"/>
                    <a:pt x="171" y="120"/>
                    <a:pt x="174" y="115"/>
                  </a:cubicBezTo>
                  <a:cubicBezTo>
                    <a:pt x="177" y="110"/>
                    <a:pt x="178" y="104"/>
                    <a:pt x="181" y="100"/>
                  </a:cubicBezTo>
                  <a:cubicBezTo>
                    <a:pt x="183" y="97"/>
                    <a:pt x="187" y="97"/>
                    <a:pt x="189" y="95"/>
                  </a:cubicBezTo>
                  <a:cubicBezTo>
                    <a:pt x="191" y="93"/>
                    <a:pt x="192" y="90"/>
                    <a:pt x="194" y="88"/>
                  </a:cubicBezTo>
                  <a:cubicBezTo>
                    <a:pt x="198" y="85"/>
                    <a:pt x="204" y="85"/>
                    <a:pt x="206" y="82"/>
                  </a:cubicBezTo>
                  <a:cubicBezTo>
                    <a:pt x="208" y="79"/>
                    <a:pt x="206" y="76"/>
                    <a:pt x="206" y="73"/>
                  </a:cubicBezTo>
                  <a:cubicBezTo>
                    <a:pt x="206" y="70"/>
                    <a:pt x="208" y="68"/>
                    <a:pt x="207" y="66"/>
                  </a:cubicBezTo>
                  <a:cubicBezTo>
                    <a:pt x="207" y="64"/>
                    <a:pt x="204" y="61"/>
                    <a:pt x="203" y="59"/>
                  </a:cubicBezTo>
                  <a:cubicBezTo>
                    <a:pt x="202" y="58"/>
                    <a:pt x="201" y="57"/>
                    <a:pt x="200" y="57"/>
                  </a:cubicBezTo>
                  <a:cubicBezTo>
                    <a:pt x="198" y="57"/>
                    <a:pt x="196" y="57"/>
                    <a:pt x="195" y="57"/>
                  </a:cubicBezTo>
                  <a:cubicBezTo>
                    <a:pt x="195" y="60"/>
                    <a:pt x="195" y="62"/>
                    <a:pt x="195" y="65"/>
                  </a:cubicBezTo>
                  <a:cubicBezTo>
                    <a:pt x="195" y="67"/>
                    <a:pt x="196" y="69"/>
                    <a:pt x="195" y="71"/>
                  </a:cubicBezTo>
                  <a:cubicBezTo>
                    <a:pt x="193" y="73"/>
                    <a:pt x="190" y="75"/>
                    <a:pt x="188" y="77"/>
                  </a:cubicBezTo>
                  <a:cubicBezTo>
                    <a:pt x="186" y="80"/>
                    <a:pt x="185" y="83"/>
                    <a:pt x="183" y="86"/>
                  </a:cubicBezTo>
                  <a:cubicBezTo>
                    <a:pt x="182" y="86"/>
                    <a:pt x="182" y="85"/>
                    <a:pt x="181" y="85"/>
                  </a:cubicBezTo>
                  <a:cubicBezTo>
                    <a:pt x="180" y="84"/>
                    <a:pt x="178" y="83"/>
                    <a:pt x="176" y="84"/>
                  </a:cubicBezTo>
                  <a:cubicBezTo>
                    <a:pt x="173" y="84"/>
                    <a:pt x="171" y="87"/>
                    <a:pt x="168" y="87"/>
                  </a:cubicBezTo>
                  <a:cubicBezTo>
                    <a:pt x="164" y="87"/>
                    <a:pt x="160" y="84"/>
                    <a:pt x="155" y="83"/>
                  </a:cubicBezTo>
                  <a:cubicBezTo>
                    <a:pt x="152" y="82"/>
                    <a:pt x="147" y="86"/>
                    <a:pt x="146" y="83"/>
                  </a:cubicBezTo>
                  <a:cubicBezTo>
                    <a:pt x="144" y="80"/>
                    <a:pt x="149" y="77"/>
                    <a:pt x="150" y="74"/>
                  </a:cubicBezTo>
                  <a:cubicBezTo>
                    <a:pt x="150" y="72"/>
                    <a:pt x="148" y="69"/>
                    <a:pt x="150" y="67"/>
                  </a:cubicBezTo>
                  <a:cubicBezTo>
                    <a:pt x="151" y="66"/>
                    <a:pt x="155" y="67"/>
                    <a:pt x="156" y="65"/>
                  </a:cubicBezTo>
                  <a:cubicBezTo>
                    <a:pt x="157" y="62"/>
                    <a:pt x="157" y="58"/>
                    <a:pt x="156" y="54"/>
                  </a:cubicBezTo>
                  <a:cubicBezTo>
                    <a:pt x="156" y="52"/>
                    <a:pt x="155" y="50"/>
                    <a:pt x="153" y="49"/>
                  </a:cubicBezTo>
                  <a:cubicBezTo>
                    <a:pt x="148" y="47"/>
                    <a:pt x="143" y="47"/>
                    <a:pt x="139" y="45"/>
                  </a:cubicBezTo>
                  <a:cubicBezTo>
                    <a:pt x="134" y="42"/>
                    <a:pt x="131" y="37"/>
                    <a:pt x="127" y="35"/>
                  </a:cubicBezTo>
                  <a:cubicBezTo>
                    <a:pt x="125" y="34"/>
                    <a:pt x="122" y="36"/>
                    <a:pt x="120" y="35"/>
                  </a:cubicBezTo>
                  <a:cubicBezTo>
                    <a:pt x="117" y="33"/>
                    <a:pt x="115" y="31"/>
                    <a:pt x="112" y="29"/>
                  </a:cubicBezTo>
                  <a:cubicBezTo>
                    <a:pt x="108" y="26"/>
                    <a:pt x="104" y="25"/>
                    <a:pt x="100" y="22"/>
                  </a:cubicBezTo>
                  <a:cubicBezTo>
                    <a:pt x="98" y="19"/>
                    <a:pt x="98" y="16"/>
                    <a:pt x="96" y="14"/>
                  </a:cubicBezTo>
                  <a:cubicBezTo>
                    <a:pt x="95" y="12"/>
                    <a:pt x="93" y="10"/>
                    <a:pt x="91" y="8"/>
                  </a:cubicBezTo>
                  <a:cubicBezTo>
                    <a:pt x="90" y="7"/>
                    <a:pt x="89" y="5"/>
                    <a:pt x="88" y="4"/>
                  </a:cubicBezTo>
                  <a:cubicBezTo>
                    <a:pt x="84" y="3"/>
                    <a:pt x="79" y="3"/>
                    <a:pt x="75" y="4"/>
                  </a:cubicBezTo>
                  <a:cubicBezTo>
                    <a:pt x="73" y="5"/>
                    <a:pt x="72" y="8"/>
                    <a:pt x="71" y="11"/>
                  </a:cubicBezTo>
                  <a:cubicBezTo>
                    <a:pt x="70" y="13"/>
                    <a:pt x="72" y="20"/>
                    <a:pt x="70" y="18"/>
                  </a:cubicBezTo>
                  <a:cubicBezTo>
                    <a:pt x="67" y="16"/>
                    <a:pt x="69" y="9"/>
                    <a:pt x="66" y="7"/>
                  </a:cubicBezTo>
                  <a:cubicBezTo>
                    <a:pt x="63" y="5"/>
                    <a:pt x="57" y="8"/>
                    <a:pt x="53" y="6"/>
                  </a:cubicBezTo>
                  <a:cubicBezTo>
                    <a:pt x="50" y="5"/>
                    <a:pt x="49" y="0"/>
                    <a:pt x="46" y="1"/>
                  </a:cubicBezTo>
                  <a:cubicBezTo>
                    <a:pt x="44" y="1"/>
                    <a:pt x="46" y="6"/>
                    <a:pt x="44" y="7"/>
                  </a:cubicBezTo>
                  <a:cubicBezTo>
                    <a:pt x="44" y="9"/>
                    <a:pt x="42" y="8"/>
                    <a:pt x="41" y="9"/>
                  </a:cubicBezTo>
                  <a:cubicBezTo>
                    <a:pt x="39" y="10"/>
                    <a:pt x="38" y="11"/>
                    <a:pt x="38" y="12"/>
                  </a:cubicBezTo>
                  <a:cubicBezTo>
                    <a:pt x="36" y="14"/>
                    <a:pt x="35" y="16"/>
                    <a:pt x="34" y="17"/>
                  </a:cubicBezTo>
                  <a:cubicBezTo>
                    <a:pt x="35" y="19"/>
                    <a:pt x="36" y="22"/>
                    <a:pt x="36" y="24"/>
                  </a:cubicBezTo>
                  <a:cubicBezTo>
                    <a:pt x="35" y="28"/>
                    <a:pt x="36" y="32"/>
                    <a:pt x="33" y="36"/>
                  </a:cubicBezTo>
                  <a:cubicBezTo>
                    <a:pt x="31" y="39"/>
                    <a:pt x="26" y="39"/>
                    <a:pt x="23" y="41"/>
                  </a:cubicBezTo>
                  <a:cubicBezTo>
                    <a:pt x="21" y="42"/>
                    <a:pt x="18" y="44"/>
                    <a:pt x="18" y="46"/>
                  </a:cubicBezTo>
                  <a:cubicBezTo>
                    <a:pt x="18" y="49"/>
                    <a:pt x="22" y="50"/>
                    <a:pt x="23" y="52"/>
                  </a:cubicBezTo>
                  <a:cubicBezTo>
                    <a:pt x="23" y="53"/>
                    <a:pt x="21" y="52"/>
                    <a:pt x="21" y="53"/>
                  </a:cubicBezTo>
                  <a:cubicBezTo>
                    <a:pt x="20" y="55"/>
                    <a:pt x="20" y="57"/>
                    <a:pt x="20" y="58"/>
                  </a:cubicBezTo>
                  <a:cubicBezTo>
                    <a:pt x="21" y="62"/>
                    <a:pt x="23" y="65"/>
                    <a:pt x="23" y="68"/>
                  </a:cubicBezTo>
                  <a:cubicBezTo>
                    <a:pt x="23" y="71"/>
                    <a:pt x="21" y="73"/>
                    <a:pt x="22" y="75"/>
                  </a:cubicBezTo>
                  <a:cubicBezTo>
                    <a:pt x="22" y="77"/>
                    <a:pt x="27" y="79"/>
                    <a:pt x="26" y="82"/>
                  </a:cubicBezTo>
                  <a:cubicBezTo>
                    <a:pt x="25" y="84"/>
                    <a:pt x="20" y="81"/>
                    <a:pt x="19" y="83"/>
                  </a:cubicBezTo>
                  <a:cubicBezTo>
                    <a:pt x="17" y="86"/>
                    <a:pt x="18" y="91"/>
                    <a:pt x="16" y="95"/>
                  </a:cubicBezTo>
                  <a:cubicBezTo>
                    <a:pt x="15" y="98"/>
                    <a:pt x="11" y="100"/>
                    <a:pt x="9" y="103"/>
                  </a:cubicBezTo>
                  <a:cubicBezTo>
                    <a:pt x="8" y="106"/>
                    <a:pt x="11" y="112"/>
                    <a:pt x="9" y="111"/>
                  </a:cubicBezTo>
                  <a:cubicBezTo>
                    <a:pt x="8" y="113"/>
                    <a:pt x="8" y="114"/>
                    <a:pt x="7" y="115"/>
                  </a:cubicBezTo>
                  <a:cubicBezTo>
                    <a:pt x="11" y="116"/>
                    <a:pt x="10" y="123"/>
                    <a:pt x="10" y="127"/>
                  </a:cubicBezTo>
                  <a:cubicBezTo>
                    <a:pt x="9" y="132"/>
                    <a:pt x="5" y="136"/>
                    <a:pt x="4" y="141"/>
                  </a:cubicBezTo>
                  <a:cubicBezTo>
                    <a:pt x="3" y="144"/>
                    <a:pt x="3" y="147"/>
                    <a:pt x="4" y="151"/>
                  </a:cubicBezTo>
                  <a:cubicBezTo>
                    <a:pt x="4" y="153"/>
                    <a:pt x="7" y="154"/>
                    <a:pt x="7" y="156"/>
                  </a:cubicBezTo>
                  <a:cubicBezTo>
                    <a:pt x="7" y="158"/>
                    <a:pt x="4" y="159"/>
                    <a:pt x="5" y="160"/>
                  </a:cubicBezTo>
                  <a:cubicBezTo>
                    <a:pt x="6" y="163"/>
                    <a:pt x="10" y="163"/>
                    <a:pt x="11" y="165"/>
                  </a:cubicBezTo>
                  <a:cubicBezTo>
                    <a:pt x="12" y="169"/>
                    <a:pt x="9" y="173"/>
                    <a:pt x="10" y="176"/>
                  </a:cubicBezTo>
                  <a:cubicBezTo>
                    <a:pt x="11" y="178"/>
                    <a:pt x="15" y="174"/>
                    <a:pt x="15" y="176"/>
                  </a:cubicBezTo>
                  <a:cubicBezTo>
                    <a:pt x="17" y="179"/>
                    <a:pt x="14" y="184"/>
                    <a:pt x="14" y="187"/>
                  </a:cubicBezTo>
                  <a:cubicBezTo>
                    <a:pt x="12" y="193"/>
                    <a:pt x="10" y="199"/>
                    <a:pt x="9" y="207"/>
                  </a:cubicBezTo>
                  <a:cubicBezTo>
                    <a:pt x="9" y="208"/>
                    <a:pt x="7" y="208"/>
                    <a:pt x="7" y="209"/>
                  </a:cubicBezTo>
                  <a:cubicBezTo>
                    <a:pt x="7" y="214"/>
                    <a:pt x="12" y="214"/>
                    <a:pt x="10" y="222"/>
                  </a:cubicBezTo>
                  <a:cubicBezTo>
                    <a:pt x="9" y="225"/>
                    <a:pt x="3" y="224"/>
                    <a:pt x="2" y="226"/>
                  </a:cubicBezTo>
                  <a:cubicBezTo>
                    <a:pt x="1" y="233"/>
                    <a:pt x="3" y="239"/>
                    <a:pt x="5" y="246"/>
                  </a:cubicBezTo>
                  <a:cubicBezTo>
                    <a:pt x="6" y="251"/>
                    <a:pt x="11" y="255"/>
                    <a:pt x="10" y="260"/>
                  </a:cubicBezTo>
                  <a:cubicBezTo>
                    <a:pt x="10" y="263"/>
                    <a:pt x="4" y="263"/>
                    <a:pt x="2" y="265"/>
                  </a:cubicBezTo>
                  <a:cubicBezTo>
                    <a:pt x="1" y="268"/>
                    <a:pt x="4" y="271"/>
                    <a:pt x="4" y="274"/>
                  </a:cubicBezTo>
                  <a:cubicBezTo>
                    <a:pt x="4" y="276"/>
                    <a:pt x="2" y="278"/>
                    <a:pt x="2" y="280"/>
                  </a:cubicBezTo>
                  <a:cubicBezTo>
                    <a:pt x="2" y="283"/>
                    <a:pt x="2" y="286"/>
                    <a:pt x="2" y="289"/>
                  </a:cubicBezTo>
                  <a:cubicBezTo>
                    <a:pt x="1" y="293"/>
                    <a:pt x="1" y="297"/>
                    <a:pt x="1" y="301"/>
                  </a:cubicBezTo>
                  <a:cubicBezTo>
                    <a:pt x="2" y="305"/>
                    <a:pt x="5" y="308"/>
                    <a:pt x="5" y="312"/>
                  </a:cubicBezTo>
                  <a:cubicBezTo>
                    <a:pt x="6" y="315"/>
                    <a:pt x="3" y="317"/>
                    <a:pt x="3" y="320"/>
                  </a:cubicBezTo>
                  <a:cubicBezTo>
                    <a:pt x="2" y="324"/>
                    <a:pt x="1" y="328"/>
                    <a:pt x="3" y="333"/>
                  </a:cubicBezTo>
                  <a:cubicBezTo>
                    <a:pt x="3" y="334"/>
                    <a:pt x="6" y="333"/>
                    <a:pt x="7" y="334"/>
                  </a:cubicBezTo>
                  <a:cubicBezTo>
                    <a:pt x="8" y="335"/>
                    <a:pt x="7" y="336"/>
                    <a:pt x="7" y="337"/>
                  </a:cubicBezTo>
                  <a:cubicBezTo>
                    <a:pt x="7" y="341"/>
                    <a:pt x="9" y="344"/>
                    <a:pt x="9" y="347"/>
                  </a:cubicBezTo>
                  <a:cubicBezTo>
                    <a:pt x="10" y="350"/>
                    <a:pt x="7" y="353"/>
                    <a:pt x="9" y="356"/>
                  </a:cubicBezTo>
                  <a:cubicBezTo>
                    <a:pt x="11" y="358"/>
                    <a:pt x="15" y="356"/>
                    <a:pt x="17" y="357"/>
                  </a:cubicBezTo>
                  <a:cubicBezTo>
                    <a:pt x="19" y="357"/>
                    <a:pt x="19" y="359"/>
                    <a:pt x="19" y="360"/>
                  </a:cubicBezTo>
                  <a:cubicBezTo>
                    <a:pt x="19" y="361"/>
                    <a:pt x="18" y="363"/>
                    <a:pt x="17" y="363"/>
                  </a:cubicBezTo>
                  <a:cubicBezTo>
                    <a:pt x="15" y="364"/>
                    <a:pt x="14" y="361"/>
                    <a:pt x="12" y="361"/>
                  </a:cubicBezTo>
                  <a:cubicBezTo>
                    <a:pt x="11" y="361"/>
                    <a:pt x="7" y="362"/>
                    <a:pt x="8" y="363"/>
                  </a:cubicBezTo>
                  <a:cubicBezTo>
                    <a:pt x="10" y="366"/>
                    <a:pt x="17" y="365"/>
                    <a:pt x="18" y="369"/>
                  </a:cubicBezTo>
                  <a:cubicBezTo>
                    <a:pt x="19" y="372"/>
                    <a:pt x="12" y="373"/>
                    <a:pt x="11" y="376"/>
                  </a:cubicBezTo>
                  <a:cubicBezTo>
                    <a:pt x="11" y="378"/>
                    <a:pt x="16" y="379"/>
                    <a:pt x="16" y="381"/>
                  </a:cubicBezTo>
                  <a:cubicBezTo>
                    <a:pt x="17" y="385"/>
                    <a:pt x="16" y="388"/>
                    <a:pt x="16" y="391"/>
                  </a:cubicBezTo>
                  <a:cubicBezTo>
                    <a:pt x="15" y="393"/>
                    <a:pt x="14" y="394"/>
                    <a:pt x="13" y="396"/>
                  </a:cubicBezTo>
                  <a:cubicBezTo>
                    <a:pt x="13" y="397"/>
                    <a:pt x="13" y="399"/>
                    <a:pt x="13" y="400"/>
                  </a:cubicBezTo>
                  <a:cubicBezTo>
                    <a:pt x="11" y="404"/>
                    <a:pt x="7" y="407"/>
                    <a:pt x="7" y="411"/>
                  </a:cubicBezTo>
                  <a:cubicBezTo>
                    <a:pt x="7" y="414"/>
                    <a:pt x="13" y="415"/>
                    <a:pt x="14" y="417"/>
                  </a:cubicBezTo>
                  <a:cubicBezTo>
                    <a:pt x="14" y="421"/>
                    <a:pt x="12" y="424"/>
                    <a:pt x="11" y="427"/>
                  </a:cubicBezTo>
                  <a:cubicBezTo>
                    <a:pt x="10" y="429"/>
                    <a:pt x="10" y="431"/>
                    <a:pt x="8" y="433"/>
                  </a:cubicBezTo>
                  <a:cubicBezTo>
                    <a:pt x="6" y="436"/>
                    <a:pt x="2" y="437"/>
                    <a:pt x="1" y="441"/>
                  </a:cubicBezTo>
                  <a:cubicBezTo>
                    <a:pt x="0" y="445"/>
                    <a:pt x="1" y="450"/>
                    <a:pt x="3" y="453"/>
                  </a:cubicBezTo>
                  <a:cubicBezTo>
                    <a:pt x="5" y="457"/>
                    <a:pt x="4" y="462"/>
                    <a:pt x="8" y="465"/>
                  </a:cubicBezTo>
                  <a:cubicBezTo>
                    <a:pt x="10" y="466"/>
                    <a:pt x="14" y="460"/>
                    <a:pt x="16" y="463"/>
                  </a:cubicBezTo>
                  <a:cubicBezTo>
                    <a:pt x="20" y="466"/>
                    <a:pt x="19" y="472"/>
                    <a:pt x="21" y="477"/>
                  </a:cubicBezTo>
                  <a:cubicBezTo>
                    <a:pt x="21" y="478"/>
                    <a:pt x="21" y="478"/>
                    <a:pt x="22" y="479"/>
                  </a:cubicBezTo>
                  <a:cubicBezTo>
                    <a:pt x="23" y="482"/>
                    <a:pt x="24" y="487"/>
                    <a:pt x="27" y="488"/>
                  </a:cubicBezTo>
                  <a:cubicBezTo>
                    <a:pt x="34" y="490"/>
                    <a:pt x="41" y="487"/>
                    <a:pt x="49" y="488"/>
                  </a:cubicBezTo>
                  <a:cubicBezTo>
                    <a:pt x="52" y="488"/>
                    <a:pt x="55" y="490"/>
                    <a:pt x="58" y="49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3" name="Freeform 754"/>
            <p:cNvSpPr>
              <a:spLocks noChangeAspect="1"/>
            </p:cNvSpPr>
            <p:nvPr/>
          </p:nvSpPr>
          <p:spPr bwMode="auto">
            <a:xfrm>
              <a:off x="2814638" y="4683125"/>
              <a:ext cx="130175" cy="1041400"/>
            </a:xfrm>
            <a:custGeom>
              <a:avLst/>
              <a:gdLst>
                <a:gd name="T0" fmla="*/ 112946 w 68"/>
                <a:gd name="T1" fmla="*/ 146596 h 547"/>
                <a:gd name="T2" fmla="*/ 97631 w 68"/>
                <a:gd name="T3" fmla="*/ 95192 h 547"/>
                <a:gd name="T4" fmla="*/ 86145 w 68"/>
                <a:gd name="T5" fmla="*/ 79961 h 547"/>
                <a:gd name="T6" fmla="*/ 86145 w 68"/>
                <a:gd name="T7" fmla="*/ 59019 h 547"/>
                <a:gd name="T8" fmla="*/ 74659 w 68"/>
                <a:gd name="T9" fmla="*/ 11423 h 547"/>
                <a:gd name="T10" fmla="*/ 55516 w 68"/>
                <a:gd name="T11" fmla="*/ 17135 h 547"/>
                <a:gd name="T12" fmla="*/ 53601 w 68"/>
                <a:gd name="T13" fmla="*/ 68538 h 547"/>
                <a:gd name="T14" fmla="*/ 53601 w 68"/>
                <a:gd name="T15" fmla="*/ 154211 h 547"/>
                <a:gd name="T16" fmla="*/ 53601 w 68"/>
                <a:gd name="T17" fmla="*/ 211326 h 547"/>
                <a:gd name="T18" fmla="*/ 51687 w 68"/>
                <a:gd name="T19" fmla="*/ 262730 h 547"/>
                <a:gd name="T20" fmla="*/ 44030 w 68"/>
                <a:gd name="T21" fmla="*/ 354114 h 547"/>
                <a:gd name="T22" fmla="*/ 47858 w 68"/>
                <a:gd name="T23" fmla="*/ 434075 h 547"/>
                <a:gd name="T24" fmla="*/ 42115 w 68"/>
                <a:gd name="T25" fmla="*/ 483575 h 547"/>
                <a:gd name="T26" fmla="*/ 21058 w 68"/>
                <a:gd name="T27" fmla="*/ 561633 h 547"/>
                <a:gd name="T28" fmla="*/ 19143 w 68"/>
                <a:gd name="T29" fmla="*/ 613036 h 547"/>
                <a:gd name="T30" fmla="*/ 19143 w 68"/>
                <a:gd name="T31" fmla="*/ 692997 h 547"/>
                <a:gd name="T32" fmla="*/ 42115 w 68"/>
                <a:gd name="T33" fmla="*/ 687286 h 547"/>
                <a:gd name="T34" fmla="*/ 53601 w 68"/>
                <a:gd name="T35" fmla="*/ 710132 h 547"/>
                <a:gd name="T36" fmla="*/ 57430 w 68"/>
                <a:gd name="T37" fmla="*/ 727266 h 547"/>
                <a:gd name="T38" fmla="*/ 53601 w 68"/>
                <a:gd name="T39" fmla="*/ 778670 h 547"/>
                <a:gd name="T40" fmla="*/ 59344 w 68"/>
                <a:gd name="T41" fmla="*/ 811035 h 547"/>
                <a:gd name="T42" fmla="*/ 44030 w 68"/>
                <a:gd name="T43" fmla="*/ 862439 h 547"/>
                <a:gd name="T44" fmla="*/ 15315 w 68"/>
                <a:gd name="T45" fmla="*/ 839593 h 547"/>
                <a:gd name="T46" fmla="*/ 7657 w 68"/>
                <a:gd name="T47" fmla="*/ 860535 h 547"/>
                <a:gd name="T48" fmla="*/ 42115 w 68"/>
                <a:gd name="T49" fmla="*/ 870054 h 547"/>
                <a:gd name="T50" fmla="*/ 26801 w 68"/>
                <a:gd name="T51" fmla="*/ 892900 h 547"/>
                <a:gd name="T52" fmla="*/ 57430 w 68"/>
                <a:gd name="T53" fmla="*/ 911939 h 547"/>
                <a:gd name="T54" fmla="*/ 34458 w 68"/>
                <a:gd name="T55" fmla="*/ 917650 h 547"/>
                <a:gd name="T56" fmla="*/ 45944 w 68"/>
                <a:gd name="T57" fmla="*/ 955727 h 547"/>
                <a:gd name="T58" fmla="*/ 47858 w 68"/>
                <a:gd name="T59" fmla="*/ 967150 h 547"/>
                <a:gd name="T60" fmla="*/ 53601 w 68"/>
                <a:gd name="T61" fmla="*/ 995708 h 547"/>
                <a:gd name="T62" fmla="*/ 65088 w 68"/>
                <a:gd name="T63" fmla="*/ 1014746 h 547"/>
                <a:gd name="T64" fmla="*/ 84231 w 68"/>
                <a:gd name="T65" fmla="*/ 1031881 h 547"/>
                <a:gd name="T66" fmla="*/ 91888 w 68"/>
                <a:gd name="T67" fmla="*/ 1022362 h 547"/>
                <a:gd name="T68" fmla="*/ 91888 w 68"/>
                <a:gd name="T69" fmla="*/ 997612 h 547"/>
                <a:gd name="T70" fmla="*/ 63173 w 68"/>
                <a:gd name="T71" fmla="*/ 955727 h 547"/>
                <a:gd name="T72" fmla="*/ 88060 w 68"/>
                <a:gd name="T73" fmla="*/ 910035 h 547"/>
                <a:gd name="T74" fmla="*/ 86145 w 68"/>
                <a:gd name="T75" fmla="*/ 870054 h 547"/>
                <a:gd name="T76" fmla="*/ 82317 w 68"/>
                <a:gd name="T77" fmla="*/ 831978 h 547"/>
                <a:gd name="T78" fmla="*/ 84231 w 68"/>
                <a:gd name="T79" fmla="*/ 803420 h 547"/>
                <a:gd name="T80" fmla="*/ 93803 w 68"/>
                <a:gd name="T81" fmla="*/ 795805 h 547"/>
                <a:gd name="T82" fmla="*/ 74659 w 68"/>
                <a:gd name="T83" fmla="*/ 757728 h 547"/>
                <a:gd name="T84" fmla="*/ 67002 w 68"/>
                <a:gd name="T85" fmla="*/ 725363 h 547"/>
                <a:gd name="T86" fmla="*/ 65088 w 68"/>
                <a:gd name="T87" fmla="*/ 666344 h 547"/>
                <a:gd name="T88" fmla="*/ 65088 w 68"/>
                <a:gd name="T89" fmla="*/ 620652 h 547"/>
                <a:gd name="T90" fmla="*/ 65088 w 68"/>
                <a:gd name="T91" fmla="*/ 546402 h 547"/>
                <a:gd name="T92" fmla="*/ 78488 w 68"/>
                <a:gd name="T93" fmla="*/ 510229 h 547"/>
                <a:gd name="T94" fmla="*/ 80402 w 68"/>
                <a:gd name="T95" fmla="*/ 451210 h 547"/>
                <a:gd name="T96" fmla="*/ 74659 w 68"/>
                <a:gd name="T97" fmla="*/ 413133 h 547"/>
                <a:gd name="T98" fmla="*/ 80402 w 68"/>
                <a:gd name="T99" fmla="*/ 357922 h 547"/>
                <a:gd name="T100" fmla="*/ 78488 w 68"/>
                <a:gd name="T101" fmla="*/ 312230 h 547"/>
                <a:gd name="T102" fmla="*/ 111032 w 68"/>
                <a:gd name="T103" fmla="*/ 272249 h 547"/>
                <a:gd name="T104" fmla="*/ 99546 w 68"/>
                <a:gd name="T105" fmla="*/ 226557 h 547"/>
                <a:gd name="T106" fmla="*/ 95717 w 68"/>
                <a:gd name="T107" fmla="*/ 203711 h 547"/>
                <a:gd name="T108" fmla="*/ 130175 w 68"/>
                <a:gd name="T109" fmla="*/ 161826 h 54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8"/>
                <a:gd name="T166" fmla="*/ 0 h 547"/>
                <a:gd name="T167" fmla="*/ 68 w 68"/>
                <a:gd name="T168" fmla="*/ 547 h 54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8" h="547">
                  <a:moveTo>
                    <a:pt x="66" y="78"/>
                  </a:moveTo>
                  <a:cubicBezTo>
                    <a:pt x="65" y="78"/>
                    <a:pt x="64" y="79"/>
                    <a:pt x="62" y="78"/>
                  </a:cubicBezTo>
                  <a:cubicBezTo>
                    <a:pt x="61" y="78"/>
                    <a:pt x="60" y="78"/>
                    <a:pt x="59" y="77"/>
                  </a:cubicBezTo>
                  <a:cubicBezTo>
                    <a:pt x="58" y="75"/>
                    <a:pt x="59" y="73"/>
                    <a:pt x="58" y="72"/>
                  </a:cubicBezTo>
                  <a:cubicBezTo>
                    <a:pt x="57" y="67"/>
                    <a:pt x="55" y="62"/>
                    <a:pt x="53" y="57"/>
                  </a:cubicBezTo>
                  <a:cubicBezTo>
                    <a:pt x="52" y="55"/>
                    <a:pt x="52" y="52"/>
                    <a:pt x="51" y="50"/>
                  </a:cubicBezTo>
                  <a:cubicBezTo>
                    <a:pt x="50" y="49"/>
                    <a:pt x="48" y="50"/>
                    <a:pt x="48" y="49"/>
                  </a:cubicBezTo>
                  <a:cubicBezTo>
                    <a:pt x="47" y="48"/>
                    <a:pt x="48" y="46"/>
                    <a:pt x="48" y="45"/>
                  </a:cubicBezTo>
                  <a:cubicBezTo>
                    <a:pt x="48" y="43"/>
                    <a:pt x="46" y="43"/>
                    <a:pt x="45" y="42"/>
                  </a:cubicBezTo>
                  <a:cubicBezTo>
                    <a:pt x="45" y="40"/>
                    <a:pt x="45" y="38"/>
                    <a:pt x="45" y="36"/>
                  </a:cubicBezTo>
                  <a:cubicBezTo>
                    <a:pt x="45" y="35"/>
                    <a:pt x="46" y="34"/>
                    <a:pt x="46" y="34"/>
                  </a:cubicBezTo>
                  <a:cubicBezTo>
                    <a:pt x="47" y="33"/>
                    <a:pt x="45" y="32"/>
                    <a:pt x="45" y="31"/>
                  </a:cubicBezTo>
                  <a:cubicBezTo>
                    <a:pt x="45" y="29"/>
                    <a:pt x="47" y="28"/>
                    <a:pt x="47" y="26"/>
                  </a:cubicBezTo>
                  <a:cubicBezTo>
                    <a:pt x="46" y="24"/>
                    <a:pt x="43" y="22"/>
                    <a:pt x="42" y="20"/>
                  </a:cubicBezTo>
                  <a:cubicBezTo>
                    <a:pt x="40" y="15"/>
                    <a:pt x="41" y="11"/>
                    <a:pt x="39" y="6"/>
                  </a:cubicBezTo>
                  <a:cubicBezTo>
                    <a:pt x="38" y="4"/>
                    <a:pt x="35" y="3"/>
                    <a:pt x="34" y="1"/>
                  </a:cubicBezTo>
                  <a:cubicBezTo>
                    <a:pt x="32" y="1"/>
                    <a:pt x="30" y="0"/>
                    <a:pt x="29" y="1"/>
                  </a:cubicBezTo>
                  <a:cubicBezTo>
                    <a:pt x="28" y="4"/>
                    <a:pt x="31" y="7"/>
                    <a:pt x="29" y="9"/>
                  </a:cubicBezTo>
                  <a:cubicBezTo>
                    <a:pt x="28" y="11"/>
                    <a:pt x="25" y="11"/>
                    <a:pt x="22" y="12"/>
                  </a:cubicBezTo>
                  <a:cubicBezTo>
                    <a:pt x="23" y="15"/>
                    <a:pt x="24" y="18"/>
                    <a:pt x="24" y="21"/>
                  </a:cubicBezTo>
                  <a:cubicBezTo>
                    <a:pt x="25" y="26"/>
                    <a:pt x="27" y="31"/>
                    <a:pt x="28" y="36"/>
                  </a:cubicBezTo>
                  <a:cubicBezTo>
                    <a:pt x="28" y="39"/>
                    <a:pt x="27" y="43"/>
                    <a:pt x="27" y="47"/>
                  </a:cubicBezTo>
                  <a:cubicBezTo>
                    <a:pt x="27" y="51"/>
                    <a:pt x="29" y="54"/>
                    <a:pt x="29" y="58"/>
                  </a:cubicBezTo>
                  <a:cubicBezTo>
                    <a:pt x="30" y="66"/>
                    <a:pt x="29" y="73"/>
                    <a:pt x="28" y="81"/>
                  </a:cubicBezTo>
                  <a:cubicBezTo>
                    <a:pt x="27" y="83"/>
                    <a:pt x="26" y="86"/>
                    <a:pt x="26" y="88"/>
                  </a:cubicBezTo>
                  <a:cubicBezTo>
                    <a:pt x="26" y="90"/>
                    <a:pt x="27" y="91"/>
                    <a:pt x="27" y="93"/>
                  </a:cubicBezTo>
                  <a:cubicBezTo>
                    <a:pt x="28" y="99"/>
                    <a:pt x="27" y="105"/>
                    <a:pt x="28" y="111"/>
                  </a:cubicBezTo>
                  <a:cubicBezTo>
                    <a:pt x="28" y="113"/>
                    <a:pt x="30" y="114"/>
                    <a:pt x="29" y="116"/>
                  </a:cubicBezTo>
                  <a:cubicBezTo>
                    <a:pt x="29" y="118"/>
                    <a:pt x="27" y="120"/>
                    <a:pt x="26" y="122"/>
                  </a:cubicBezTo>
                  <a:cubicBezTo>
                    <a:pt x="26" y="127"/>
                    <a:pt x="27" y="133"/>
                    <a:pt x="27" y="138"/>
                  </a:cubicBezTo>
                  <a:cubicBezTo>
                    <a:pt x="27" y="142"/>
                    <a:pt x="26" y="147"/>
                    <a:pt x="25" y="151"/>
                  </a:cubicBezTo>
                  <a:cubicBezTo>
                    <a:pt x="24" y="158"/>
                    <a:pt x="21" y="164"/>
                    <a:pt x="21" y="171"/>
                  </a:cubicBezTo>
                  <a:cubicBezTo>
                    <a:pt x="20" y="176"/>
                    <a:pt x="24" y="181"/>
                    <a:pt x="23" y="186"/>
                  </a:cubicBezTo>
                  <a:cubicBezTo>
                    <a:pt x="23" y="189"/>
                    <a:pt x="18" y="191"/>
                    <a:pt x="18" y="195"/>
                  </a:cubicBezTo>
                  <a:cubicBezTo>
                    <a:pt x="18" y="200"/>
                    <a:pt x="21" y="205"/>
                    <a:pt x="22" y="211"/>
                  </a:cubicBezTo>
                  <a:cubicBezTo>
                    <a:pt x="23" y="216"/>
                    <a:pt x="25" y="222"/>
                    <a:pt x="25" y="228"/>
                  </a:cubicBezTo>
                  <a:cubicBezTo>
                    <a:pt x="25" y="231"/>
                    <a:pt x="22" y="233"/>
                    <a:pt x="22" y="236"/>
                  </a:cubicBezTo>
                  <a:cubicBezTo>
                    <a:pt x="22" y="239"/>
                    <a:pt x="23" y="242"/>
                    <a:pt x="23" y="246"/>
                  </a:cubicBezTo>
                  <a:cubicBezTo>
                    <a:pt x="23" y="249"/>
                    <a:pt x="23" y="251"/>
                    <a:pt x="22" y="254"/>
                  </a:cubicBezTo>
                  <a:cubicBezTo>
                    <a:pt x="21" y="257"/>
                    <a:pt x="18" y="260"/>
                    <a:pt x="18" y="263"/>
                  </a:cubicBezTo>
                  <a:cubicBezTo>
                    <a:pt x="16" y="272"/>
                    <a:pt x="17" y="280"/>
                    <a:pt x="15" y="289"/>
                  </a:cubicBezTo>
                  <a:cubicBezTo>
                    <a:pt x="15" y="291"/>
                    <a:pt x="12" y="293"/>
                    <a:pt x="11" y="295"/>
                  </a:cubicBezTo>
                  <a:cubicBezTo>
                    <a:pt x="9" y="299"/>
                    <a:pt x="7" y="302"/>
                    <a:pt x="7" y="305"/>
                  </a:cubicBezTo>
                  <a:cubicBezTo>
                    <a:pt x="7" y="308"/>
                    <a:pt x="10" y="311"/>
                    <a:pt x="11" y="314"/>
                  </a:cubicBezTo>
                  <a:cubicBezTo>
                    <a:pt x="11" y="316"/>
                    <a:pt x="10" y="319"/>
                    <a:pt x="10" y="322"/>
                  </a:cubicBezTo>
                  <a:cubicBezTo>
                    <a:pt x="10" y="326"/>
                    <a:pt x="13" y="329"/>
                    <a:pt x="13" y="333"/>
                  </a:cubicBezTo>
                  <a:cubicBezTo>
                    <a:pt x="13" y="337"/>
                    <a:pt x="10" y="341"/>
                    <a:pt x="10" y="346"/>
                  </a:cubicBezTo>
                  <a:cubicBezTo>
                    <a:pt x="9" y="352"/>
                    <a:pt x="9" y="358"/>
                    <a:pt x="10" y="364"/>
                  </a:cubicBezTo>
                  <a:cubicBezTo>
                    <a:pt x="11" y="367"/>
                    <a:pt x="12" y="371"/>
                    <a:pt x="15" y="373"/>
                  </a:cubicBezTo>
                  <a:cubicBezTo>
                    <a:pt x="17" y="374"/>
                    <a:pt x="20" y="375"/>
                    <a:pt x="21" y="373"/>
                  </a:cubicBezTo>
                  <a:cubicBezTo>
                    <a:pt x="23" y="370"/>
                    <a:pt x="21" y="365"/>
                    <a:pt x="22" y="361"/>
                  </a:cubicBezTo>
                  <a:cubicBezTo>
                    <a:pt x="22" y="360"/>
                    <a:pt x="24" y="360"/>
                    <a:pt x="24" y="361"/>
                  </a:cubicBezTo>
                  <a:cubicBezTo>
                    <a:pt x="25" y="363"/>
                    <a:pt x="24" y="366"/>
                    <a:pt x="25" y="368"/>
                  </a:cubicBezTo>
                  <a:cubicBezTo>
                    <a:pt x="25" y="369"/>
                    <a:pt x="27" y="371"/>
                    <a:pt x="28" y="373"/>
                  </a:cubicBezTo>
                  <a:cubicBezTo>
                    <a:pt x="27" y="374"/>
                    <a:pt x="25" y="376"/>
                    <a:pt x="26" y="377"/>
                  </a:cubicBezTo>
                  <a:cubicBezTo>
                    <a:pt x="26" y="378"/>
                    <a:pt x="28" y="376"/>
                    <a:pt x="29" y="378"/>
                  </a:cubicBezTo>
                  <a:cubicBezTo>
                    <a:pt x="30" y="380"/>
                    <a:pt x="30" y="380"/>
                    <a:pt x="30" y="382"/>
                  </a:cubicBezTo>
                  <a:cubicBezTo>
                    <a:pt x="26" y="383"/>
                    <a:pt x="29" y="391"/>
                    <a:pt x="28" y="394"/>
                  </a:cubicBezTo>
                  <a:cubicBezTo>
                    <a:pt x="27" y="396"/>
                    <a:pt x="26" y="398"/>
                    <a:pt x="26" y="401"/>
                  </a:cubicBezTo>
                  <a:cubicBezTo>
                    <a:pt x="26" y="404"/>
                    <a:pt x="28" y="406"/>
                    <a:pt x="28" y="409"/>
                  </a:cubicBezTo>
                  <a:cubicBezTo>
                    <a:pt x="28" y="411"/>
                    <a:pt x="25" y="413"/>
                    <a:pt x="26" y="415"/>
                  </a:cubicBezTo>
                  <a:cubicBezTo>
                    <a:pt x="27" y="417"/>
                    <a:pt x="32" y="416"/>
                    <a:pt x="32" y="417"/>
                  </a:cubicBezTo>
                  <a:cubicBezTo>
                    <a:pt x="34" y="420"/>
                    <a:pt x="33" y="424"/>
                    <a:pt x="31" y="426"/>
                  </a:cubicBezTo>
                  <a:cubicBezTo>
                    <a:pt x="30" y="428"/>
                    <a:pt x="26" y="426"/>
                    <a:pt x="25" y="428"/>
                  </a:cubicBezTo>
                  <a:cubicBezTo>
                    <a:pt x="25" y="431"/>
                    <a:pt x="29" y="432"/>
                    <a:pt x="28" y="434"/>
                  </a:cubicBezTo>
                  <a:cubicBezTo>
                    <a:pt x="28" y="441"/>
                    <a:pt x="25" y="447"/>
                    <a:pt x="23" y="453"/>
                  </a:cubicBezTo>
                  <a:cubicBezTo>
                    <a:pt x="22" y="454"/>
                    <a:pt x="21" y="453"/>
                    <a:pt x="21" y="452"/>
                  </a:cubicBezTo>
                  <a:cubicBezTo>
                    <a:pt x="20" y="449"/>
                    <a:pt x="24" y="445"/>
                    <a:pt x="22" y="444"/>
                  </a:cubicBezTo>
                  <a:cubicBezTo>
                    <a:pt x="17" y="443"/>
                    <a:pt x="13" y="440"/>
                    <a:pt x="8" y="441"/>
                  </a:cubicBezTo>
                  <a:cubicBezTo>
                    <a:pt x="7" y="446"/>
                    <a:pt x="3" y="446"/>
                    <a:pt x="2" y="450"/>
                  </a:cubicBezTo>
                  <a:cubicBezTo>
                    <a:pt x="1" y="452"/>
                    <a:pt x="0" y="456"/>
                    <a:pt x="2" y="457"/>
                  </a:cubicBezTo>
                  <a:cubicBezTo>
                    <a:pt x="4" y="457"/>
                    <a:pt x="6" y="455"/>
                    <a:pt x="4" y="452"/>
                  </a:cubicBezTo>
                  <a:cubicBezTo>
                    <a:pt x="5" y="451"/>
                    <a:pt x="7" y="452"/>
                    <a:pt x="8" y="452"/>
                  </a:cubicBezTo>
                  <a:cubicBezTo>
                    <a:pt x="10" y="451"/>
                    <a:pt x="11" y="454"/>
                    <a:pt x="12" y="455"/>
                  </a:cubicBezTo>
                  <a:cubicBezTo>
                    <a:pt x="15" y="453"/>
                    <a:pt x="20" y="455"/>
                    <a:pt x="22" y="457"/>
                  </a:cubicBezTo>
                  <a:cubicBezTo>
                    <a:pt x="23" y="459"/>
                    <a:pt x="20" y="461"/>
                    <a:pt x="20" y="462"/>
                  </a:cubicBezTo>
                  <a:cubicBezTo>
                    <a:pt x="19" y="463"/>
                    <a:pt x="18" y="465"/>
                    <a:pt x="17" y="466"/>
                  </a:cubicBezTo>
                  <a:cubicBezTo>
                    <a:pt x="16" y="467"/>
                    <a:pt x="14" y="467"/>
                    <a:pt x="14" y="469"/>
                  </a:cubicBezTo>
                  <a:cubicBezTo>
                    <a:pt x="13" y="470"/>
                    <a:pt x="12" y="472"/>
                    <a:pt x="13" y="472"/>
                  </a:cubicBezTo>
                  <a:cubicBezTo>
                    <a:pt x="18" y="473"/>
                    <a:pt x="23" y="470"/>
                    <a:pt x="28" y="472"/>
                  </a:cubicBezTo>
                  <a:cubicBezTo>
                    <a:pt x="30" y="473"/>
                    <a:pt x="32" y="477"/>
                    <a:pt x="30" y="479"/>
                  </a:cubicBezTo>
                  <a:cubicBezTo>
                    <a:pt x="29" y="481"/>
                    <a:pt x="26" y="477"/>
                    <a:pt x="23" y="477"/>
                  </a:cubicBezTo>
                  <a:cubicBezTo>
                    <a:pt x="21" y="476"/>
                    <a:pt x="18" y="474"/>
                    <a:pt x="17" y="476"/>
                  </a:cubicBezTo>
                  <a:cubicBezTo>
                    <a:pt x="15" y="477"/>
                    <a:pt x="16" y="481"/>
                    <a:pt x="18" y="482"/>
                  </a:cubicBezTo>
                  <a:cubicBezTo>
                    <a:pt x="20" y="484"/>
                    <a:pt x="24" y="480"/>
                    <a:pt x="25" y="482"/>
                  </a:cubicBezTo>
                  <a:cubicBezTo>
                    <a:pt x="26" y="485"/>
                    <a:pt x="21" y="487"/>
                    <a:pt x="21" y="490"/>
                  </a:cubicBezTo>
                  <a:cubicBezTo>
                    <a:pt x="21" y="494"/>
                    <a:pt x="21" y="499"/>
                    <a:pt x="24" y="502"/>
                  </a:cubicBezTo>
                  <a:cubicBezTo>
                    <a:pt x="26" y="503"/>
                    <a:pt x="26" y="495"/>
                    <a:pt x="28" y="496"/>
                  </a:cubicBezTo>
                  <a:cubicBezTo>
                    <a:pt x="31" y="497"/>
                    <a:pt x="28" y="501"/>
                    <a:pt x="29" y="503"/>
                  </a:cubicBezTo>
                  <a:cubicBezTo>
                    <a:pt x="28" y="505"/>
                    <a:pt x="26" y="506"/>
                    <a:pt x="25" y="508"/>
                  </a:cubicBezTo>
                  <a:cubicBezTo>
                    <a:pt x="23" y="510"/>
                    <a:pt x="21" y="513"/>
                    <a:pt x="22" y="516"/>
                  </a:cubicBezTo>
                  <a:cubicBezTo>
                    <a:pt x="24" y="518"/>
                    <a:pt x="28" y="517"/>
                    <a:pt x="30" y="519"/>
                  </a:cubicBezTo>
                  <a:cubicBezTo>
                    <a:pt x="31" y="520"/>
                    <a:pt x="28" y="522"/>
                    <a:pt x="28" y="523"/>
                  </a:cubicBezTo>
                  <a:cubicBezTo>
                    <a:pt x="29" y="525"/>
                    <a:pt x="34" y="523"/>
                    <a:pt x="34" y="525"/>
                  </a:cubicBezTo>
                  <a:cubicBezTo>
                    <a:pt x="34" y="527"/>
                    <a:pt x="29" y="526"/>
                    <a:pt x="29" y="528"/>
                  </a:cubicBezTo>
                  <a:cubicBezTo>
                    <a:pt x="29" y="530"/>
                    <a:pt x="33" y="531"/>
                    <a:pt x="34" y="533"/>
                  </a:cubicBezTo>
                  <a:cubicBezTo>
                    <a:pt x="35" y="536"/>
                    <a:pt x="34" y="540"/>
                    <a:pt x="36" y="542"/>
                  </a:cubicBezTo>
                  <a:cubicBezTo>
                    <a:pt x="38" y="545"/>
                    <a:pt x="40" y="547"/>
                    <a:pt x="43" y="547"/>
                  </a:cubicBezTo>
                  <a:cubicBezTo>
                    <a:pt x="45" y="547"/>
                    <a:pt x="43" y="543"/>
                    <a:pt x="44" y="542"/>
                  </a:cubicBezTo>
                  <a:cubicBezTo>
                    <a:pt x="44" y="540"/>
                    <a:pt x="47" y="540"/>
                    <a:pt x="47" y="539"/>
                  </a:cubicBezTo>
                  <a:cubicBezTo>
                    <a:pt x="47" y="537"/>
                    <a:pt x="44" y="536"/>
                    <a:pt x="45" y="535"/>
                  </a:cubicBezTo>
                  <a:cubicBezTo>
                    <a:pt x="45" y="534"/>
                    <a:pt x="47" y="536"/>
                    <a:pt x="48" y="537"/>
                  </a:cubicBezTo>
                  <a:cubicBezTo>
                    <a:pt x="49" y="538"/>
                    <a:pt x="52" y="539"/>
                    <a:pt x="54" y="540"/>
                  </a:cubicBezTo>
                  <a:cubicBezTo>
                    <a:pt x="53" y="539"/>
                    <a:pt x="53" y="539"/>
                    <a:pt x="53" y="538"/>
                  </a:cubicBezTo>
                  <a:cubicBezTo>
                    <a:pt x="51" y="533"/>
                    <a:pt x="52" y="527"/>
                    <a:pt x="48" y="524"/>
                  </a:cubicBezTo>
                  <a:cubicBezTo>
                    <a:pt x="46" y="521"/>
                    <a:pt x="42" y="527"/>
                    <a:pt x="40" y="526"/>
                  </a:cubicBezTo>
                  <a:cubicBezTo>
                    <a:pt x="36" y="523"/>
                    <a:pt x="37" y="518"/>
                    <a:pt x="35" y="514"/>
                  </a:cubicBezTo>
                  <a:cubicBezTo>
                    <a:pt x="33" y="511"/>
                    <a:pt x="32" y="506"/>
                    <a:pt x="33" y="502"/>
                  </a:cubicBezTo>
                  <a:cubicBezTo>
                    <a:pt x="34" y="498"/>
                    <a:pt x="38" y="497"/>
                    <a:pt x="40" y="494"/>
                  </a:cubicBezTo>
                  <a:cubicBezTo>
                    <a:pt x="42" y="492"/>
                    <a:pt x="42" y="490"/>
                    <a:pt x="43" y="488"/>
                  </a:cubicBezTo>
                  <a:cubicBezTo>
                    <a:pt x="44" y="485"/>
                    <a:pt x="46" y="482"/>
                    <a:pt x="46" y="478"/>
                  </a:cubicBezTo>
                  <a:cubicBezTo>
                    <a:pt x="45" y="476"/>
                    <a:pt x="39" y="475"/>
                    <a:pt x="39" y="472"/>
                  </a:cubicBezTo>
                  <a:cubicBezTo>
                    <a:pt x="39" y="468"/>
                    <a:pt x="43" y="465"/>
                    <a:pt x="45" y="461"/>
                  </a:cubicBezTo>
                  <a:cubicBezTo>
                    <a:pt x="45" y="460"/>
                    <a:pt x="45" y="458"/>
                    <a:pt x="45" y="457"/>
                  </a:cubicBezTo>
                  <a:cubicBezTo>
                    <a:pt x="46" y="455"/>
                    <a:pt x="47" y="454"/>
                    <a:pt x="48" y="452"/>
                  </a:cubicBezTo>
                  <a:cubicBezTo>
                    <a:pt x="48" y="449"/>
                    <a:pt x="49" y="446"/>
                    <a:pt x="48" y="442"/>
                  </a:cubicBezTo>
                  <a:cubicBezTo>
                    <a:pt x="48" y="440"/>
                    <a:pt x="43" y="439"/>
                    <a:pt x="43" y="437"/>
                  </a:cubicBezTo>
                  <a:cubicBezTo>
                    <a:pt x="44" y="434"/>
                    <a:pt x="51" y="433"/>
                    <a:pt x="50" y="430"/>
                  </a:cubicBezTo>
                  <a:cubicBezTo>
                    <a:pt x="49" y="426"/>
                    <a:pt x="42" y="427"/>
                    <a:pt x="40" y="424"/>
                  </a:cubicBezTo>
                  <a:cubicBezTo>
                    <a:pt x="39" y="423"/>
                    <a:pt x="43" y="422"/>
                    <a:pt x="44" y="422"/>
                  </a:cubicBezTo>
                  <a:cubicBezTo>
                    <a:pt x="46" y="422"/>
                    <a:pt x="47" y="425"/>
                    <a:pt x="49" y="424"/>
                  </a:cubicBezTo>
                  <a:cubicBezTo>
                    <a:pt x="50" y="424"/>
                    <a:pt x="51" y="422"/>
                    <a:pt x="51" y="421"/>
                  </a:cubicBezTo>
                  <a:cubicBezTo>
                    <a:pt x="51" y="420"/>
                    <a:pt x="51" y="418"/>
                    <a:pt x="49" y="418"/>
                  </a:cubicBezTo>
                  <a:cubicBezTo>
                    <a:pt x="47" y="417"/>
                    <a:pt x="43" y="419"/>
                    <a:pt x="41" y="417"/>
                  </a:cubicBezTo>
                  <a:cubicBezTo>
                    <a:pt x="39" y="414"/>
                    <a:pt x="42" y="411"/>
                    <a:pt x="41" y="408"/>
                  </a:cubicBezTo>
                  <a:cubicBezTo>
                    <a:pt x="41" y="405"/>
                    <a:pt x="39" y="402"/>
                    <a:pt x="39" y="398"/>
                  </a:cubicBezTo>
                  <a:cubicBezTo>
                    <a:pt x="39" y="397"/>
                    <a:pt x="40" y="396"/>
                    <a:pt x="39" y="395"/>
                  </a:cubicBezTo>
                  <a:cubicBezTo>
                    <a:pt x="38" y="394"/>
                    <a:pt x="35" y="395"/>
                    <a:pt x="35" y="394"/>
                  </a:cubicBezTo>
                  <a:cubicBezTo>
                    <a:pt x="33" y="389"/>
                    <a:pt x="34" y="385"/>
                    <a:pt x="35" y="381"/>
                  </a:cubicBezTo>
                  <a:cubicBezTo>
                    <a:pt x="35" y="378"/>
                    <a:pt x="38" y="376"/>
                    <a:pt x="37" y="373"/>
                  </a:cubicBezTo>
                  <a:cubicBezTo>
                    <a:pt x="37" y="369"/>
                    <a:pt x="34" y="366"/>
                    <a:pt x="33" y="362"/>
                  </a:cubicBezTo>
                  <a:cubicBezTo>
                    <a:pt x="33" y="358"/>
                    <a:pt x="33" y="354"/>
                    <a:pt x="34" y="350"/>
                  </a:cubicBezTo>
                  <a:cubicBezTo>
                    <a:pt x="34" y="347"/>
                    <a:pt x="34" y="344"/>
                    <a:pt x="34" y="341"/>
                  </a:cubicBezTo>
                  <a:cubicBezTo>
                    <a:pt x="34" y="339"/>
                    <a:pt x="36" y="337"/>
                    <a:pt x="36" y="335"/>
                  </a:cubicBezTo>
                  <a:cubicBezTo>
                    <a:pt x="36" y="332"/>
                    <a:pt x="33" y="329"/>
                    <a:pt x="34" y="326"/>
                  </a:cubicBezTo>
                  <a:cubicBezTo>
                    <a:pt x="36" y="324"/>
                    <a:pt x="42" y="324"/>
                    <a:pt x="42" y="321"/>
                  </a:cubicBezTo>
                  <a:cubicBezTo>
                    <a:pt x="43" y="316"/>
                    <a:pt x="38" y="312"/>
                    <a:pt x="37" y="307"/>
                  </a:cubicBezTo>
                  <a:cubicBezTo>
                    <a:pt x="35" y="300"/>
                    <a:pt x="33" y="294"/>
                    <a:pt x="34" y="287"/>
                  </a:cubicBezTo>
                  <a:cubicBezTo>
                    <a:pt x="35" y="285"/>
                    <a:pt x="41" y="286"/>
                    <a:pt x="42" y="283"/>
                  </a:cubicBezTo>
                  <a:cubicBezTo>
                    <a:pt x="44" y="275"/>
                    <a:pt x="39" y="275"/>
                    <a:pt x="39" y="270"/>
                  </a:cubicBezTo>
                  <a:cubicBezTo>
                    <a:pt x="39" y="269"/>
                    <a:pt x="41" y="269"/>
                    <a:pt x="41" y="268"/>
                  </a:cubicBezTo>
                  <a:cubicBezTo>
                    <a:pt x="42" y="260"/>
                    <a:pt x="44" y="254"/>
                    <a:pt x="46" y="248"/>
                  </a:cubicBezTo>
                  <a:cubicBezTo>
                    <a:pt x="46" y="245"/>
                    <a:pt x="49" y="240"/>
                    <a:pt x="47" y="237"/>
                  </a:cubicBezTo>
                  <a:cubicBezTo>
                    <a:pt x="47" y="235"/>
                    <a:pt x="43" y="239"/>
                    <a:pt x="42" y="237"/>
                  </a:cubicBezTo>
                  <a:cubicBezTo>
                    <a:pt x="41" y="234"/>
                    <a:pt x="44" y="230"/>
                    <a:pt x="43" y="226"/>
                  </a:cubicBezTo>
                  <a:cubicBezTo>
                    <a:pt x="42" y="224"/>
                    <a:pt x="38" y="224"/>
                    <a:pt x="37" y="221"/>
                  </a:cubicBezTo>
                  <a:cubicBezTo>
                    <a:pt x="36" y="220"/>
                    <a:pt x="39" y="219"/>
                    <a:pt x="39" y="217"/>
                  </a:cubicBezTo>
                  <a:cubicBezTo>
                    <a:pt x="39" y="215"/>
                    <a:pt x="36" y="214"/>
                    <a:pt x="36" y="212"/>
                  </a:cubicBezTo>
                  <a:cubicBezTo>
                    <a:pt x="35" y="208"/>
                    <a:pt x="35" y="205"/>
                    <a:pt x="36" y="202"/>
                  </a:cubicBezTo>
                  <a:cubicBezTo>
                    <a:pt x="37" y="197"/>
                    <a:pt x="41" y="193"/>
                    <a:pt x="42" y="188"/>
                  </a:cubicBezTo>
                  <a:cubicBezTo>
                    <a:pt x="42" y="184"/>
                    <a:pt x="43" y="177"/>
                    <a:pt x="39" y="176"/>
                  </a:cubicBezTo>
                  <a:cubicBezTo>
                    <a:pt x="40" y="175"/>
                    <a:pt x="40" y="174"/>
                    <a:pt x="41" y="172"/>
                  </a:cubicBezTo>
                  <a:cubicBezTo>
                    <a:pt x="43" y="173"/>
                    <a:pt x="40" y="167"/>
                    <a:pt x="41" y="164"/>
                  </a:cubicBezTo>
                  <a:cubicBezTo>
                    <a:pt x="43" y="161"/>
                    <a:pt x="47" y="159"/>
                    <a:pt x="48" y="156"/>
                  </a:cubicBezTo>
                  <a:cubicBezTo>
                    <a:pt x="50" y="152"/>
                    <a:pt x="49" y="147"/>
                    <a:pt x="51" y="144"/>
                  </a:cubicBezTo>
                  <a:cubicBezTo>
                    <a:pt x="52" y="142"/>
                    <a:pt x="57" y="145"/>
                    <a:pt x="58" y="143"/>
                  </a:cubicBezTo>
                  <a:cubicBezTo>
                    <a:pt x="59" y="140"/>
                    <a:pt x="54" y="138"/>
                    <a:pt x="54" y="136"/>
                  </a:cubicBezTo>
                  <a:cubicBezTo>
                    <a:pt x="53" y="134"/>
                    <a:pt x="55" y="132"/>
                    <a:pt x="55" y="129"/>
                  </a:cubicBezTo>
                  <a:cubicBezTo>
                    <a:pt x="55" y="126"/>
                    <a:pt x="53" y="123"/>
                    <a:pt x="52" y="119"/>
                  </a:cubicBezTo>
                  <a:cubicBezTo>
                    <a:pt x="52" y="118"/>
                    <a:pt x="52" y="116"/>
                    <a:pt x="53" y="114"/>
                  </a:cubicBezTo>
                  <a:cubicBezTo>
                    <a:pt x="53" y="113"/>
                    <a:pt x="55" y="114"/>
                    <a:pt x="55" y="113"/>
                  </a:cubicBezTo>
                  <a:cubicBezTo>
                    <a:pt x="54" y="111"/>
                    <a:pt x="50" y="110"/>
                    <a:pt x="50" y="107"/>
                  </a:cubicBezTo>
                  <a:cubicBezTo>
                    <a:pt x="50" y="105"/>
                    <a:pt x="53" y="103"/>
                    <a:pt x="55" y="102"/>
                  </a:cubicBezTo>
                  <a:cubicBezTo>
                    <a:pt x="58" y="100"/>
                    <a:pt x="63" y="100"/>
                    <a:pt x="65" y="97"/>
                  </a:cubicBezTo>
                  <a:cubicBezTo>
                    <a:pt x="68" y="93"/>
                    <a:pt x="67" y="89"/>
                    <a:pt x="68" y="85"/>
                  </a:cubicBezTo>
                  <a:cubicBezTo>
                    <a:pt x="68" y="83"/>
                    <a:pt x="67" y="80"/>
                    <a:pt x="66" y="7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4" name="Freeform 755"/>
            <p:cNvSpPr>
              <a:spLocks noChangeAspect="1"/>
            </p:cNvSpPr>
            <p:nvPr/>
          </p:nvSpPr>
          <p:spPr bwMode="auto">
            <a:xfrm>
              <a:off x="2579688" y="4192588"/>
              <a:ext cx="320675" cy="512762"/>
            </a:xfrm>
            <a:custGeom>
              <a:avLst/>
              <a:gdLst>
                <a:gd name="T0" fmla="*/ 148885 w 168"/>
                <a:gd name="T1" fmla="*/ 1906 h 269"/>
                <a:gd name="T2" fmla="*/ 166064 w 168"/>
                <a:gd name="T3" fmla="*/ 17156 h 269"/>
                <a:gd name="T4" fmla="*/ 183243 w 168"/>
                <a:gd name="T5" fmla="*/ 34311 h 269"/>
                <a:gd name="T6" fmla="*/ 196604 w 168"/>
                <a:gd name="T7" fmla="*/ 45748 h 269"/>
                <a:gd name="T8" fmla="*/ 194696 w 168"/>
                <a:gd name="T9" fmla="*/ 60998 h 269"/>
                <a:gd name="T10" fmla="*/ 219510 w 168"/>
                <a:gd name="T11" fmla="*/ 64810 h 269"/>
                <a:gd name="T12" fmla="*/ 240506 w 168"/>
                <a:gd name="T13" fmla="*/ 64810 h 269"/>
                <a:gd name="T14" fmla="*/ 265320 w 168"/>
                <a:gd name="T15" fmla="*/ 60998 h 269"/>
                <a:gd name="T16" fmla="*/ 272956 w 168"/>
                <a:gd name="T17" fmla="*/ 68622 h 269"/>
                <a:gd name="T18" fmla="*/ 269138 w 168"/>
                <a:gd name="T19" fmla="*/ 99121 h 269"/>
                <a:gd name="T20" fmla="*/ 274864 w 168"/>
                <a:gd name="T21" fmla="*/ 108652 h 269"/>
                <a:gd name="T22" fmla="*/ 267229 w 168"/>
                <a:gd name="T23" fmla="*/ 116277 h 269"/>
                <a:gd name="T24" fmla="*/ 234780 w 168"/>
                <a:gd name="T25" fmla="*/ 125808 h 269"/>
                <a:gd name="T26" fmla="*/ 208057 w 168"/>
                <a:gd name="T27" fmla="*/ 141057 h 269"/>
                <a:gd name="T28" fmla="*/ 198513 w 168"/>
                <a:gd name="T29" fmla="*/ 167744 h 269"/>
                <a:gd name="T30" fmla="*/ 183243 w 168"/>
                <a:gd name="T31" fmla="*/ 188712 h 269"/>
                <a:gd name="T32" fmla="*/ 183243 w 168"/>
                <a:gd name="T33" fmla="*/ 217304 h 269"/>
                <a:gd name="T34" fmla="*/ 208057 w 168"/>
                <a:gd name="T35" fmla="*/ 247803 h 269"/>
                <a:gd name="T36" fmla="*/ 221418 w 168"/>
                <a:gd name="T37" fmla="*/ 264959 h 269"/>
                <a:gd name="T38" fmla="*/ 244324 w 168"/>
                <a:gd name="T39" fmla="*/ 280208 h 269"/>
                <a:gd name="T40" fmla="*/ 263412 w 168"/>
                <a:gd name="T41" fmla="*/ 263053 h 269"/>
                <a:gd name="T42" fmla="*/ 282499 w 168"/>
                <a:gd name="T43" fmla="*/ 303082 h 269"/>
                <a:gd name="T44" fmla="*/ 320675 w 168"/>
                <a:gd name="T45" fmla="*/ 346924 h 269"/>
                <a:gd name="T46" fmla="*/ 309222 w 168"/>
                <a:gd name="T47" fmla="*/ 367892 h 269"/>
                <a:gd name="T48" fmla="*/ 305405 w 168"/>
                <a:gd name="T49" fmla="*/ 381236 h 269"/>
                <a:gd name="T50" fmla="*/ 301587 w 168"/>
                <a:gd name="T51" fmla="*/ 415547 h 269"/>
                <a:gd name="T52" fmla="*/ 305405 w 168"/>
                <a:gd name="T53" fmla="*/ 459389 h 269"/>
                <a:gd name="T54" fmla="*/ 293952 w 168"/>
                <a:gd name="T55" fmla="*/ 478451 h 269"/>
                <a:gd name="T56" fmla="*/ 290135 w 168"/>
                <a:gd name="T57" fmla="*/ 491794 h 269"/>
                <a:gd name="T58" fmla="*/ 276773 w 168"/>
                <a:gd name="T59" fmla="*/ 512762 h 269"/>
                <a:gd name="T60" fmla="*/ 251959 w 168"/>
                <a:gd name="T61" fmla="*/ 486075 h 269"/>
                <a:gd name="T62" fmla="*/ 208057 w 168"/>
                <a:gd name="T63" fmla="*/ 457483 h 269"/>
                <a:gd name="T64" fmla="*/ 154611 w 168"/>
                <a:gd name="T65" fmla="*/ 421265 h 269"/>
                <a:gd name="T66" fmla="*/ 131706 w 168"/>
                <a:gd name="T67" fmla="*/ 392673 h 269"/>
                <a:gd name="T68" fmla="*/ 137432 w 168"/>
                <a:gd name="T69" fmla="*/ 373611 h 269"/>
                <a:gd name="T70" fmla="*/ 97348 w 168"/>
                <a:gd name="T71" fmla="*/ 312613 h 269"/>
                <a:gd name="T72" fmla="*/ 66807 w 168"/>
                <a:gd name="T73" fmla="*/ 236366 h 269"/>
                <a:gd name="T74" fmla="*/ 49628 w 168"/>
                <a:gd name="T75" fmla="*/ 194430 h 269"/>
                <a:gd name="T76" fmla="*/ 26723 w 168"/>
                <a:gd name="T77" fmla="*/ 181087 h 269"/>
                <a:gd name="T78" fmla="*/ 7635 w 168"/>
                <a:gd name="T79" fmla="*/ 158213 h 269"/>
                <a:gd name="T80" fmla="*/ 11453 w 168"/>
                <a:gd name="T81" fmla="*/ 146776 h 269"/>
                <a:gd name="T82" fmla="*/ 7635 w 168"/>
                <a:gd name="T83" fmla="*/ 135339 h 269"/>
                <a:gd name="T84" fmla="*/ 17179 w 168"/>
                <a:gd name="T85" fmla="*/ 99121 h 269"/>
                <a:gd name="T86" fmla="*/ 32449 w 168"/>
                <a:gd name="T87" fmla="*/ 101027 h 269"/>
                <a:gd name="T88" fmla="*/ 20997 w 168"/>
                <a:gd name="T89" fmla="*/ 108652 h 269"/>
                <a:gd name="T90" fmla="*/ 24814 w 168"/>
                <a:gd name="T91" fmla="*/ 121995 h 269"/>
                <a:gd name="T92" fmla="*/ 47719 w 168"/>
                <a:gd name="T93" fmla="*/ 120089 h 269"/>
                <a:gd name="T94" fmla="*/ 55355 w 168"/>
                <a:gd name="T95" fmla="*/ 135339 h 269"/>
                <a:gd name="T96" fmla="*/ 70625 w 168"/>
                <a:gd name="T97" fmla="*/ 91497 h 269"/>
                <a:gd name="T98" fmla="*/ 116436 w 168"/>
                <a:gd name="T99" fmla="*/ 68622 h 269"/>
                <a:gd name="T100" fmla="*/ 129797 w 168"/>
                <a:gd name="T101" fmla="*/ 51467 h 269"/>
                <a:gd name="T102" fmla="*/ 141250 w 168"/>
                <a:gd name="T103" fmla="*/ 28593 h 269"/>
                <a:gd name="T104" fmla="*/ 146976 w 168"/>
                <a:gd name="T105" fmla="*/ 13343 h 269"/>
                <a:gd name="T106" fmla="*/ 141250 w 168"/>
                <a:gd name="T107" fmla="*/ 0 h 2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8"/>
                <a:gd name="T163" fmla="*/ 0 h 269"/>
                <a:gd name="T164" fmla="*/ 168 w 168"/>
                <a:gd name="T165" fmla="*/ 269 h 2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8" h="269">
                  <a:moveTo>
                    <a:pt x="74" y="0"/>
                  </a:moveTo>
                  <a:cubicBezTo>
                    <a:pt x="75" y="0"/>
                    <a:pt x="77" y="0"/>
                    <a:pt x="78" y="1"/>
                  </a:cubicBezTo>
                  <a:cubicBezTo>
                    <a:pt x="79" y="1"/>
                    <a:pt x="80" y="2"/>
                    <a:pt x="81" y="3"/>
                  </a:cubicBezTo>
                  <a:cubicBezTo>
                    <a:pt x="83" y="5"/>
                    <a:pt x="85" y="7"/>
                    <a:pt x="87" y="9"/>
                  </a:cubicBezTo>
                  <a:cubicBezTo>
                    <a:pt x="88" y="11"/>
                    <a:pt x="87" y="14"/>
                    <a:pt x="89" y="15"/>
                  </a:cubicBezTo>
                  <a:cubicBezTo>
                    <a:pt x="91" y="17"/>
                    <a:pt x="94" y="17"/>
                    <a:pt x="96" y="18"/>
                  </a:cubicBezTo>
                  <a:cubicBezTo>
                    <a:pt x="98" y="20"/>
                    <a:pt x="99" y="23"/>
                    <a:pt x="101" y="25"/>
                  </a:cubicBezTo>
                  <a:cubicBezTo>
                    <a:pt x="101" y="26"/>
                    <a:pt x="102" y="23"/>
                    <a:pt x="103" y="24"/>
                  </a:cubicBezTo>
                  <a:cubicBezTo>
                    <a:pt x="104" y="25"/>
                    <a:pt x="104" y="26"/>
                    <a:pt x="103" y="28"/>
                  </a:cubicBezTo>
                  <a:cubicBezTo>
                    <a:pt x="103" y="29"/>
                    <a:pt x="101" y="30"/>
                    <a:pt x="102" y="32"/>
                  </a:cubicBezTo>
                  <a:cubicBezTo>
                    <a:pt x="102" y="33"/>
                    <a:pt x="105" y="33"/>
                    <a:pt x="107" y="33"/>
                  </a:cubicBezTo>
                  <a:cubicBezTo>
                    <a:pt x="110" y="34"/>
                    <a:pt x="112" y="34"/>
                    <a:pt x="115" y="34"/>
                  </a:cubicBezTo>
                  <a:cubicBezTo>
                    <a:pt x="117" y="33"/>
                    <a:pt x="119" y="31"/>
                    <a:pt x="122" y="31"/>
                  </a:cubicBezTo>
                  <a:cubicBezTo>
                    <a:pt x="124" y="31"/>
                    <a:pt x="125" y="34"/>
                    <a:pt x="126" y="34"/>
                  </a:cubicBezTo>
                  <a:cubicBezTo>
                    <a:pt x="128" y="34"/>
                    <a:pt x="130" y="32"/>
                    <a:pt x="132" y="31"/>
                  </a:cubicBezTo>
                  <a:cubicBezTo>
                    <a:pt x="134" y="31"/>
                    <a:pt x="137" y="31"/>
                    <a:pt x="139" y="32"/>
                  </a:cubicBezTo>
                  <a:cubicBezTo>
                    <a:pt x="140" y="33"/>
                    <a:pt x="138" y="35"/>
                    <a:pt x="139" y="36"/>
                  </a:cubicBezTo>
                  <a:cubicBezTo>
                    <a:pt x="140" y="37"/>
                    <a:pt x="143" y="35"/>
                    <a:pt x="143" y="36"/>
                  </a:cubicBezTo>
                  <a:cubicBezTo>
                    <a:pt x="142" y="42"/>
                    <a:pt x="138" y="46"/>
                    <a:pt x="137" y="51"/>
                  </a:cubicBezTo>
                  <a:cubicBezTo>
                    <a:pt x="137" y="53"/>
                    <a:pt x="140" y="51"/>
                    <a:pt x="141" y="52"/>
                  </a:cubicBezTo>
                  <a:cubicBezTo>
                    <a:pt x="142" y="52"/>
                    <a:pt x="140" y="53"/>
                    <a:pt x="141" y="54"/>
                  </a:cubicBezTo>
                  <a:cubicBezTo>
                    <a:pt x="141" y="55"/>
                    <a:pt x="143" y="56"/>
                    <a:pt x="144" y="57"/>
                  </a:cubicBezTo>
                  <a:cubicBezTo>
                    <a:pt x="145" y="59"/>
                    <a:pt x="145" y="60"/>
                    <a:pt x="145" y="62"/>
                  </a:cubicBezTo>
                  <a:cubicBezTo>
                    <a:pt x="143" y="62"/>
                    <a:pt x="142" y="61"/>
                    <a:pt x="140" y="61"/>
                  </a:cubicBezTo>
                  <a:cubicBezTo>
                    <a:pt x="138" y="61"/>
                    <a:pt x="135" y="63"/>
                    <a:pt x="133" y="63"/>
                  </a:cubicBezTo>
                  <a:cubicBezTo>
                    <a:pt x="130" y="64"/>
                    <a:pt x="127" y="66"/>
                    <a:pt x="123" y="66"/>
                  </a:cubicBezTo>
                  <a:cubicBezTo>
                    <a:pt x="122" y="67"/>
                    <a:pt x="120" y="66"/>
                    <a:pt x="118" y="66"/>
                  </a:cubicBezTo>
                  <a:cubicBezTo>
                    <a:pt x="115" y="68"/>
                    <a:pt x="111" y="70"/>
                    <a:pt x="109" y="74"/>
                  </a:cubicBezTo>
                  <a:cubicBezTo>
                    <a:pt x="108" y="76"/>
                    <a:pt x="110" y="78"/>
                    <a:pt x="109" y="81"/>
                  </a:cubicBezTo>
                  <a:cubicBezTo>
                    <a:pt x="108" y="84"/>
                    <a:pt x="104" y="85"/>
                    <a:pt x="104" y="88"/>
                  </a:cubicBezTo>
                  <a:cubicBezTo>
                    <a:pt x="103" y="90"/>
                    <a:pt x="107" y="91"/>
                    <a:pt x="106" y="92"/>
                  </a:cubicBezTo>
                  <a:cubicBezTo>
                    <a:pt x="104" y="96"/>
                    <a:pt x="98" y="96"/>
                    <a:pt x="96" y="99"/>
                  </a:cubicBezTo>
                  <a:cubicBezTo>
                    <a:pt x="94" y="101"/>
                    <a:pt x="96" y="104"/>
                    <a:pt x="96" y="106"/>
                  </a:cubicBezTo>
                  <a:cubicBezTo>
                    <a:pt x="96" y="109"/>
                    <a:pt x="96" y="112"/>
                    <a:pt x="96" y="114"/>
                  </a:cubicBezTo>
                  <a:cubicBezTo>
                    <a:pt x="96" y="117"/>
                    <a:pt x="95" y="121"/>
                    <a:pt x="97" y="123"/>
                  </a:cubicBezTo>
                  <a:cubicBezTo>
                    <a:pt x="99" y="127"/>
                    <a:pt x="106" y="127"/>
                    <a:pt x="109" y="130"/>
                  </a:cubicBezTo>
                  <a:cubicBezTo>
                    <a:pt x="110" y="132"/>
                    <a:pt x="106" y="135"/>
                    <a:pt x="108" y="137"/>
                  </a:cubicBezTo>
                  <a:cubicBezTo>
                    <a:pt x="109" y="139"/>
                    <a:pt x="114" y="137"/>
                    <a:pt x="116" y="139"/>
                  </a:cubicBezTo>
                  <a:cubicBezTo>
                    <a:pt x="118" y="141"/>
                    <a:pt x="117" y="145"/>
                    <a:pt x="119" y="147"/>
                  </a:cubicBezTo>
                  <a:cubicBezTo>
                    <a:pt x="122" y="148"/>
                    <a:pt x="126" y="148"/>
                    <a:pt x="128" y="147"/>
                  </a:cubicBezTo>
                  <a:cubicBezTo>
                    <a:pt x="132" y="145"/>
                    <a:pt x="133" y="141"/>
                    <a:pt x="136" y="138"/>
                  </a:cubicBezTo>
                  <a:cubicBezTo>
                    <a:pt x="137" y="138"/>
                    <a:pt x="138" y="138"/>
                    <a:pt x="138" y="138"/>
                  </a:cubicBezTo>
                  <a:cubicBezTo>
                    <a:pt x="139" y="145"/>
                    <a:pt x="137" y="153"/>
                    <a:pt x="140" y="159"/>
                  </a:cubicBezTo>
                  <a:cubicBezTo>
                    <a:pt x="141" y="162"/>
                    <a:pt x="145" y="159"/>
                    <a:pt x="148" y="159"/>
                  </a:cubicBezTo>
                  <a:cubicBezTo>
                    <a:pt x="149" y="159"/>
                    <a:pt x="151" y="158"/>
                    <a:pt x="152" y="158"/>
                  </a:cubicBezTo>
                  <a:cubicBezTo>
                    <a:pt x="157" y="166"/>
                    <a:pt x="162" y="174"/>
                    <a:pt x="168" y="182"/>
                  </a:cubicBezTo>
                  <a:cubicBezTo>
                    <a:pt x="167" y="184"/>
                    <a:pt x="166" y="186"/>
                    <a:pt x="165" y="188"/>
                  </a:cubicBezTo>
                  <a:cubicBezTo>
                    <a:pt x="164" y="190"/>
                    <a:pt x="163" y="191"/>
                    <a:pt x="162" y="193"/>
                  </a:cubicBezTo>
                  <a:cubicBezTo>
                    <a:pt x="162" y="195"/>
                    <a:pt x="163" y="197"/>
                    <a:pt x="163" y="200"/>
                  </a:cubicBezTo>
                  <a:cubicBezTo>
                    <a:pt x="162" y="201"/>
                    <a:pt x="160" y="199"/>
                    <a:pt x="160" y="200"/>
                  </a:cubicBezTo>
                  <a:cubicBezTo>
                    <a:pt x="160" y="202"/>
                    <a:pt x="163" y="205"/>
                    <a:pt x="163" y="207"/>
                  </a:cubicBezTo>
                  <a:cubicBezTo>
                    <a:pt x="163" y="211"/>
                    <a:pt x="158" y="214"/>
                    <a:pt x="158" y="218"/>
                  </a:cubicBezTo>
                  <a:cubicBezTo>
                    <a:pt x="157" y="220"/>
                    <a:pt x="160" y="222"/>
                    <a:pt x="160" y="224"/>
                  </a:cubicBezTo>
                  <a:cubicBezTo>
                    <a:pt x="161" y="229"/>
                    <a:pt x="161" y="235"/>
                    <a:pt x="160" y="241"/>
                  </a:cubicBezTo>
                  <a:cubicBezTo>
                    <a:pt x="160" y="243"/>
                    <a:pt x="159" y="246"/>
                    <a:pt x="157" y="248"/>
                  </a:cubicBezTo>
                  <a:cubicBezTo>
                    <a:pt x="156" y="249"/>
                    <a:pt x="154" y="250"/>
                    <a:pt x="154" y="251"/>
                  </a:cubicBezTo>
                  <a:cubicBezTo>
                    <a:pt x="153" y="253"/>
                    <a:pt x="156" y="256"/>
                    <a:pt x="157" y="258"/>
                  </a:cubicBezTo>
                  <a:cubicBezTo>
                    <a:pt x="155" y="258"/>
                    <a:pt x="153" y="257"/>
                    <a:pt x="152" y="258"/>
                  </a:cubicBezTo>
                  <a:cubicBezTo>
                    <a:pt x="151" y="261"/>
                    <a:pt x="154" y="264"/>
                    <a:pt x="152" y="266"/>
                  </a:cubicBezTo>
                  <a:cubicBezTo>
                    <a:pt x="151" y="268"/>
                    <a:pt x="148" y="268"/>
                    <a:pt x="145" y="269"/>
                  </a:cubicBezTo>
                  <a:cubicBezTo>
                    <a:pt x="143" y="266"/>
                    <a:pt x="140" y="264"/>
                    <a:pt x="138" y="262"/>
                  </a:cubicBezTo>
                  <a:cubicBezTo>
                    <a:pt x="136" y="260"/>
                    <a:pt x="134" y="257"/>
                    <a:pt x="132" y="255"/>
                  </a:cubicBezTo>
                  <a:cubicBezTo>
                    <a:pt x="129" y="252"/>
                    <a:pt x="127" y="249"/>
                    <a:pt x="123" y="246"/>
                  </a:cubicBezTo>
                  <a:cubicBezTo>
                    <a:pt x="119" y="244"/>
                    <a:pt x="114" y="242"/>
                    <a:pt x="109" y="240"/>
                  </a:cubicBezTo>
                  <a:cubicBezTo>
                    <a:pt x="105" y="237"/>
                    <a:pt x="100" y="233"/>
                    <a:pt x="95" y="230"/>
                  </a:cubicBezTo>
                  <a:cubicBezTo>
                    <a:pt x="91" y="227"/>
                    <a:pt x="86" y="225"/>
                    <a:pt x="81" y="221"/>
                  </a:cubicBezTo>
                  <a:cubicBezTo>
                    <a:pt x="79" y="219"/>
                    <a:pt x="76" y="216"/>
                    <a:pt x="74" y="213"/>
                  </a:cubicBezTo>
                  <a:cubicBezTo>
                    <a:pt x="72" y="211"/>
                    <a:pt x="70" y="209"/>
                    <a:pt x="69" y="206"/>
                  </a:cubicBezTo>
                  <a:cubicBezTo>
                    <a:pt x="68" y="205"/>
                    <a:pt x="68" y="203"/>
                    <a:pt x="69" y="202"/>
                  </a:cubicBezTo>
                  <a:cubicBezTo>
                    <a:pt x="69" y="200"/>
                    <a:pt x="72" y="198"/>
                    <a:pt x="72" y="196"/>
                  </a:cubicBezTo>
                  <a:cubicBezTo>
                    <a:pt x="70" y="191"/>
                    <a:pt x="66" y="188"/>
                    <a:pt x="63" y="184"/>
                  </a:cubicBezTo>
                  <a:cubicBezTo>
                    <a:pt x="59" y="177"/>
                    <a:pt x="55" y="171"/>
                    <a:pt x="51" y="164"/>
                  </a:cubicBezTo>
                  <a:cubicBezTo>
                    <a:pt x="47" y="156"/>
                    <a:pt x="43" y="147"/>
                    <a:pt x="40" y="139"/>
                  </a:cubicBezTo>
                  <a:cubicBezTo>
                    <a:pt x="38" y="134"/>
                    <a:pt x="37" y="128"/>
                    <a:pt x="35" y="124"/>
                  </a:cubicBezTo>
                  <a:cubicBezTo>
                    <a:pt x="34" y="120"/>
                    <a:pt x="31" y="117"/>
                    <a:pt x="29" y="113"/>
                  </a:cubicBezTo>
                  <a:cubicBezTo>
                    <a:pt x="28" y="110"/>
                    <a:pt x="28" y="105"/>
                    <a:pt x="26" y="102"/>
                  </a:cubicBezTo>
                  <a:cubicBezTo>
                    <a:pt x="24" y="99"/>
                    <a:pt x="22" y="97"/>
                    <a:pt x="19" y="95"/>
                  </a:cubicBezTo>
                  <a:cubicBezTo>
                    <a:pt x="17" y="94"/>
                    <a:pt x="15" y="95"/>
                    <a:pt x="14" y="95"/>
                  </a:cubicBezTo>
                  <a:cubicBezTo>
                    <a:pt x="11" y="93"/>
                    <a:pt x="7" y="91"/>
                    <a:pt x="5" y="88"/>
                  </a:cubicBezTo>
                  <a:cubicBezTo>
                    <a:pt x="4" y="87"/>
                    <a:pt x="4" y="85"/>
                    <a:pt x="4" y="83"/>
                  </a:cubicBezTo>
                  <a:cubicBezTo>
                    <a:pt x="5" y="82"/>
                    <a:pt x="7" y="82"/>
                    <a:pt x="7" y="80"/>
                  </a:cubicBezTo>
                  <a:cubicBezTo>
                    <a:pt x="7" y="79"/>
                    <a:pt x="7" y="78"/>
                    <a:pt x="6" y="77"/>
                  </a:cubicBezTo>
                  <a:cubicBezTo>
                    <a:pt x="5" y="76"/>
                    <a:pt x="3" y="76"/>
                    <a:pt x="3" y="75"/>
                  </a:cubicBezTo>
                  <a:cubicBezTo>
                    <a:pt x="3" y="74"/>
                    <a:pt x="4" y="72"/>
                    <a:pt x="4" y="71"/>
                  </a:cubicBezTo>
                  <a:cubicBezTo>
                    <a:pt x="3" y="68"/>
                    <a:pt x="0" y="65"/>
                    <a:pt x="1" y="62"/>
                  </a:cubicBezTo>
                  <a:cubicBezTo>
                    <a:pt x="2" y="58"/>
                    <a:pt x="6" y="55"/>
                    <a:pt x="9" y="52"/>
                  </a:cubicBezTo>
                  <a:cubicBezTo>
                    <a:pt x="10" y="50"/>
                    <a:pt x="12" y="49"/>
                    <a:pt x="14" y="48"/>
                  </a:cubicBezTo>
                  <a:cubicBezTo>
                    <a:pt x="15" y="50"/>
                    <a:pt x="16" y="51"/>
                    <a:pt x="17" y="53"/>
                  </a:cubicBezTo>
                  <a:cubicBezTo>
                    <a:pt x="17" y="54"/>
                    <a:pt x="16" y="55"/>
                    <a:pt x="16" y="55"/>
                  </a:cubicBezTo>
                  <a:cubicBezTo>
                    <a:pt x="14" y="56"/>
                    <a:pt x="12" y="56"/>
                    <a:pt x="11" y="57"/>
                  </a:cubicBezTo>
                  <a:cubicBezTo>
                    <a:pt x="12" y="59"/>
                    <a:pt x="12" y="60"/>
                    <a:pt x="13" y="61"/>
                  </a:cubicBezTo>
                  <a:cubicBezTo>
                    <a:pt x="13" y="62"/>
                    <a:pt x="12" y="64"/>
                    <a:pt x="13" y="64"/>
                  </a:cubicBezTo>
                  <a:cubicBezTo>
                    <a:pt x="15" y="64"/>
                    <a:pt x="16" y="62"/>
                    <a:pt x="18" y="61"/>
                  </a:cubicBezTo>
                  <a:cubicBezTo>
                    <a:pt x="20" y="61"/>
                    <a:pt x="23" y="61"/>
                    <a:pt x="25" y="63"/>
                  </a:cubicBezTo>
                  <a:cubicBezTo>
                    <a:pt x="26" y="65"/>
                    <a:pt x="26" y="68"/>
                    <a:pt x="27" y="70"/>
                  </a:cubicBezTo>
                  <a:cubicBezTo>
                    <a:pt x="28" y="70"/>
                    <a:pt x="29" y="71"/>
                    <a:pt x="29" y="71"/>
                  </a:cubicBezTo>
                  <a:cubicBezTo>
                    <a:pt x="31" y="69"/>
                    <a:pt x="33" y="67"/>
                    <a:pt x="34" y="64"/>
                  </a:cubicBezTo>
                  <a:cubicBezTo>
                    <a:pt x="35" y="59"/>
                    <a:pt x="36" y="53"/>
                    <a:pt x="37" y="48"/>
                  </a:cubicBezTo>
                  <a:cubicBezTo>
                    <a:pt x="38" y="46"/>
                    <a:pt x="40" y="45"/>
                    <a:pt x="42" y="44"/>
                  </a:cubicBezTo>
                  <a:cubicBezTo>
                    <a:pt x="49" y="41"/>
                    <a:pt x="55" y="39"/>
                    <a:pt x="61" y="36"/>
                  </a:cubicBezTo>
                  <a:cubicBezTo>
                    <a:pt x="62" y="35"/>
                    <a:pt x="61" y="34"/>
                    <a:pt x="62" y="33"/>
                  </a:cubicBezTo>
                  <a:cubicBezTo>
                    <a:pt x="63" y="31"/>
                    <a:pt x="66" y="29"/>
                    <a:pt x="68" y="27"/>
                  </a:cubicBezTo>
                  <a:cubicBezTo>
                    <a:pt x="69" y="26"/>
                    <a:pt x="71" y="24"/>
                    <a:pt x="72" y="23"/>
                  </a:cubicBezTo>
                  <a:cubicBezTo>
                    <a:pt x="73" y="20"/>
                    <a:pt x="72" y="17"/>
                    <a:pt x="74" y="15"/>
                  </a:cubicBezTo>
                  <a:cubicBezTo>
                    <a:pt x="74" y="13"/>
                    <a:pt x="77" y="14"/>
                    <a:pt x="77" y="13"/>
                  </a:cubicBezTo>
                  <a:cubicBezTo>
                    <a:pt x="78" y="11"/>
                    <a:pt x="78" y="9"/>
                    <a:pt x="77" y="7"/>
                  </a:cubicBezTo>
                  <a:cubicBezTo>
                    <a:pt x="77" y="5"/>
                    <a:pt x="75" y="4"/>
                    <a:pt x="74" y="2"/>
                  </a:cubicBezTo>
                  <a:cubicBezTo>
                    <a:pt x="74" y="1"/>
                    <a:pt x="74" y="1"/>
                    <a:pt x="7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5" name="Freeform 756"/>
            <p:cNvSpPr>
              <a:spLocks noChangeAspect="1"/>
            </p:cNvSpPr>
            <p:nvPr/>
          </p:nvSpPr>
          <p:spPr bwMode="auto">
            <a:xfrm>
              <a:off x="2587625" y="4154488"/>
              <a:ext cx="141288" cy="173037"/>
            </a:xfrm>
            <a:custGeom>
              <a:avLst/>
              <a:gdLst>
                <a:gd name="T0" fmla="*/ 19093 w 74"/>
                <a:gd name="T1" fmla="*/ 129302 h 91"/>
                <a:gd name="T2" fmla="*/ 30549 w 74"/>
                <a:gd name="T3" fmla="*/ 123598 h 91"/>
                <a:gd name="T4" fmla="*/ 34367 w 74"/>
                <a:gd name="T5" fmla="*/ 106484 h 91"/>
                <a:gd name="T6" fmla="*/ 30549 w 74"/>
                <a:gd name="T7" fmla="*/ 102681 h 91"/>
                <a:gd name="T8" fmla="*/ 26730 w 74"/>
                <a:gd name="T9" fmla="*/ 106484 h 91"/>
                <a:gd name="T10" fmla="*/ 21002 w 74"/>
                <a:gd name="T11" fmla="*/ 104583 h 91"/>
                <a:gd name="T12" fmla="*/ 15274 w 74"/>
                <a:gd name="T13" fmla="*/ 110287 h 91"/>
                <a:gd name="T14" fmla="*/ 1909 w 74"/>
                <a:gd name="T15" fmla="*/ 102681 h 91"/>
                <a:gd name="T16" fmla="*/ 3819 w 74"/>
                <a:gd name="T17" fmla="*/ 95075 h 91"/>
                <a:gd name="T18" fmla="*/ 7637 w 74"/>
                <a:gd name="T19" fmla="*/ 85568 h 91"/>
                <a:gd name="T20" fmla="*/ 3819 w 74"/>
                <a:gd name="T21" fmla="*/ 79863 h 91"/>
                <a:gd name="T22" fmla="*/ 3819 w 74"/>
                <a:gd name="T23" fmla="*/ 68454 h 91"/>
                <a:gd name="T24" fmla="*/ 11456 w 74"/>
                <a:gd name="T25" fmla="*/ 55144 h 91"/>
                <a:gd name="T26" fmla="*/ 7637 w 74"/>
                <a:gd name="T27" fmla="*/ 49439 h 91"/>
                <a:gd name="T28" fmla="*/ 19093 w 74"/>
                <a:gd name="T29" fmla="*/ 38030 h 91"/>
                <a:gd name="T30" fmla="*/ 21002 w 74"/>
                <a:gd name="T31" fmla="*/ 26621 h 91"/>
                <a:gd name="T32" fmla="*/ 21002 w 74"/>
                <a:gd name="T33" fmla="*/ 17114 h 91"/>
                <a:gd name="T34" fmla="*/ 32458 w 74"/>
                <a:gd name="T35" fmla="*/ 11409 h 91"/>
                <a:gd name="T36" fmla="*/ 43914 w 74"/>
                <a:gd name="T37" fmla="*/ 3803 h 91"/>
                <a:gd name="T38" fmla="*/ 51551 w 74"/>
                <a:gd name="T39" fmla="*/ 0 h 91"/>
                <a:gd name="T40" fmla="*/ 64916 w 74"/>
                <a:gd name="T41" fmla="*/ 5705 h 91"/>
                <a:gd name="T42" fmla="*/ 70644 w 74"/>
                <a:gd name="T43" fmla="*/ 11409 h 91"/>
                <a:gd name="T44" fmla="*/ 80190 w 74"/>
                <a:gd name="T45" fmla="*/ 17114 h 91"/>
                <a:gd name="T46" fmla="*/ 85918 w 74"/>
                <a:gd name="T47" fmla="*/ 24720 h 91"/>
                <a:gd name="T48" fmla="*/ 93556 w 74"/>
                <a:gd name="T49" fmla="*/ 24720 h 91"/>
                <a:gd name="T50" fmla="*/ 101193 w 74"/>
                <a:gd name="T51" fmla="*/ 28523 h 91"/>
                <a:gd name="T52" fmla="*/ 108830 w 74"/>
                <a:gd name="T53" fmla="*/ 28523 h 91"/>
                <a:gd name="T54" fmla="*/ 110739 w 74"/>
                <a:gd name="T55" fmla="*/ 24720 h 91"/>
                <a:gd name="T56" fmla="*/ 118376 w 74"/>
                <a:gd name="T57" fmla="*/ 26621 h 91"/>
                <a:gd name="T58" fmla="*/ 133651 w 74"/>
                <a:gd name="T59" fmla="*/ 38030 h 91"/>
                <a:gd name="T60" fmla="*/ 133651 w 74"/>
                <a:gd name="T61" fmla="*/ 41833 h 91"/>
                <a:gd name="T62" fmla="*/ 139379 w 74"/>
                <a:gd name="T63" fmla="*/ 51341 h 91"/>
                <a:gd name="T64" fmla="*/ 139379 w 74"/>
                <a:gd name="T65" fmla="*/ 62750 h 91"/>
                <a:gd name="T66" fmla="*/ 133651 w 74"/>
                <a:gd name="T67" fmla="*/ 66553 h 91"/>
                <a:gd name="T68" fmla="*/ 129832 w 74"/>
                <a:gd name="T69" fmla="*/ 81765 h 91"/>
                <a:gd name="T70" fmla="*/ 122195 w 74"/>
                <a:gd name="T71" fmla="*/ 89371 h 91"/>
                <a:gd name="T72" fmla="*/ 110739 w 74"/>
                <a:gd name="T73" fmla="*/ 100780 h 91"/>
                <a:gd name="T74" fmla="*/ 108830 w 74"/>
                <a:gd name="T75" fmla="*/ 106484 h 91"/>
                <a:gd name="T76" fmla="*/ 72553 w 74"/>
                <a:gd name="T77" fmla="*/ 121696 h 91"/>
                <a:gd name="T78" fmla="*/ 63007 w 74"/>
                <a:gd name="T79" fmla="*/ 129302 h 91"/>
                <a:gd name="T80" fmla="*/ 57279 w 74"/>
                <a:gd name="T81" fmla="*/ 159726 h 91"/>
                <a:gd name="T82" fmla="*/ 47732 w 74"/>
                <a:gd name="T83" fmla="*/ 173037 h 91"/>
                <a:gd name="T84" fmla="*/ 43914 w 74"/>
                <a:gd name="T85" fmla="*/ 171135 h 91"/>
                <a:gd name="T86" fmla="*/ 40095 w 74"/>
                <a:gd name="T87" fmla="*/ 157825 h 91"/>
                <a:gd name="T88" fmla="*/ 26730 w 74"/>
                <a:gd name="T89" fmla="*/ 154022 h 91"/>
                <a:gd name="T90" fmla="*/ 17184 w 74"/>
                <a:gd name="T91" fmla="*/ 159726 h 91"/>
                <a:gd name="T92" fmla="*/ 17184 w 74"/>
                <a:gd name="T93" fmla="*/ 154022 h 91"/>
                <a:gd name="T94" fmla="*/ 13365 w 74"/>
                <a:gd name="T95" fmla="*/ 146416 h 91"/>
                <a:gd name="T96" fmla="*/ 22912 w 74"/>
                <a:gd name="T97" fmla="*/ 142613 h 91"/>
                <a:gd name="T98" fmla="*/ 24821 w 74"/>
                <a:gd name="T99" fmla="*/ 138810 h 91"/>
                <a:gd name="T100" fmla="*/ 19093 w 74"/>
                <a:gd name="T101" fmla="*/ 129302 h 9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4"/>
                <a:gd name="T154" fmla="*/ 0 h 91"/>
                <a:gd name="T155" fmla="*/ 74 w 74"/>
                <a:gd name="T156" fmla="*/ 91 h 9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4" h="91">
                  <a:moveTo>
                    <a:pt x="10" y="68"/>
                  </a:moveTo>
                  <a:cubicBezTo>
                    <a:pt x="12" y="67"/>
                    <a:pt x="15" y="67"/>
                    <a:pt x="16" y="65"/>
                  </a:cubicBezTo>
                  <a:cubicBezTo>
                    <a:pt x="18" y="63"/>
                    <a:pt x="18" y="60"/>
                    <a:pt x="18" y="56"/>
                  </a:cubicBezTo>
                  <a:cubicBezTo>
                    <a:pt x="18" y="55"/>
                    <a:pt x="17" y="54"/>
                    <a:pt x="16" y="54"/>
                  </a:cubicBezTo>
                  <a:cubicBezTo>
                    <a:pt x="15" y="54"/>
                    <a:pt x="15" y="56"/>
                    <a:pt x="14" y="56"/>
                  </a:cubicBezTo>
                  <a:cubicBezTo>
                    <a:pt x="13" y="56"/>
                    <a:pt x="12" y="54"/>
                    <a:pt x="11" y="55"/>
                  </a:cubicBezTo>
                  <a:cubicBezTo>
                    <a:pt x="10" y="55"/>
                    <a:pt x="9" y="58"/>
                    <a:pt x="8" y="58"/>
                  </a:cubicBezTo>
                  <a:cubicBezTo>
                    <a:pt x="5" y="57"/>
                    <a:pt x="3" y="56"/>
                    <a:pt x="1" y="54"/>
                  </a:cubicBezTo>
                  <a:cubicBezTo>
                    <a:pt x="0" y="53"/>
                    <a:pt x="2" y="51"/>
                    <a:pt x="2" y="50"/>
                  </a:cubicBezTo>
                  <a:cubicBezTo>
                    <a:pt x="3" y="48"/>
                    <a:pt x="4" y="47"/>
                    <a:pt x="4" y="45"/>
                  </a:cubicBezTo>
                  <a:cubicBezTo>
                    <a:pt x="4" y="44"/>
                    <a:pt x="2" y="43"/>
                    <a:pt x="2" y="42"/>
                  </a:cubicBezTo>
                  <a:cubicBezTo>
                    <a:pt x="1" y="40"/>
                    <a:pt x="1" y="37"/>
                    <a:pt x="2" y="36"/>
                  </a:cubicBezTo>
                  <a:cubicBezTo>
                    <a:pt x="2" y="33"/>
                    <a:pt x="5" y="31"/>
                    <a:pt x="6" y="29"/>
                  </a:cubicBezTo>
                  <a:cubicBezTo>
                    <a:pt x="6" y="28"/>
                    <a:pt x="3" y="27"/>
                    <a:pt x="4" y="26"/>
                  </a:cubicBezTo>
                  <a:cubicBezTo>
                    <a:pt x="5" y="24"/>
                    <a:pt x="8" y="22"/>
                    <a:pt x="10" y="20"/>
                  </a:cubicBezTo>
                  <a:cubicBezTo>
                    <a:pt x="11" y="18"/>
                    <a:pt x="11" y="16"/>
                    <a:pt x="11" y="14"/>
                  </a:cubicBezTo>
                  <a:cubicBezTo>
                    <a:pt x="12" y="12"/>
                    <a:pt x="10" y="10"/>
                    <a:pt x="11" y="9"/>
                  </a:cubicBezTo>
                  <a:cubicBezTo>
                    <a:pt x="12" y="7"/>
                    <a:pt x="15" y="7"/>
                    <a:pt x="17" y="6"/>
                  </a:cubicBezTo>
                  <a:cubicBezTo>
                    <a:pt x="19" y="5"/>
                    <a:pt x="21" y="3"/>
                    <a:pt x="23" y="2"/>
                  </a:cubicBezTo>
                  <a:cubicBezTo>
                    <a:pt x="24" y="1"/>
                    <a:pt x="26" y="1"/>
                    <a:pt x="27" y="0"/>
                  </a:cubicBezTo>
                  <a:lnTo>
                    <a:pt x="34" y="3"/>
                  </a:lnTo>
                  <a:lnTo>
                    <a:pt x="37" y="6"/>
                  </a:lnTo>
                  <a:lnTo>
                    <a:pt x="42" y="9"/>
                  </a:lnTo>
                  <a:lnTo>
                    <a:pt x="45" y="13"/>
                  </a:lnTo>
                  <a:lnTo>
                    <a:pt x="49" y="13"/>
                  </a:lnTo>
                  <a:lnTo>
                    <a:pt x="53" y="15"/>
                  </a:lnTo>
                  <a:lnTo>
                    <a:pt x="57" y="15"/>
                  </a:lnTo>
                  <a:lnTo>
                    <a:pt x="58" y="13"/>
                  </a:lnTo>
                  <a:lnTo>
                    <a:pt x="62" y="14"/>
                  </a:lnTo>
                  <a:lnTo>
                    <a:pt x="70" y="20"/>
                  </a:lnTo>
                  <a:cubicBezTo>
                    <a:pt x="70" y="21"/>
                    <a:pt x="70" y="21"/>
                    <a:pt x="70" y="22"/>
                  </a:cubicBezTo>
                  <a:cubicBezTo>
                    <a:pt x="71" y="24"/>
                    <a:pt x="73" y="25"/>
                    <a:pt x="73" y="27"/>
                  </a:cubicBezTo>
                  <a:cubicBezTo>
                    <a:pt x="74" y="29"/>
                    <a:pt x="74" y="31"/>
                    <a:pt x="73" y="33"/>
                  </a:cubicBezTo>
                  <a:cubicBezTo>
                    <a:pt x="73" y="34"/>
                    <a:pt x="70" y="33"/>
                    <a:pt x="70" y="35"/>
                  </a:cubicBezTo>
                  <a:cubicBezTo>
                    <a:pt x="68" y="37"/>
                    <a:pt x="69" y="40"/>
                    <a:pt x="68" y="43"/>
                  </a:cubicBezTo>
                  <a:cubicBezTo>
                    <a:pt x="67" y="44"/>
                    <a:pt x="65" y="46"/>
                    <a:pt x="64" y="47"/>
                  </a:cubicBezTo>
                  <a:cubicBezTo>
                    <a:pt x="62" y="49"/>
                    <a:pt x="59" y="51"/>
                    <a:pt x="58" y="53"/>
                  </a:cubicBezTo>
                  <a:cubicBezTo>
                    <a:pt x="57" y="54"/>
                    <a:pt x="58" y="55"/>
                    <a:pt x="57" y="56"/>
                  </a:cubicBezTo>
                  <a:cubicBezTo>
                    <a:pt x="51" y="59"/>
                    <a:pt x="45" y="61"/>
                    <a:pt x="38" y="64"/>
                  </a:cubicBezTo>
                  <a:cubicBezTo>
                    <a:pt x="36" y="65"/>
                    <a:pt x="34" y="66"/>
                    <a:pt x="33" y="68"/>
                  </a:cubicBezTo>
                  <a:cubicBezTo>
                    <a:pt x="32" y="73"/>
                    <a:pt x="31" y="79"/>
                    <a:pt x="30" y="84"/>
                  </a:cubicBezTo>
                  <a:cubicBezTo>
                    <a:pt x="29" y="87"/>
                    <a:pt x="27" y="89"/>
                    <a:pt x="25" y="91"/>
                  </a:cubicBezTo>
                  <a:cubicBezTo>
                    <a:pt x="25" y="91"/>
                    <a:pt x="24" y="90"/>
                    <a:pt x="23" y="90"/>
                  </a:cubicBezTo>
                  <a:cubicBezTo>
                    <a:pt x="22" y="88"/>
                    <a:pt x="22" y="85"/>
                    <a:pt x="21" y="83"/>
                  </a:cubicBezTo>
                  <a:cubicBezTo>
                    <a:pt x="19" y="81"/>
                    <a:pt x="16" y="81"/>
                    <a:pt x="14" y="81"/>
                  </a:cubicBezTo>
                  <a:cubicBezTo>
                    <a:pt x="12" y="82"/>
                    <a:pt x="11" y="84"/>
                    <a:pt x="9" y="84"/>
                  </a:cubicBezTo>
                  <a:cubicBezTo>
                    <a:pt x="8" y="84"/>
                    <a:pt x="9" y="82"/>
                    <a:pt x="9" y="81"/>
                  </a:cubicBezTo>
                  <a:cubicBezTo>
                    <a:pt x="8" y="80"/>
                    <a:pt x="8" y="79"/>
                    <a:pt x="7" y="77"/>
                  </a:cubicBezTo>
                  <a:cubicBezTo>
                    <a:pt x="8" y="76"/>
                    <a:pt x="10" y="76"/>
                    <a:pt x="12" y="75"/>
                  </a:cubicBezTo>
                  <a:cubicBezTo>
                    <a:pt x="12" y="75"/>
                    <a:pt x="13" y="74"/>
                    <a:pt x="13" y="73"/>
                  </a:cubicBezTo>
                  <a:cubicBezTo>
                    <a:pt x="12" y="71"/>
                    <a:pt x="11" y="70"/>
                    <a:pt x="10" y="6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6" name="Freeform 757"/>
            <p:cNvSpPr>
              <a:spLocks noChangeAspect="1"/>
            </p:cNvSpPr>
            <p:nvPr/>
          </p:nvSpPr>
          <p:spPr bwMode="auto">
            <a:xfrm>
              <a:off x="2816225" y="3643313"/>
              <a:ext cx="90488" cy="57150"/>
            </a:xfrm>
            <a:custGeom>
              <a:avLst/>
              <a:gdLst>
                <a:gd name="T0" fmla="*/ 7701 w 47"/>
                <a:gd name="T1" fmla="*/ 47625 h 30"/>
                <a:gd name="T2" fmla="*/ 13477 w 47"/>
                <a:gd name="T3" fmla="*/ 57150 h 30"/>
                <a:gd name="T4" fmla="*/ 23103 w 47"/>
                <a:gd name="T5" fmla="*/ 41910 h 30"/>
                <a:gd name="T6" fmla="*/ 38506 w 47"/>
                <a:gd name="T7" fmla="*/ 43815 h 30"/>
                <a:gd name="T8" fmla="*/ 53908 w 47"/>
                <a:gd name="T9" fmla="*/ 38100 h 30"/>
                <a:gd name="T10" fmla="*/ 78936 w 47"/>
                <a:gd name="T11" fmla="*/ 40005 h 30"/>
                <a:gd name="T12" fmla="*/ 88563 w 47"/>
                <a:gd name="T13" fmla="*/ 30480 h 30"/>
                <a:gd name="T14" fmla="*/ 75086 w 47"/>
                <a:gd name="T15" fmla="*/ 19050 h 30"/>
                <a:gd name="T16" fmla="*/ 57758 w 47"/>
                <a:gd name="T17" fmla="*/ 11430 h 30"/>
                <a:gd name="T18" fmla="*/ 46207 w 47"/>
                <a:gd name="T19" fmla="*/ 7620 h 30"/>
                <a:gd name="T20" fmla="*/ 25029 w 47"/>
                <a:gd name="T21" fmla="*/ 0 h 30"/>
                <a:gd name="T22" fmla="*/ 7701 w 47"/>
                <a:gd name="T23" fmla="*/ 1905 h 30"/>
                <a:gd name="T24" fmla="*/ 9626 w 47"/>
                <a:gd name="T25" fmla="*/ 15240 h 30"/>
                <a:gd name="T26" fmla="*/ 5776 w 47"/>
                <a:gd name="T27" fmla="*/ 20955 h 30"/>
                <a:gd name="T28" fmla="*/ 7701 w 47"/>
                <a:gd name="T29" fmla="*/ 26670 h 30"/>
                <a:gd name="T30" fmla="*/ 0 w 47"/>
                <a:gd name="T31" fmla="*/ 34290 h 30"/>
                <a:gd name="T32" fmla="*/ 9626 w 47"/>
                <a:gd name="T33" fmla="*/ 43815 h 30"/>
                <a:gd name="T34" fmla="*/ 7701 w 47"/>
                <a:gd name="T35" fmla="*/ 47625 h 3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7"/>
                <a:gd name="T55" fmla="*/ 0 h 30"/>
                <a:gd name="T56" fmla="*/ 47 w 47"/>
                <a:gd name="T57" fmla="*/ 30 h 3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7" h="30">
                  <a:moveTo>
                    <a:pt x="4" y="25"/>
                  </a:moveTo>
                  <a:cubicBezTo>
                    <a:pt x="5" y="27"/>
                    <a:pt x="6" y="30"/>
                    <a:pt x="7" y="30"/>
                  </a:cubicBezTo>
                  <a:cubicBezTo>
                    <a:pt x="10" y="28"/>
                    <a:pt x="9" y="23"/>
                    <a:pt x="12" y="22"/>
                  </a:cubicBezTo>
                  <a:cubicBezTo>
                    <a:pt x="14" y="21"/>
                    <a:pt x="17" y="23"/>
                    <a:pt x="20" y="23"/>
                  </a:cubicBezTo>
                  <a:cubicBezTo>
                    <a:pt x="23" y="23"/>
                    <a:pt x="25" y="20"/>
                    <a:pt x="28" y="20"/>
                  </a:cubicBezTo>
                  <a:cubicBezTo>
                    <a:pt x="32" y="20"/>
                    <a:pt x="37" y="22"/>
                    <a:pt x="41" y="21"/>
                  </a:cubicBezTo>
                  <a:cubicBezTo>
                    <a:pt x="44" y="20"/>
                    <a:pt x="47" y="18"/>
                    <a:pt x="46" y="16"/>
                  </a:cubicBezTo>
                  <a:cubicBezTo>
                    <a:pt x="46" y="13"/>
                    <a:pt x="42" y="11"/>
                    <a:pt x="39" y="10"/>
                  </a:cubicBezTo>
                  <a:cubicBezTo>
                    <a:pt x="36" y="8"/>
                    <a:pt x="33" y="8"/>
                    <a:pt x="30" y="6"/>
                  </a:cubicBezTo>
                  <a:cubicBezTo>
                    <a:pt x="28" y="6"/>
                    <a:pt x="26" y="4"/>
                    <a:pt x="24" y="4"/>
                  </a:cubicBezTo>
                  <a:cubicBezTo>
                    <a:pt x="20" y="2"/>
                    <a:pt x="16" y="1"/>
                    <a:pt x="13" y="0"/>
                  </a:cubicBezTo>
                  <a:cubicBezTo>
                    <a:pt x="10" y="0"/>
                    <a:pt x="7" y="1"/>
                    <a:pt x="4" y="1"/>
                  </a:cubicBezTo>
                  <a:cubicBezTo>
                    <a:pt x="5" y="4"/>
                    <a:pt x="6" y="6"/>
                    <a:pt x="5" y="8"/>
                  </a:cubicBezTo>
                  <a:cubicBezTo>
                    <a:pt x="5" y="10"/>
                    <a:pt x="4" y="10"/>
                    <a:pt x="3" y="11"/>
                  </a:cubicBezTo>
                  <a:cubicBezTo>
                    <a:pt x="3" y="12"/>
                    <a:pt x="4" y="13"/>
                    <a:pt x="4" y="14"/>
                  </a:cubicBezTo>
                  <a:cubicBezTo>
                    <a:pt x="3" y="16"/>
                    <a:pt x="0" y="17"/>
                    <a:pt x="0" y="18"/>
                  </a:cubicBezTo>
                  <a:cubicBezTo>
                    <a:pt x="1" y="20"/>
                    <a:pt x="4" y="21"/>
                    <a:pt x="5" y="23"/>
                  </a:cubicBezTo>
                  <a:cubicBezTo>
                    <a:pt x="5" y="24"/>
                    <a:pt x="4" y="25"/>
                    <a:pt x="4" y="2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7" name="Freeform 758"/>
            <p:cNvSpPr>
              <a:spLocks noChangeAspect="1"/>
            </p:cNvSpPr>
            <p:nvPr/>
          </p:nvSpPr>
          <p:spPr bwMode="auto">
            <a:xfrm>
              <a:off x="1779588" y="3270250"/>
              <a:ext cx="688975" cy="522288"/>
            </a:xfrm>
            <a:custGeom>
              <a:avLst/>
              <a:gdLst>
                <a:gd name="T0" fmla="*/ 656530 w 361"/>
                <a:gd name="T1" fmla="*/ 407918 h 274"/>
                <a:gd name="T2" fmla="*/ 667981 w 361"/>
                <a:gd name="T3" fmla="*/ 385044 h 274"/>
                <a:gd name="T4" fmla="*/ 688975 w 361"/>
                <a:gd name="T5" fmla="*/ 339297 h 274"/>
                <a:gd name="T6" fmla="*/ 627902 w 361"/>
                <a:gd name="T7" fmla="*/ 331672 h 274"/>
                <a:gd name="T8" fmla="*/ 589732 w 361"/>
                <a:gd name="T9" fmla="*/ 388857 h 274"/>
                <a:gd name="T10" fmla="*/ 578281 w 361"/>
                <a:gd name="T11" fmla="*/ 406012 h 274"/>
                <a:gd name="T12" fmla="*/ 553470 w 361"/>
                <a:gd name="T13" fmla="*/ 411731 h 274"/>
                <a:gd name="T14" fmla="*/ 538202 w 361"/>
                <a:gd name="T15" fmla="*/ 409824 h 274"/>
                <a:gd name="T16" fmla="*/ 469495 w 361"/>
                <a:gd name="T17" fmla="*/ 404106 h 274"/>
                <a:gd name="T18" fmla="*/ 427508 w 361"/>
                <a:gd name="T19" fmla="*/ 324047 h 274"/>
                <a:gd name="T20" fmla="*/ 435142 w 361"/>
                <a:gd name="T21" fmla="*/ 320235 h 274"/>
                <a:gd name="T22" fmla="*/ 429417 w 361"/>
                <a:gd name="T23" fmla="*/ 242082 h 274"/>
                <a:gd name="T24" fmla="*/ 446593 w 361"/>
                <a:gd name="T25" fmla="*/ 203959 h 274"/>
                <a:gd name="T26" fmla="*/ 398880 w 361"/>
                <a:gd name="T27" fmla="*/ 169648 h 274"/>
                <a:gd name="T28" fmla="*/ 372161 w 361"/>
                <a:gd name="T29" fmla="*/ 99120 h 274"/>
                <a:gd name="T30" fmla="*/ 330174 w 361"/>
                <a:gd name="T31" fmla="*/ 87683 h 274"/>
                <a:gd name="T32" fmla="*/ 301546 w 361"/>
                <a:gd name="T33" fmla="*/ 99120 h 274"/>
                <a:gd name="T34" fmla="*/ 257650 w 361"/>
                <a:gd name="T35" fmla="*/ 40029 h 274"/>
                <a:gd name="T36" fmla="*/ 141230 w 361"/>
                <a:gd name="T37" fmla="*/ 38123 h 274"/>
                <a:gd name="T38" fmla="*/ 9543 w 361"/>
                <a:gd name="T39" fmla="*/ 0 h 274"/>
                <a:gd name="T40" fmla="*/ 11451 w 361"/>
                <a:gd name="T41" fmla="*/ 34311 h 274"/>
                <a:gd name="T42" fmla="*/ 19085 w 361"/>
                <a:gd name="T43" fmla="*/ 72434 h 274"/>
                <a:gd name="T44" fmla="*/ 51530 w 361"/>
                <a:gd name="T45" fmla="*/ 121994 h 274"/>
                <a:gd name="T46" fmla="*/ 57256 w 361"/>
                <a:gd name="T47" fmla="*/ 144868 h 274"/>
                <a:gd name="T48" fmla="*/ 30536 w 361"/>
                <a:gd name="T49" fmla="*/ 142962 h 274"/>
                <a:gd name="T50" fmla="*/ 72524 w 361"/>
                <a:gd name="T51" fmla="*/ 169648 h 274"/>
                <a:gd name="T52" fmla="*/ 87792 w 361"/>
                <a:gd name="T53" fmla="*/ 221115 h 274"/>
                <a:gd name="T54" fmla="*/ 114511 w 361"/>
                <a:gd name="T55" fmla="*/ 249707 h 274"/>
                <a:gd name="T56" fmla="*/ 150773 w 361"/>
                <a:gd name="T57" fmla="*/ 272581 h 274"/>
                <a:gd name="T58" fmla="*/ 131688 w 361"/>
                <a:gd name="T59" fmla="*/ 249707 h 274"/>
                <a:gd name="T60" fmla="*/ 116420 w 361"/>
                <a:gd name="T61" fmla="*/ 188710 h 274"/>
                <a:gd name="T62" fmla="*/ 85883 w 361"/>
                <a:gd name="T63" fmla="*/ 144868 h 274"/>
                <a:gd name="T64" fmla="*/ 64890 w 361"/>
                <a:gd name="T65" fmla="*/ 95308 h 274"/>
                <a:gd name="T66" fmla="*/ 49621 w 361"/>
                <a:gd name="T67" fmla="*/ 28592 h 274"/>
                <a:gd name="T68" fmla="*/ 83975 w 361"/>
                <a:gd name="T69" fmla="*/ 41936 h 274"/>
                <a:gd name="T70" fmla="*/ 97334 w 361"/>
                <a:gd name="T71" fmla="*/ 106745 h 274"/>
                <a:gd name="T72" fmla="*/ 135505 w 361"/>
                <a:gd name="T73" fmla="*/ 148681 h 274"/>
                <a:gd name="T74" fmla="*/ 150773 w 361"/>
                <a:gd name="T75" fmla="*/ 173461 h 274"/>
                <a:gd name="T76" fmla="*/ 158407 w 361"/>
                <a:gd name="T77" fmla="*/ 192522 h 274"/>
                <a:gd name="T78" fmla="*/ 187035 w 361"/>
                <a:gd name="T79" fmla="*/ 219208 h 274"/>
                <a:gd name="T80" fmla="*/ 219480 w 361"/>
                <a:gd name="T81" fmla="*/ 272581 h 274"/>
                <a:gd name="T82" fmla="*/ 234748 w 361"/>
                <a:gd name="T83" fmla="*/ 345015 h 274"/>
                <a:gd name="T84" fmla="*/ 242382 w 361"/>
                <a:gd name="T85" fmla="*/ 379326 h 274"/>
                <a:gd name="T86" fmla="*/ 314905 w 361"/>
                <a:gd name="T87" fmla="*/ 423168 h 274"/>
                <a:gd name="T88" fmla="*/ 400789 w 361"/>
                <a:gd name="T89" fmla="*/ 468915 h 274"/>
                <a:gd name="T90" fmla="*/ 479038 w 361"/>
                <a:gd name="T91" fmla="*/ 476540 h 274"/>
                <a:gd name="T92" fmla="*/ 509574 w 361"/>
                <a:gd name="T93" fmla="*/ 482259 h 274"/>
                <a:gd name="T94" fmla="*/ 547745 w 361"/>
                <a:gd name="T95" fmla="*/ 505133 h 274"/>
                <a:gd name="T96" fmla="*/ 585915 w 361"/>
                <a:gd name="T97" fmla="*/ 463197 h 274"/>
                <a:gd name="T98" fmla="*/ 580190 w 361"/>
                <a:gd name="T99" fmla="*/ 434605 h 274"/>
                <a:gd name="T100" fmla="*/ 639354 w 361"/>
                <a:gd name="T101" fmla="*/ 421261 h 2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61"/>
                <a:gd name="T154" fmla="*/ 0 h 274"/>
                <a:gd name="T155" fmla="*/ 361 w 361"/>
                <a:gd name="T156" fmla="*/ 274 h 27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61" h="274">
                  <a:moveTo>
                    <a:pt x="340" y="217"/>
                  </a:moveTo>
                  <a:cubicBezTo>
                    <a:pt x="340" y="216"/>
                    <a:pt x="339" y="215"/>
                    <a:pt x="340" y="214"/>
                  </a:cubicBezTo>
                  <a:cubicBezTo>
                    <a:pt x="340" y="213"/>
                    <a:pt x="341" y="212"/>
                    <a:pt x="342" y="212"/>
                  </a:cubicBezTo>
                  <a:cubicBezTo>
                    <a:pt x="343" y="212"/>
                    <a:pt x="343" y="213"/>
                    <a:pt x="344" y="214"/>
                  </a:cubicBezTo>
                  <a:cubicBezTo>
                    <a:pt x="345" y="215"/>
                    <a:pt x="345" y="218"/>
                    <a:pt x="347" y="218"/>
                  </a:cubicBezTo>
                  <a:cubicBezTo>
                    <a:pt x="348" y="219"/>
                    <a:pt x="348" y="216"/>
                    <a:pt x="348" y="215"/>
                  </a:cubicBezTo>
                  <a:cubicBezTo>
                    <a:pt x="349" y="212"/>
                    <a:pt x="351" y="209"/>
                    <a:pt x="352" y="206"/>
                  </a:cubicBezTo>
                  <a:cubicBezTo>
                    <a:pt x="352" y="204"/>
                    <a:pt x="350" y="203"/>
                    <a:pt x="350" y="202"/>
                  </a:cubicBezTo>
                  <a:cubicBezTo>
                    <a:pt x="350" y="199"/>
                    <a:pt x="352" y="198"/>
                    <a:pt x="353" y="195"/>
                  </a:cubicBezTo>
                  <a:cubicBezTo>
                    <a:pt x="353" y="193"/>
                    <a:pt x="353" y="191"/>
                    <a:pt x="354" y="189"/>
                  </a:cubicBezTo>
                  <a:cubicBezTo>
                    <a:pt x="355" y="186"/>
                    <a:pt x="358" y="185"/>
                    <a:pt x="359" y="183"/>
                  </a:cubicBezTo>
                  <a:cubicBezTo>
                    <a:pt x="360" y="181"/>
                    <a:pt x="361" y="180"/>
                    <a:pt x="361" y="178"/>
                  </a:cubicBezTo>
                  <a:cubicBezTo>
                    <a:pt x="361" y="176"/>
                    <a:pt x="360" y="174"/>
                    <a:pt x="359" y="173"/>
                  </a:cubicBezTo>
                  <a:cubicBezTo>
                    <a:pt x="356" y="172"/>
                    <a:pt x="352" y="172"/>
                    <a:pt x="349" y="172"/>
                  </a:cubicBezTo>
                  <a:cubicBezTo>
                    <a:pt x="346" y="172"/>
                    <a:pt x="343" y="172"/>
                    <a:pt x="339" y="172"/>
                  </a:cubicBezTo>
                  <a:cubicBezTo>
                    <a:pt x="336" y="173"/>
                    <a:pt x="332" y="174"/>
                    <a:pt x="329" y="174"/>
                  </a:cubicBezTo>
                  <a:cubicBezTo>
                    <a:pt x="325" y="175"/>
                    <a:pt x="321" y="174"/>
                    <a:pt x="318" y="176"/>
                  </a:cubicBezTo>
                  <a:cubicBezTo>
                    <a:pt x="315" y="179"/>
                    <a:pt x="314" y="183"/>
                    <a:pt x="313" y="186"/>
                  </a:cubicBezTo>
                  <a:cubicBezTo>
                    <a:pt x="312" y="190"/>
                    <a:pt x="313" y="193"/>
                    <a:pt x="312" y="196"/>
                  </a:cubicBezTo>
                  <a:cubicBezTo>
                    <a:pt x="311" y="199"/>
                    <a:pt x="310" y="202"/>
                    <a:pt x="309" y="204"/>
                  </a:cubicBezTo>
                  <a:cubicBezTo>
                    <a:pt x="308" y="206"/>
                    <a:pt x="306" y="208"/>
                    <a:pt x="304" y="209"/>
                  </a:cubicBezTo>
                  <a:cubicBezTo>
                    <a:pt x="303" y="209"/>
                    <a:pt x="300" y="209"/>
                    <a:pt x="299" y="210"/>
                  </a:cubicBezTo>
                  <a:cubicBezTo>
                    <a:pt x="298" y="210"/>
                    <a:pt x="300" y="210"/>
                    <a:pt x="301" y="210"/>
                  </a:cubicBezTo>
                  <a:cubicBezTo>
                    <a:pt x="302" y="211"/>
                    <a:pt x="303" y="212"/>
                    <a:pt x="303" y="213"/>
                  </a:cubicBezTo>
                  <a:cubicBezTo>
                    <a:pt x="303" y="214"/>
                    <a:pt x="300" y="215"/>
                    <a:pt x="299" y="215"/>
                  </a:cubicBezTo>
                  <a:cubicBezTo>
                    <a:pt x="298" y="216"/>
                    <a:pt x="298" y="218"/>
                    <a:pt x="296" y="218"/>
                  </a:cubicBezTo>
                  <a:cubicBezTo>
                    <a:pt x="296" y="219"/>
                    <a:pt x="297" y="217"/>
                    <a:pt x="296" y="217"/>
                  </a:cubicBezTo>
                  <a:cubicBezTo>
                    <a:pt x="294" y="216"/>
                    <a:pt x="291" y="218"/>
                    <a:pt x="290" y="216"/>
                  </a:cubicBezTo>
                  <a:cubicBezTo>
                    <a:pt x="289" y="215"/>
                    <a:pt x="294" y="215"/>
                    <a:pt x="295" y="214"/>
                  </a:cubicBezTo>
                  <a:cubicBezTo>
                    <a:pt x="295" y="213"/>
                    <a:pt x="294" y="213"/>
                    <a:pt x="294" y="212"/>
                  </a:cubicBezTo>
                  <a:cubicBezTo>
                    <a:pt x="292" y="212"/>
                    <a:pt x="290" y="211"/>
                    <a:pt x="288" y="211"/>
                  </a:cubicBezTo>
                  <a:cubicBezTo>
                    <a:pt x="286" y="212"/>
                    <a:pt x="284" y="214"/>
                    <a:pt x="282" y="215"/>
                  </a:cubicBezTo>
                  <a:cubicBezTo>
                    <a:pt x="278" y="216"/>
                    <a:pt x="273" y="218"/>
                    <a:pt x="268" y="219"/>
                  </a:cubicBezTo>
                  <a:cubicBezTo>
                    <a:pt x="266" y="220"/>
                    <a:pt x="263" y="220"/>
                    <a:pt x="261" y="218"/>
                  </a:cubicBezTo>
                  <a:cubicBezTo>
                    <a:pt x="258" y="217"/>
                    <a:pt x="257" y="214"/>
                    <a:pt x="254" y="212"/>
                  </a:cubicBezTo>
                  <a:cubicBezTo>
                    <a:pt x="252" y="211"/>
                    <a:pt x="249" y="214"/>
                    <a:pt x="246" y="212"/>
                  </a:cubicBezTo>
                  <a:cubicBezTo>
                    <a:pt x="244" y="211"/>
                    <a:pt x="243" y="209"/>
                    <a:pt x="242" y="207"/>
                  </a:cubicBezTo>
                  <a:cubicBezTo>
                    <a:pt x="241" y="203"/>
                    <a:pt x="240" y="200"/>
                    <a:pt x="238" y="196"/>
                  </a:cubicBezTo>
                  <a:cubicBezTo>
                    <a:pt x="236" y="193"/>
                    <a:pt x="232" y="190"/>
                    <a:pt x="230" y="187"/>
                  </a:cubicBezTo>
                  <a:cubicBezTo>
                    <a:pt x="228" y="182"/>
                    <a:pt x="226" y="176"/>
                    <a:pt x="224" y="170"/>
                  </a:cubicBezTo>
                  <a:cubicBezTo>
                    <a:pt x="224" y="169"/>
                    <a:pt x="223" y="166"/>
                    <a:pt x="224" y="167"/>
                  </a:cubicBezTo>
                  <a:cubicBezTo>
                    <a:pt x="226" y="168"/>
                    <a:pt x="226" y="170"/>
                    <a:pt x="227" y="172"/>
                  </a:cubicBezTo>
                  <a:cubicBezTo>
                    <a:pt x="227" y="173"/>
                    <a:pt x="228" y="174"/>
                    <a:pt x="228" y="173"/>
                  </a:cubicBezTo>
                  <a:cubicBezTo>
                    <a:pt x="229" y="171"/>
                    <a:pt x="228" y="170"/>
                    <a:pt x="228" y="168"/>
                  </a:cubicBezTo>
                  <a:cubicBezTo>
                    <a:pt x="227" y="165"/>
                    <a:pt x="225" y="163"/>
                    <a:pt x="224" y="160"/>
                  </a:cubicBezTo>
                  <a:cubicBezTo>
                    <a:pt x="224" y="158"/>
                    <a:pt x="224" y="155"/>
                    <a:pt x="224" y="153"/>
                  </a:cubicBezTo>
                  <a:cubicBezTo>
                    <a:pt x="224" y="148"/>
                    <a:pt x="224" y="144"/>
                    <a:pt x="224" y="140"/>
                  </a:cubicBezTo>
                  <a:cubicBezTo>
                    <a:pt x="224" y="135"/>
                    <a:pt x="224" y="131"/>
                    <a:pt x="225" y="127"/>
                  </a:cubicBezTo>
                  <a:cubicBezTo>
                    <a:pt x="225" y="125"/>
                    <a:pt x="227" y="123"/>
                    <a:pt x="228" y="120"/>
                  </a:cubicBezTo>
                  <a:cubicBezTo>
                    <a:pt x="229" y="118"/>
                    <a:pt x="227" y="116"/>
                    <a:pt x="228" y="113"/>
                  </a:cubicBezTo>
                  <a:cubicBezTo>
                    <a:pt x="229" y="112"/>
                    <a:pt x="231" y="115"/>
                    <a:pt x="231" y="114"/>
                  </a:cubicBezTo>
                  <a:cubicBezTo>
                    <a:pt x="233" y="113"/>
                    <a:pt x="233" y="109"/>
                    <a:pt x="234" y="107"/>
                  </a:cubicBezTo>
                  <a:cubicBezTo>
                    <a:pt x="232" y="106"/>
                    <a:pt x="231" y="103"/>
                    <a:pt x="229" y="103"/>
                  </a:cubicBezTo>
                  <a:cubicBezTo>
                    <a:pt x="227" y="102"/>
                    <a:pt x="225" y="103"/>
                    <a:pt x="223" y="103"/>
                  </a:cubicBezTo>
                  <a:cubicBezTo>
                    <a:pt x="220" y="101"/>
                    <a:pt x="217" y="100"/>
                    <a:pt x="215" y="98"/>
                  </a:cubicBezTo>
                  <a:cubicBezTo>
                    <a:pt x="212" y="95"/>
                    <a:pt x="211" y="92"/>
                    <a:pt x="209" y="89"/>
                  </a:cubicBezTo>
                  <a:cubicBezTo>
                    <a:pt x="208" y="87"/>
                    <a:pt x="209" y="84"/>
                    <a:pt x="208" y="82"/>
                  </a:cubicBezTo>
                  <a:cubicBezTo>
                    <a:pt x="207" y="80"/>
                    <a:pt x="205" y="78"/>
                    <a:pt x="204" y="75"/>
                  </a:cubicBezTo>
                  <a:cubicBezTo>
                    <a:pt x="202" y="71"/>
                    <a:pt x="200" y="67"/>
                    <a:pt x="198" y="62"/>
                  </a:cubicBezTo>
                  <a:cubicBezTo>
                    <a:pt x="197" y="59"/>
                    <a:pt x="196" y="55"/>
                    <a:pt x="195" y="52"/>
                  </a:cubicBezTo>
                  <a:cubicBezTo>
                    <a:pt x="194" y="49"/>
                    <a:pt x="192" y="46"/>
                    <a:pt x="190" y="45"/>
                  </a:cubicBezTo>
                  <a:cubicBezTo>
                    <a:pt x="187" y="44"/>
                    <a:pt x="185" y="44"/>
                    <a:pt x="182" y="44"/>
                  </a:cubicBezTo>
                  <a:cubicBezTo>
                    <a:pt x="180" y="44"/>
                    <a:pt x="178" y="44"/>
                    <a:pt x="177" y="44"/>
                  </a:cubicBezTo>
                  <a:cubicBezTo>
                    <a:pt x="175" y="45"/>
                    <a:pt x="174" y="45"/>
                    <a:pt x="173" y="46"/>
                  </a:cubicBezTo>
                  <a:cubicBezTo>
                    <a:pt x="172" y="47"/>
                    <a:pt x="172" y="48"/>
                    <a:pt x="171" y="49"/>
                  </a:cubicBezTo>
                  <a:cubicBezTo>
                    <a:pt x="171" y="51"/>
                    <a:pt x="171" y="53"/>
                    <a:pt x="170" y="55"/>
                  </a:cubicBezTo>
                  <a:cubicBezTo>
                    <a:pt x="170" y="56"/>
                    <a:pt x="168" y="57"/>
                    <a:pt x="167" y="57"/>
                  </a:cubicBezTo>
                  <a:cubicBezTo>
                    <a:pt x="164" y="56"/>
                    <a:pt x="161" y="53"/>
                    <a:pt x="158" y="52"/>
                  </a:cubicBezTo>
                  <a:cubicBezTo>
                    <a:pt x="156" y="50"/>
                    <a:pt x="152" y="50"/>
                    <a:pt x="151" y="48"/>
                  </a:cubicBezTo>
                  <a:cubicBezTo>
                    <a:pt x="148" y="45"/>
                    <a:pt x="148" y="41"/>
                    <a:pt x="146" y="38"/>
                  </a:cubicBezTo>
                  <a:cubicBezTo>
                    <a:pt x="145" y="35"/>
                    <a:pt x="145" y="32"/>
                    <a:pt x="143" y="30"/>
                  </a:cubicBezTo>
                  <a:cubicBezTo>
                    <a:pt x="141" y="27"/>
                    <a:pt x="138" y="24"/>
                    <a:pt x="135" y="21"/>
                  </a:cubicBezTo>
                  <a:cubicBezTo>
                    <a:pt x="133" y="18"/>
                    <a:pt x="132" y="16"/>
                    <a:pt x="131" y="13"/>
                  </a:cubicBezTo>
                  <a:cubicBezTo>
                    <a:pt x="124" y="13"/>
                    <a:pt x="117" y="13"/>
                    <a:pt x="109" y="13"/>
                  </a:cubicBezTo>
                  <a:cubicBezTo>
                    <a:pt x="109" y="16"/>
                    <a:pt x="108" y="18"/>
                    <a:pt x="108" y="21"/>
                  </a:cubicBezTo>
                  <a:cubicBezTo>
                    <a:pt x="97" y="20"/>
                    <a:pt x="86" y="20"/>
                    <a:pt x="74" y="20"/>
                  </a:cubicBezTo>
                  <a:cubicBezTo>
                    <a:pt x="74" y="20"/>
                    <a:pt x="73" y="20"/>
                    <a:pt x="72" y="20"/>
                  </a:cubicBezTo>
                  <a:cubicBezTo>
                    <a:pt x="57" y="14"/>
                    <a:pt x="43" y="8"/>
                    <a:pt x="28" y="2"/>
                  </a:cubicBezTo>
                  <a:cubicBezTo>
                    <a:pt x="28" y="2"/>
                    <a:pt x="28" y="1"/>
                    <a:pt x="28" y="0"/>
                  </a:cubicBezTo>
                  <a:cubicBezTo>
                    <a:pt x="20" y="0"/>
                    <a:pt x="13" y="0"/>
                    <a:pt x="5" y="0"/>
                  </a:cubicBezTo>
                  <a:cubicBezTo>
                    <a:pt x="3" y="1"/>
                    <a:pt x="2" y="2"/>
                    <a:pt x="0" y="3"/>
                  </a:cubicBezTo>
                  <a:cubicBezTo>
                    <a:pt x="1" y="5"/>
                    <a:pt x="3" y="7"/>
                    <a:pt x="3" y="9"/>
                  </a:cubicBezTo>
                  <a:cubicBezTo>
                    <a:pt x="4" y="11"/>
                    <a:pt x="3" y="13"/>
                    <a:pt x="3" y="15"/>
                  </a:cubicBezTo>
                  <a:cubicBezTo>
                    <a:pt x="4" y="16"/>
                    <a:pt x="5" y="17"/>
                    <a:pt x="6" y="18"/>
                  </a:cubicBezTo>
                  <a:cubicBezTo>
                    <a:pt x="6" y="22"/>
                    <a:pt x="5" y="26"/>
                    <a:pt x="6" y="29"/>
                  </a:cubicBezTo>
                  <a:cubicBezTo>
                    <a:pt x="6" y="30"/>
                    <a:pt x="7" y="31"/>
                    <a:pt x="8" y="32"/>
                  </a:cubicBezTo>
                  <a:cubicBezTo>
                    <a:pt x="8" y="33"/>
                    <a:pt x="8" y="34"/>
                    <a:pt x="8" y="35"/>
                  </a:cubicBezTo>
                  <a:cubicBezTo>
                    <a:pt x="8" y="37"/>
                    <a:pt x="10" y="37"/>
                    <a:pt x="10" y="38"/>
                  </a:cubicBezTo>
                  <a:cubicBezTo>
                    <a:pt x="11" y="40"/>
                    <a:pt x="10" y="42"/>
                    <a:pt x="10" y="45"/>
                  </a:cubicBezTo>
                  <a:cubicBezTo>
                    <a:pt x="11" y="46"/>
                    <a:pt x="12" y="47"/>
                    <a:pt x="13" y="48"/>
                  </a:cubicBezTo>
                  <a:cubicBezTo>
                    <a:pt x="15" y="50"/>
                    <a:pt x="18" y="51"/>
                    <a:pt x="20" y="54"/>
                  </a:cubicBezTo>
                  <a:cubicBezTo>
                    <a:pt x="22" y="57"/>
                    <a:pt x="25" y="60"/>
                    <a:pt x="27" y="64"/>
                  </a:cubicBezTo>
                  <a:cubicBezTo>
                    <a:pt x="27" y="65"/>
                    <a:pt x="27" y="67"/>
                    <a:pt x="27" y="68"/>
                  </a:cubicBezTo>
                  <a:cubicBezTo>
                    <a:pt x="26" y="70"/>
                    <a:pt x="24" y="70"/>
                    <a:pt x="24" y="71"/>
                  </a:cubicBezTo>
                  <a:cubicBezTo>
                    <a:pt x="24" y="73"/>
                    <a:pt x="26" y="73"/>
                    <a:pt x="27" y="74"/>
                  </a:cubicBezTo>
                  <a:cubicBezTo>
                    <a:pt x="28" y="75"/>
                    <a:pt x="30" y="75"/>
                    <a:pt x="30" y="76"/>
                  </a:cubicBezTo>
                  <a:cubicBezTo>
                    <a:pt x="29" y="78"/>
                    <a:pt x="27" y="77"/>
                    <a:pt x="25" y="77"/>
                  </a:cubicBezTo>
                  <a:cubicBezTo>
                    <a:pt x="24" y="76"/>
                    <a:pt x="23" y="75"/>
                    <a:pt x="22" y="74"/>
                  </a:cubicBezTo>
                  <a:cubicBezTo>
                    <a:pt x="19" y="74"/>
                    <a:pt x="17" y="72"/>
                    <a:pt x="14" y="73"/>
                  </a:cubicBezTo>
                  <a:cubicBezTo>
                    <a:pt x="13" y="73"/>
                    <a:pt x="15" y="74"/>
                    <a:pt x="16" y="75"/>
                  </a:cubicBezTo>
                  <a:cubicBezTo>
                    <a:pt x="18" y="77"/>
                    <a:pt x="20" y="79"/>
                    <a:pt x="21" y="81"/>
                  </a:cubicBezTo>
                  <a:cubicBezTo>
                    <a:pt x="24" y="83"/>
                    <a:pt x="26" y="86"/>
                    <a:pt x="29" y="88"/>
                  </a:cubicBezTo>
                  <a:cubicBezTo>
                    <a:pt x="30" y="89"/>
                    <a:pt x="31" y="89"/>
                    <a:pt x="33" y="90"/>
                  </a:cubicBezTo>
                  <a:cubicBezTo>
                    <a:pt x="35" y="90"/>
                    <a:pt x="37" y="88"/>
                    <a:pt x="38" y="89"/>
                  </a:cubicBezTo>
                  <a:cubicBezTo>
                    <a:pt x="40" y="90"/>
                    <a:pt x="40" y="93"/>
                    <a:pt x="41" y="94"/>
                  </a:cubicBezTo>
                  <a:cubicBezTo>
                    <a:pt x="42" y="96"/>
                    <a:pt x="43" y="97"/>
                    <a:pt x="45" y="99"/>
                  </a:cubicBezTo>
                  <a:cubicBezTo>
                    <a:pt x="46" y="101"/>
                    <a:pt x="49" y="104"/>
                    <a:pt x="49" y="107"/>
                  </a:cubicBezTo>
                  <a:cubicBezTo>
                    <a:pt x="49" y="110"/>
                    <a:pt x="46" y="113"/>
                    <a:pt x="46" y="116"/>
                  </a:cubicBezTo>
                  <a:cubicBezTo>
                    <a:pt x="45" y="118"/>
                    <a:pt x="45" y="120"/>
                    <a:pt x="46" y="121"/>
                  </a:cubicBezTo>
                  <a:cubicBezTo>
                    <a:pt x="46" y="122"/>
                    <a:pt x="48" y="121"/>
                    <a:pt x="49" y="121"/>
                  </a:cubicBezTo>
                  <a:cubicBezTo>
                    <a:pt x="50" y="122"/>
                    <a:pt x="50" y="124"/>
                    <a:pt x="52" y="125"/>
                  </a:cubicBezTo>
                  <a:cubicBezTo>
                    <a:pt x="54" y="127"/>
                    <a:pt x="57" y="129"/>
                    <a:pt x="60" y="131"/>
                  </a:cubicBezTo>
                  <a:cubicBezTo>
                    <a:pt x="63" y="133"/>
                    <a:pt x="65" y="136"/>
                    <a:pt x="68" y="139"/>
                  </a:cubicBezTo>
                  <a:cubicBezTo>
                    <a:pt x="69" y="141"/>
                    <a:pt x="70" y="144"/>
                    <a:pt x="70" y="146"/>
                  </a:cubicBezTo>
                  <a:cubicBezTo>
                    <a:pt x="71" y="148"/>
                    <a:pt x="69" y="152"/>
                    <a:pt x="70" y="151"/>
                  </a:cubicBezTo>
                  <a:cubicBezTo>
                    <a:pt x="74" y="150"/>
                    <a:pt x="77" y="147"/>
                    <a:pt x="79" y="143"/>
                  </a:cubicBezTo>
                  <a:cubicBezTo>
                    <a:pt x="79" y="142"/>
                    <a:pt x="76" y="142"/>
                    <a:pt x="75" y="140"/>
                  </a:cubicBezTo>
                  <a:cubicBezTo>
                    <a:pt x="75" y="139"/>
                    <a:pt x="76" y="138"/>
                    <a:pt x="75" y="137"/>
                  </a:cubicBezTo>
                  <a:cubicBezTo>
                    <a:pt x="74" y="134"/>
                    <a:pt x="72" y="131"/>
                    <a:pt x="70" y="129"/>
                  </a:cubicBezTo>
                  <a:cubicBezTo>
                    <a:pt x="70" y="128"/>
                    <a:pt x="70" y="132"/>
                    <a:pt x="69" y="131"/>
                  </a:cubicBezTo>
                  <a:cubicBezTo>
                    <a:pt x="68" y="131"/>
                    <a:pt x="68" y="129"/>
                    <a:pt x="67" y="128"/>
                  </a:cubicBezTo>
                  <a:cubicBezTo>
                    <a:pt x="66" y="126"/>
                    <a:pt x="66" y="123"/>
                    <a:pt x="65" y="121"/>
                  </a:cubicBezTo>
                  <a:cubicBezTo>
                    <a:pt x="63" y="116"/>
                    <a:pt x="60" y="111"/>
                    <a:pt x="59" y="106"/>
                  </a:cubicBezTo>
                  <a:cubicBezTo>
                    <a:pt x="59" y="104"/>
                    <a:pt x="61" y="101"/>
                    <a:pt x="61" y="99"/>
                  </a:cubicBezTo>
                  <a:cubicBezTo>
                    <a:pt x="60" y="96"/>
                    <a:pt x="58" y="92"/>
                    <a:pt x="56" y="90"/>
                  </a:cubicBezTo>
                  <a:cubicBezTo>
                    <a:pt x="55" y="89"/>
                    <a:pt x="55" y="94"/>
                    <a:pt x="54" y="93"/>
                  </a:cubicBezTo>
                  <a:cubicBezTo>
                    <a:pt x="52" y="90"/>
                    <a:pt x="52" y="86"/>
                    <a:pt x="51" y="84"/>
                  </a:cubicBezTo>
                  <a:cubicBezTo>
                    <a:pt x="49" y="81"/>
                    <a:pt x="46" y="79"/>
                    <a:pt x="45" y="76"/>
                  </a:cubicBezTo>
                  <a:cubicBezTo>
                    <a:pt x="44" y="73"/>
                    <a:pt x="44" y="70"/>
                    <a:pt x="43" y="67"/>
                  </a:cubicBezTo>
                  <a:cubicBezTo>
                    <a:pt x="42" y="65"/>
                    <a:pt x="40" y="63"/>
                    <a:pt x="39" y="62"/>
                  </a:cubicBezTo>
                  <a:cubicBezTo>
                    <a:pt x="38" y="61"/>
                    <a:pt x="37" y="61"/>
                    <a:pt x="36" y="60"/>
                  </a:cubicBezTo>
                  <a:cubicBezTo>
                    <a:pt x="35" y="57"/>
                    <a:pt x="36" y="53"/>
                    <a:pt x="34" y="50"/>
                  </a:cubicBezTo>
                  <a:cubicBezTo>
                    <a:pt x="32" y="47"/>
                    <a:pt x="27" y="46"/>
                    <a:pt x="25" y="42"/>
                  </a:cubicBezTo>
                  <a:cubicBezTo>
                    <a:pt x="23" y="39"/>
                    <a:pt x="25" y="36"/>
                    <a:pt x="25" y="32"/>
                  </a:cubicBezTo>
                  <a:cubicBezTo>
                    <a:pt x="25" y="30"/>
                    <a:pt x="23" y="28"/>
                    <a:pt x="23" y="26"/>
                  </a:cubicBezTo>
                  <a:cubicBezTo>
                    <a:pt x="23" y="22"/>
                    <a:pt x="22" y="17"/>
                    <a:pt x="26" y="15"/>
                  </a:cubicBezTo>
                  <a:cubicBezTo>
                    <a:pt x="29" y="13"/>
                    <a:pt x="32" y="18"/>
                    <a:pt x="35" y="19"/>
                  </a:cubicBezTo>
                  <a:cubicBezTo>
                    <a:pt x="37" y="19"/>
                    <a:pt x="38" y="17"/>
                    <a:pt x="39" y="18"/>
                  </a:cubicBezTo>
                  <a:cubicBezTo>
                    <a:pt x="40" y="19"/>
                    <a:pt x="38" y="21"/>
                    <a:pt x="39" y="22"/>
                  </a:cubicBezTo>
                  <a:cubicBezTo>
                    <a:pt x="40" y="23"/>
                    <a:pt x="43" y="21"/>
                    <a:pt x="44" y="22"/>
                  </a:cubicBezTo>
                  <a:cubicBezTo>
                    <a:pt x="45" y="24"/>
                    <a:pt x="43" y="27"/>
                    <a:pt x="44" y="30"/>
                  </a:cubicBezTo>
                  <a:cubicBezTo>
                    <a:pt x="44" y="33"/>
                    <a:pt x="45" y="36"/>
                    <a:pt x="46" y="39"/>
                  </a:cubicBezTo>
                  <a:cubicBezTo>
                    <a:pt x="47" y="43"/>
                    <a:pt x="50" y="46"/>
                    <a:pt x="51" y="49"/>
                  </a:cubicBezTo>
                  <a:cubicBezTo>
                    <a:pt x="52" y="51"/>
                    <a:pt x="50" y="54"/>
                    <a:pt x="51" y="56"/>
                  </a:cubicBezTo>
                  <a:cubicBezTo>
                    <a:pt x="52" y="59"/>
                    <a:pt x="55" y="61"/>
                    <a:pt x="58" y="64"/>
                  </a:cubicBezTo>
                  <a:cubicBezTo>
                    <a:pt x="60" y="67"/>
                    <a:pt x="62" y="70"/>
                    <a:pt x="65" y="73"/>
                  </a:cubicBezTo>
                  <a:cubicBezTo>
                    <a:pt x="67" y="74"/>
                    <a:pt x="70" y="72"/>
                    <a:pt x="72" y="74"/>
                  </a:cubicBezTo>
                  <a:cubicBezTo>
                    <a:pt x="73" y="75"/>
                    <a:pt x="71" y="77"/>
                    <a:pt x="71" y="78"/>
                  </a:cubicBezTo>
                  <a:cubicBezTo>
                    <a:pt x="71" y="80"/>
                    <a:pt x="71" y="82"/>
                    <a:pt x="72" y="84"/>
                  </a:cubicBezTo>
                  <a:cubicBezTo>
                    <a:pt x="72" y="85"/>
                    <a:pt x="73" y="85"/>
                    <a:pt x="74" y="85"/>
                  </a:cubicBezTo>
                  <a:cubicBezTo>
                    <a:pt x="75" y="85"/>
                    <a:pt x="77" y="83"/>
                    <a:pt x="77" y="84"/>
                  </a:cubicBezTo>
                  <a:cubicBezTo>
                    <a:pt x="79" y="86"/>
                    <a:pt x="77" y="89"/>
                    <a:pt x="79" y="91"/>
                  </a:cubicBezTo>
                  <a:cubicBezTo>
                    <a:pt x="79" y="92"/>
                    <a:pt x="82" y="90"/>
                    <a:pt x="83" y="91"/>
                  </a:cubicBezTo>
                  <a:cubicBezTo>
                    <a:pt x="84" y="92"/>
                    <a:pt x="84" y="93"/>
                    <a:pt x="84" y="94"/>
                  </a:cubicBezTo>
                  <a:cubicBezTo>
                    <a:pt x="85" y="96"/>
                    <a:pt x="86" y="97"/>
                    <a:pt x="86" y="99"/>
                  </a:cubicBezTo>
                  <a:cubicBezTo>
                    <a:pt x="86" y="100"/>
                    <a:pt x="84" y="100"/>
                    <a:pt x="83" y="101"/>
                  </a:cubicBezTo>
                  <a:cubicBezTo>
                    <a:pt x="83" y="102"/>
                    <a:pt x="82" y="105"/>
                    <a:pt x="83" y="107"/>
                  </a:cubicBezTo>
                  <a:cubicBezTo>
                    <a:pt x="83" y="108"/>
                    <a:pt x="86" y="105"/>
                    <a:pt x="87" y="106"/>
                  </a:cubicBezTo>
                  <a:cubicBezTo>
                    <a:pt x="89" y="107"/>
                    <a:pt x="89" y="111"/>
                    <a:pt x="91" y="112"/>
                  </a:cubicBezTo>
                  <a:cubicBezTo>
                    <a:pt x="93" y="114"/>
                    <a:pt x="96" y="113"/>
                    <a:pt x="98" y="115"/>
                  </a:cubicBezTo>
                  <a:cubicBezTo>
                    <a:pt x="99" y="116"/>
                    <a:pt x="98" y="119"/>
                    <a:pt x="99" y="121"/>
                  </a:cubicBezTo>
                  <a:cubicBezTo>
                    <a:pt x="100" y="123"/>
                    <a:pt x="102" y="125"/>
                    <a:pt x="104" y="127"/>
                  </a:cubicBezTo>
                  <a:cubicBezTo>
                    <a:pt x="106" y="129"/>
                    <a:pt x="107" y="131"/>
                    <a:pt x="108" y="133"/>
                  </a:cubicBezTo>
                  <a:cubicBezTo>
                    <a:pt x="110" y="136"/>
                    <a:pt x="113" y="140"/>
                    <a:pt x="115" y="143"/>
                  </a:cubicBezTo>
                  <a:cubicBezTo>
                    <a:pt x="118" y="148"/>
                    <a:pt x="122" y="152"/>
                    <a:pt x="125" y="157"/>
                  </a:cubicBezTo>
                  <a:cubicBezTo>
                    <a:pt x="127" y="161"/>
                    <a:pt x="128" y="166"/>
                    <a:pt x="129" y="170"/>
                  </a:cubicBezTo>
                  <a:cubicBezTo>
                    <a:pt x="129" y="172"/>
                    <a:pt x="129" y="174"/>
                    <a:pt x="129" y="175"/>
                  </a:cubicBezTo>
                  <a:cubicBezTo>
                    <a:pt x="127" y="177"/>
                    <a:pt x="124" y="178"/>
                    <a:pt x="123" y="181"/>
                  </a:cubicBezTo>
                  <a:cubicBezTo>
                    <a:pt x="123" y="182"/>
                    <a:pt x="126" y="181"/>
                    <a:pt x="127" y="183"/>
                  </a:cubicBezTo>
                  <a:cubicBezTo>
                    <a:pt x="127" y="184"/>
                    <a:pt x="125" y="185"/>
                    <a:pt x="125" y="185"/>
                  </a:cubicBezTo>
                  <a:cubicBezTo>
                    <a:pt x="124" y="187"/>
                    <a:pt x="121" y="187"/>
                    <a:pt x="122" y="189"/>
                  </a:cubicBezTo>
                  <a:cubicBezTo>
                    <a:pt x="122" y="193"/>
                    <a:pt x="125" y="196"/>
                    <a:pt x="127" y="199"/>
                  </a:cubicBezTo>
                  <a:cubicBezTo>
                    <a:pt x="129" y="201"/>
                    <a:pt x="132" y="204"/>
                    <a:pt x="135" y="206"/>
                  </a:cubicBezTo>
                  <a:cubicBezTo>
                    <a:pt x="137" y="207"/>
                    <a:pt x="140" y="207"/>
                    <a:pt x="142" y="209"/>
                  </a:cubicBezTo>
                  <a:cubicBezTo>
                    <a:pt x="145" y="211"/>
                    <a:pt x="146" y="215"/>
                    <a:pt x="150" y="217"/>
                  </a:cubicBezTo>
                  <a:cubicBezTo>
                    <a:pt x="154" y="220"/>
                    <a:pt x="161" y="219"/>
                    <a:pt x="165" y="222"/>
                  </a:cubicBezTo>
                  <a:cubicBezTo>
                    <a:pt x="169" y="224"/>
                    <a:pt x="171" y="228"/>
                    <a:pt x="174" y="230"/>
                  </a:cubicBezTo>
                  <a:cubicBezTo>
                    <a:pt x="180" y="234"/>
                    <a:pt x="187" y="238"/>
                    <a:pt x="194" y="240"/>
                  </a:cubicBezTo>
                  <a:cubicBezTo>
                    <a:pt x="197" y="242"/>
                    <a:pt x="200" y="241"/>
                    <a:pt x="203" y="242"/>
                  </a:cubicBezTo>
                  <a:cubicBezTo>
                    <a:pt x="206" y="242"/>
                    <a:pt x="208" y="245"/>
                    <a:pt x="210" y="246"/>
                  </a:cubicBezTo>
                  <a:cubicBezTo>
                    <a:pt x="213" y="248"/>
                    <a:pt x="215" y="251"/>
                    <a:pt x="219" y="252"/>
                  </a:cubicBezTo>
                  <a:cubicBezTo>
                    <a:pt x="223" y="254"/>
                    <a:pt x="228" y="256"/>
                    <a:pt x="233" y="257"/>
                  </a:cubicBezTo>
                  <a:cubicBezTo>
                    <a:pt x="235" y="258"/>
                    <a:pt x="238" y="258"/>
                    <a:pt x="241" y="257"/>
                  </a:cubicBezTo>
                  <a:cubicBezTo>
                    <a:pt x="244" y="255"/>
                    <a:pt x="247" y="252"/>
                    <a:pt x="251" y="250"/>
                  </a:cubicBezTo>
                  <a:cubicBezTo>
                    <a:pt x="252" y="249"/>
                    <a:pt x="252" y="248"/>
                    <a:pt x="253" y="248"/>
                  </a:cubicBezTo>
                  <a:cubicBezTo>
                    <a:pt x="255" y="248"/>
                    <a:pt x="256" y="249"/>
                    <a:pt x="258" y="250"/>
                  </a:cubicBezTo>
                  <a:cubicBezTo>
                    <a:pt x="258" y="250"/>
                    <a:pt x="259" y="249"/>
                    <a:pt x="259" y="250"/>
                  </a:cubicBezTo>
                  <a:cubicBezTo>
                    <a:pt x="262" y="250"/>
                    <a:pt x="265" y="251"/>
                    <a:pt x="267" y="253"/>
                  </a:cubicBezTo>
                  <a:cubicBezTo>
                    <a:pt x="270" y="256"/>
                    <a:pt x="272" y="260"/>
                    <a:pt x="275" y="264"/>
                  </a:cubicBezTo>
                  <a:cubicBezTo>
                    <a:pt x="278" y="267"/>
                    <a:pt x="283" y="271"/>
                    <a:pt x="286" y="274"/>
                  </a:cubicBezTo>
                  <a:cubicBezTo>
                    <a:pt x="286" y="273"/>
                    <a:pt x="287" y="271"/>
                    <a:pt x="288" y="270"/>
                  </a:cubicBezTo>
                  <a:cubicBezTo>
                    <a:pt x="288" y="268"/>
                    <a:pt x="287" y="267"/>
                    <a:pt x="287" y="265"/>
                  </a:cubicBezTo>
                  <a:cubicBezTo>
                    <a:pt x="289" y="261"/>
                    <a:pt x="291" y="257"/>
                    <a:pt x="293" y="252"/>
                  </a:cubicBezTo>
                  <a:cubicBezTo>
                    <a:pt x="298" y="252"/>
                    <a:pt x="304" y="253"/>
                    <a:pt x="309" y="253"/>
                  </a:cubicBezTo>
                  <a:cubicBezTo>
                    <a:pt x="309" y="251"/>
                    <a:pt x="310" y="248"/>
                    <a:pt x="308" y="246"/>
                  </a:cubicBezTo>
                  <a:cubicBezTo>
                    <a:pt x="307" y="246"/>
                    <a:pt x="308" y="244"/>
                    <a:pt x="307" y="243"/>
                  </a:cubicBezTo>
                  <a:cubicBezTo>
                    <a:pt x="306" y="242"/>
                    <a:pt x="304" y="243"/>
                    <a:pt x="303" y="242"/>
                  </a:cubicBezTo>
                  <a:cubicBezTo>
                    <a:pt x="301" y="241"/>
                    <a:pt x="298" y="239"/>
                    <a:pt x="298" y="237"/>
                  </a:cubicBezTo>
                  <a:cubicBezTo>
                    <a:pt x="298" y="236"/>
                    <a:pt x="302" y="238"/>
                    <a:pt x="303" y="236"/>
                  </a:cubicBezTo>
                  <a:cubicBezTo>
                    <a:pt x="305" y="234"/>
                    <a:pt x="304" y="231"/>
                    <a:pt x="304" y="228"/>
                  </a:cubicBezTo>
                  <a:cubicBezTo>
                    <a:pt x="312" y="227"/>
                    <a:pt x="320" y="228"/>
                    <a:pt x="328" y="227"/>
                  </a:cubicBezTo>
                  <a:cubicBezTo>
                    <a:pt x="329" y="226"/>
                    <a:pt x="329" y="225"/>
                    <a:pt x="330" y="225"/>
                  </a:cubicBezTo>
                  <a:cubicBezTo>
                    <a:pt x="331" y="224"/>
                    <a:pt x="332" y="227"/>
                    <a:pt x="333" y="226"/>
                  </a:cubicBezTo>
                  <a:cubicBezTo>
                    <a:pt x="335" y="225"/>
                    <a:pt x="335" y="223"/>
                    <a:pt x="335" y="221"/>
                  </a:cubicBezTo>
                  <a:cubicBezTo>
                    <a:pt x="336" y="220"/>
                    <a:pt x="338" y="218"/>
                    <a:pt x="340" y="21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8" name="Freeform 759"/>
            <p:cNvSpPr>
              <a:spLocks noChangeAspect="1"/>
            </p:cNvSpPr>
            <p:nvPr/>
          </p:nvSpPr>
          <p:spPr bwMode="auto">
            <a:xfrm>
              <a:off x="2401888" y="3684588"/>
              <a:ext cx="31750" cy="68262"/>
            </a:xfrm>
            <a:custGeom>
              <a:avLst/>
              <a:gdLst>
                <a:gd name="T0" fmla="*/ 9338 w 17"/>
                <a:gd name="T1" fmla="*/ 68262 h 36"/>
                <a:gd name="T2" fmla="*/ 14941 w 17"/>
                <a:gd name="T3" fmla="*/ 58781 h 36"/>
                <a:gd name="T4" fmla="*/ 24279 w 17"/>
                <a:gd name="T5" fmla="*/ 51196 h 36"/>
                <a:gd name="T6" fmla="*/ 24279 w 17"/>
                <a:gd name="T7" fmla="*/ 32235 h 36"/>
                <a:gd name="T8" fmla="*/ 26147 w 17"/>
                <a:gd name="T9" fmla="*/ 20858 h 36"/>
                <a:gd name="T10" fmla="*/ 31750 w 17"/>
                <a:gd name="T11" fmla="*/ 3792 h 36"/>
                <a:gd name="T12" fmla="*/ 24279 w 17"/>
                <a:gd name="T13" fmla="*/ 5688 h 36"/>
                <a:gd name="T14" fmla="*/ 26147 w 17"/>
                <a:gd name="T15" fmla="*/ 0 h 36"/>
                <a:gd name="T16" fmla="*/ 16809 w 17"/>
                <a:gd name="T17" fmla="*/ 7585 h 36"/>
                <a:gd name="T18" fmla="*/ 13074 w 17"/>
                <a:gd name="T19" fmla="*/ 17066 h 36"/>
                <a:gd name="T20" fmla="*/ 7471 w 17"/>
                <a:gd name="T21" fmla="*/ 15169 h 36"/>
                <a:gd name="T22" fmla="*/ 3735 w 17"/>
                <a:gd name="T23" fmla="*/ 18962 h 36"/>
                <a:gd name="T24" fmla="*/ 5603 w 17"/>
                <a:gd name="T25" fmla="*/ 37923 h 36"/>
                <a:gd name="T26" fmla="*/ 0 w 17"/>
                <a:gd name="T27" fmla="*/ 68262 h 36"/>
                <a:gd name="T28" fmla="*/ 9338 w 17"/>
                <a:gd name="T29" fmla="*/ 68262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"/>
                <a:gd name="T46" fmla="*/ 0 h 36"/>
                <a:gd name="T47" fmla="*/ 17 w 17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" h="36">
                  <a:moveTo>
                    <a:pt x="5" y="36"/>
                  </a:moveTo>
                  <a:cubicBezTo>
                    <a:pt x="6" y="35"/>
                    <a:pt x="7" y="32"/>
                    <a:pt x="8" y="31"/>
                  </a:cubicBezTo>
                  <a:cubicBezTo>
                    <a:pt x="9" y="29"/>
                    <a:pt x="12" y="29"/>
                    <a:pt x="13" y="27"/>
                  </a:cubicBezTo>
                  <a:cubicBezTo>
                    <a:pt x="14" y="24"/>
                    <a:pt x="12" y="21"/>
                    <a:pt x="13" y="17"/>
                  </a:cubicBezTo>
                  <a:cubicBezTo>
                    <a:pt x="13" y="15"/>
                    <a:pt x="13" y="13"/>
                    <a:pt x="14" y="11"/>
                  </a:cubicBezTo>
                  <a:cubicBezTo>
                    <a:pt x="15" y="8"/>
                    <a:pt x="17" y="5"/>
                    <a:pt x="17" y="2"/>
                  </a:cubicBezTo>
                  <a:cubicBezTo>
                    <a:pt x="17" y="1"/>
                    <a:pt x="15" y="4"/>
                    <a:pt x="13" y="3"/>
                  </a:cubicBezTo>
                  <a:cubicBezTo>
                    <a:pt x="13" y="3"/>
                    <a:pt x="14" y="1"/>
                    <a:pt x="14" y="0"/>
                  </a:cubicBezTo>
                  <a:cubicBezTo>
                    <a:pt x="12" y="1"/>
                    <a:pt x="10" y="3"/>
                    <a:pt x="9" y="4"/>
                  </a:cubicBezTo>
                  <a:cubicBezTo>
                    <a:pt x="9" y="6"/>
                    <a:pt x="9" y="8"/>
                    <a:pt x="7" y="9"/>
                  </a:cubicBezTo>
                  <a:cubicBezTo>
                    <a:pt x="6" y="10"/>
                    <a:pt x="5" y="7"/>
                    <a:pt x="4" y="8"/>
                  </a:cubicBezTo>
                  <a:cubicBezTo>
                    <a:pt x="3" y="8"/>
                    <a:pt x="3" y="9"/>
                    <a:pt x="2" y="10"/>
                  </a:cubicBezTo>
                  <a:cubicBezTo>
                    <a:pt x="2" y="14"/>
                    <a:pt x="2" y="16"/>
                    <a:pt x="3" y="20"/>
                  </a:cubicBezTo>
                  <a:cubicBezTo>
                    <a:pt x="2" y="25"/>
                    <a:pt x="1" y="31"/>
                    <a:pt x="0" y="36"/>
                  </a:cubicBezTo>
                  <a:cubicBezTo>
                    <a:pt x="2" y="36"/>
                    <a:pt x="3" y="36"/>
                    <a:pt x="5" y="3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59" name="Freeform 760"/>
            <p:cNvSpPr>
              <a:spLocks noChangeAspect="1"/>
            </p:cNvSpPr>
            <p:nvPr/>
          </p:nvSpPr>
          <p:spPr bwMode="auto">
            <a:xfrm>
              <a:off x="2325688" y="3703638"/>
              <a:ext cx="100012" cy="109537"/>
            </a:xfrm>
            <a:custGeom>
              <a:avLst/>
              <a:gdLst>
                <a:gd name="T0" fmla="*/ 75481 w 53"/>
                <a:gd name="T1" fmla="*/ 88763 h 58"/>
                <a:gd name="T2" fmla="*/ 75481 w 53"/>
                <a:gd name="T3" fmla="*/ 77431 h 58"/>
                <a:gd name="T4" fmla="*/ 84916 w 53"/>
                <a:gd name="T5" fmla="*/ 71766 h 58"/>
                <a:gd name="T6" fmla="*/ 98125 w 53"/>
                <a:gd name="T7" fmla="*/ 62323 h 58"/>
                <a:gd name="T8" fmla="*/ 100012 w 53"/>
                <a:gd name="T9" fmla="*/ 56657 h 58"/>
                <a:gd name="T10" fmla="*/ 92464 w 53"/>
                <a:gd name="T11" fmla="*/ 52880 h 58"/>
                <a:gd name="T12" fmla="*/ 84916 w 53"/>
                <a:gd name="T13" fmla="*/ 49103 h 58"/>
                <a:gd name="T14" fmla="*/ 75481 w 53"/>
                <a:gd name="T15" fmla="*/ 49103 h 58"/>
                <a:gd name="T16" fmla="*/ 81142 w 53"/>
                <a:gd name="T17" fmla="*/ 18886 h 58"/>
                <a:gd name="T18" fmla="*/ 79255 w 53"/>
                <a:gd name="T19" fmla="*/ 0 h 58"/>
                <a:gd name="T20" fmla="*/ 33966 w 53"/>
                <a:gd name="T21" fmla="*/ 1889 h 58"/>
                <a:gd name="T22" fmla="*/ 32079 w 53"/>
                <a:gd name="T23" fmla="*/ 16997 h 58"/>
                <a:gd name="T24" fmla="*/ 22644 w 53"/>
                <a:gd name="T25" fmla="*/ 18886 h 58"/>
                <a:gd name="T26" fmla="*/ 32079 w 53"/>
                <a:gd name="T27" fmla="*/ 28329 h 58"/>
                <a:gd name="T28" fmla="*/ 39627 w 53"/>
                <a:gd name="T29" fmla="*/ 30217 h 58"/>
                <a:gd name="T30" fmla="*/ 41514 w 53"/>
                <a:gd name="T31" fmla="*/ 35883 h 58"/>
                <a:gd name="T32" fmla="*/ 43401 w 53"/>
                <a:gd name="T33" fmla="*/ 49103 h 58"/>
                <a:gd name="T34" fmla="*/ 13209 w 53"/>
                <a:gd name="T35" fmla="*/ 47214 h 58"/>
                <a:gd name="T36" fmla="*/ 1887 w 53"/>
                <a:gd name="T37" fmla="*/ 71766 h 58"/>
                <a:gd name="T38" fmla="*/ 3774 w 53"/>
                <a:gd name="T39" fmla="*/ 81208 h 58"/>
                <a:gd name="T40" fmla="*/ 0 w 53"/>
                <a:gd name="T41" fmla="*/ 88763 h 58"/>
                <a:gd name="T42" fmla="*/ 7548 w 53"/>
                <a:gd name="T43" fmla="*/ 96317 h 58"/>
                <a:gd name="T44" fmla="*/ 18870 w 53"/>
                <a:gd name="T45" fmla="*/ 103871 h 58"/>
                <a:gd name="T46" fmla="*/ 35853 w 53"/>
                <a:gd name="T47" fmla="*/ 107648 h 58"/>
                <a:gd name="T48" fmla="*/ 47175 w 53"/>
                <a:gd name="T49" fmla="*/ 109537 h 58"/>
                <a:gd name="T50" fmla="*/ 54724 w 53"/>
                <a:gd name="T51" fmla="*/ 103871 h 58"/>
                <a:gd name="T52" fmla="*/ 60385 w 53"/>
                <a:gd name="T53" fmla="*/ 103871 h 58"/>
                <a:gd name="T54" fmla="*/ 64159 w 53"/>
                <a:gd name="T55" fmla="*/ 90651 h 58"/>
                <a:gd name="T56" fmla="*/ 71707 w 53"/>
                <a:gd name="T57" fmla="*/ 88763 h 58"/>
                <a:gd name="T58" fmla="*/ 75481 w 53"/>
                <a:gd name="T59" fmla="*/ 88763 h 5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3"/>
                <a:gd name="T91" fmla="*/ 0 h 58"/>
                <a:gd name="T92" fmla="*/ 53 w 53"/>
                <a:gd name="T93" fmla="*/ 58 h 5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3" h="58">
                  <a:moveTo>
                    <a:pt x="40" y="47"/>
                  </a:moveTo>
                  <a:cubicBezTo>
                    <a:pt x="40" y="45"/>
                    <a:pt x="40" y="43"/>
                    <a:pt x="40" y="41"/>
                  </a:cubicBezTo>
                  <a:cubicBezTo>
                    <a:pt x="41" y="40"/>
                    <a:pt x="43" y="39"/>
                    <a:pt x="45" y="38"/>
                  </a:cubicBezTo>
                  <a:cubicBezTo>
                    <a:pt x="47" y="36"/>
                    <a:pt x="50" y="35"/>
                    <a:pt x="52" y="33"/>
                  </a:cubicBezTo>
                  <a:cubicBezTo>
                    <a:pt x="53" y="33"/>
                    <a:pt x="52" y="31"/>
                    <a:pt x="53" y="30"/>
                  </a:cubicBezTo>
                  <a:cubicBezTo>
                    <a:pt x="51" y="30"/>
                    <a:pt x="50" y="29"/>
                    <a:pt x="49" y="28"/>
                  </a:cubicBezTo>
                  <a:cubicBezTo>
                    <a:pt x="47" y="28"/>
                    <a:pt x="46" y="27"/>
                    <a:pt x="45" y="26"/>
                  </a:cubicBezTo>
                  <a:cubicBezTo>
                    <a:pt x="43" y="26"/>
                    <a:pt x="42" y="26"/>
                    <a:pt x="40" y="26"/>
                  </a:cubicBezTo>
                  <a:cubicBezTo>
                    <a:pt x="41" y="21"/>
                    <a:pt x="42" y="15"/>
                    <a:pt x="43" y="10"/>
                  </a:cubicBezTo>
                  <a:cubicBezTo>
                    <a:pt x="42" y="6"/>
                    <a:pt x="42" y="4"/>
                    <a:pt x="42" y="0"/>
                  </a:cubicBezTo>
                  <a:cubicBezTo>
                    <a:pt x="34" y="1"/>
                    <a:pt x="26" y="0"/>
                    <a:pt x="18" y="1"/>
                  </a:cubicBezTo>
                  <a:cubicBezTo>
                    <a:pt x="18" y="4"/>
                    <a:pt x="19" y="7"/>
                    <a:pt x="17" y="9"/>
                  </a:cubicBezTo>
                  <a:cubicBezTo>
                    <a:pt x="16" y="11"/>
                    <a:pt x="12" y="9"/>
                    <a:pt x="12" y="10"/>
                  </a:cubicBezTo>
                  <a:cubicBezTo>
                    <a:pt x="12" y="12"/>
                    <a:pt x="15" y="14"/>
                    <a:pt x="17" y="15"/>
                  </a:cubicBezTo>
                  <a:cubicBezTo>
                    <a:pt x="18" y="16"/>
                    <a:pt x="20" y="15"/>
                    <a:pt x="21" y="16"/>
                  </a:cubicBezTo>
                  <a:cubicBezTo>
                    <a:pt x="22" y="17"/>
                    <a:pt x="21" y="19"/>
                    <a:pt x="22" y="19"/>
                  </a:cubicBezTo>
                  <a:cubicBezTo>
                    <a:pt x="24" y="21"/>
                    <a:pt x="23" y="24"/>
                    <a:pt x="23" y="26"/>
                  </a:cubicBezTo>
                  <a:cubicBezTo>
                    <a:pt x="18" y="26"/>
                    <a:pt x="12" y="25"/>
                    <a:pt x="7" y="25"/>
                  </a:cubicBezTo>
                  <a:cubicBezTo>
                    <a:pt x="5" y="30"/>
                    <a:pt x="3" y="34"/>
                    <a:pt x="1" y="38"/>
                  </a:cubicBezTo>
                  <a:cubicBezTo>
                    <a:pt x="1" y="40"/>
                    <a:pt x="2" y="41"/>
                    <a:pt x="2" y="43"/>
                  </a:cubicBezTo>
                  <a:cubicBezTo>
                    <a:pt x="1" y="44"/>
                    <a:pt x="0" y="46"/>
                    <a:pt x="0" y="47"/>
                  </a:cubicBezTo>
                  <a:cubicBezTo>
                    <a:pt x="1" y="48"/>
                    <a:pt x="2" y="50"/>
                    <a:pt x="4" y="51"/>
                  </a:cubicBezTo>
                  <a:cubicBezTo>
                    <a:pt x="6" y="53"/>
                    <a:pt x="8" y="54"/>
                    <a:pt x="10" y="55"/>
                  </a:cubicBezTo>
                  <a:cubicBezTo>
                    <a:pt x="13" y="56"/>
                    <a:pt x="16" y="57"/>
                    <a:pt x="19" y="57"/>
                  </a:cubicBezTo>
                  <a:cubicBezTo>
                    <a:pt x="21" y="58"/>
                    <a:pt x="23" y="58"/>
                    <a:pt x="25" y="58"/>
                  </a:cubicBezTo>
                  <a:cubicBezTo>
                    <a:pt x="27" y="57"/>
                    <a:pt x="28" y="56"/>
                    <a:pt x="29" y="55"/>
                  </a:cubicBezTo>
                  <a:cubicBezTo>
                    <a:pt x="30" y="55"/>
                    <a:pt x="31" y="56"/>
                    <a:pt x="32" y="55"/>
                  </a:cubicBezTo>
                  <a:cubicBezTo>
                    <a:pt x="33" y="53"/>
                    <a:pt x="32" y="50"/>
                    <a:pt x="34" y="48"/>
                  </a:cubicBezTo>
                  <a:cubicBezTo>
                    <a:pt x="34" y="47"/>
                    <a:pt x="36" y="47"/>
                    <a:pt x="38" y="47"/>
                  </a:cubicBezTo>
                  <a:cubicBezTo>
                    <a:pt x="38" y="47"/>
                    <a:pt x="39" y="47"/>
                    <a:pt x="40" y="4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0" name="Freeform 761"/>
            <p:cNvSpPr>
              <a:spLocks noChangeAspect="1"/>
            </p:cNvSpPr>
            <p:nvPr/>
          </p:nvSpPr>
          <p:spPr bwMode="auto">
            <a:xfrm>
              <a:off x="2373313" y="3792538"/>
              <a:ext cx="61912" cy="41275"/>
            </a:xfrm>
            <a:custGeom>
              <a:avLst/>
              <a:gdLst>
                <a:gd name="T0" fmla="*/ 60036 w 33"/>
                <a:gd name="T1" fmla="*/ 31894 h 22"/>
                <a:gd name="T2" fmla="*/ 60036 w 33"/>
                <a:gd name="T3" fmla="*/ 22514 h 22"/>
                <a:gd name="T4" fmla="*/ 56284 w 33"/>
                <a:gd name="T5" fmla="*/ 16885 h 22"/>
                <a:gd name="T6" fmla="*/ 45027 w 33"/>
                <a:gd name="T7" fmla="*/ 18761 h 22"/>
                <a:gd name="T8" fmla="*/ 45027 w 33"/>
                <a:gd name="T9" fmla="*/ 11257 h 22"/>
                <a:gd name="T10" fmla="*/ 37522 w 33"/>
                <a:gd name="T11" fmla="*/ 9381 h 22"/>
                <a:gd name="T12" fmla="*/ 31894 w 33"/>
                <a:gd name="T13" fmla="*/ 5628 h 22"/>
                <a:gd name="T14" fmla="*/ 28142 w 33"/>
                <a:gd name="T15" fmla="*/ 0 h 22"/>
                <a:gd name="T16" fmla="*/ 24390 w 33"/>
                <a:gd name="T17" fmla="*/ 0 h 22"/>
                <a:gd name="T18" fmla="*/ 16885 w 33"/>
                <a:gd name="T19" fmla="*/ 1876 h 22"/>
                <a:gd name="T20" fmla="*/ 13133 w 33"/>
                <a:gd name="T21" fmla="*/ 15009 h 22"/>
                <a:gd name="T22" fmla="*/ 7504 w 33"/>
                <a:gd name="T23" fmla="*/ 15009 h 22"/>
                <a:gd name="T24" fmla="*/ 0 w 33"/>
                <a:gd name="T25" fmla="*/ 20638 h 22"/>
                <a:gd name="T26" fmla="*/ 9381 w 33"/>
                <a:gd name="T27" fmla="*/ 24390 h 22"/>
                <a:gd name="T28" fmla="*/ 13133 w 33"/>
                <a:gd name="T29" fmla="*/ 30018 h 22"/>
                <a:gd name="T30" fmla="*/ 26266 w 33"/>
                <a:gd name="T31" fmla="*/ 31894 h 22"/>
                <a:gd name="T32" fmla="*/ 30018 w 33"/>
                <a:gd name="T33" fmla="*/ 35647 h 22"/>
                <a:gd name="T34" fmla="*/ 41275 w 33"/>
                <a:gd name="T35" fmla="*/ 33770 h 22"/>
                <a:gd name="T36" fmla="*/ 48779 w 33"/>
                <a:gd name="T37" fmla="*/ 39399 h 22"/>
                <a:gd name="T38" fmla="*/ 54408 w 33"/>
                <a:gd name="T39" fmla="*/ 39399 h 22"/>
                <a:gd name="T40" fmla="*/ 56284 w 33"/>
                <a:gd name="T41" fmla="*/ 33770 h 22"/>
                <a:gd name="T42" fmla="*/ 60036 w 33"/>
                <a:gd name="T43" fmla="*/ 31894 h 2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33"/>
                <a:gd name="T67" fmla="*/ 0 h 22"/>
                <a:gd name="T68" fmla="*/ 33 w 33"/>
                <a:gd name="T69" fmla="*/ 22 h 2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33" h="22">
                  <a:moveTo>
                    <a:pt x="32" y="17"/>
                  </a:moveTo>
                  <a:cubicBezTo>
                    <a:pt x="32" y="15"/>
                    <a:pt x="33" y="14"/>
                    <a:pt x="32" y="12"/>
                  </a:cubicBezTo>
                  <a:cubicBezTo>
                    <a:pt x="32" y="10"/>
                    <a:pt x="31" y="10"/>
                    <a:pt x="30" y="9"/>
                  </a:cubicBezTo>
                  <a:cubicBezTo>
                    <a:pt x="28" y="9"/>
                    <a:pt x="26" y="11"/>
                    <a:pt x="24" y="10"/>
                  </a:cubicBezTo>
                  <a:cubicBezTo>
                    <a:pt x="23" y="9"/>
                    <a:pt x="25" y="7"/>
                    <a:pt x="24" y="6"/>
                  </a:cubicBezTo>
                  <a:cubicBezTo>
                    <a:pt x="23" y="5"/>
                    <a:pt x="21" y="5"/>
                    <a:pt x="20" y="5"/>
                  </a:cubicBezTo>
                  <a:cubicBezTo>
                    <a:pt x="19" y="4"/>
                    <a:pt x="18" y="4"/>
                    <a:pt x="17" y="3"/>
                  </a:cubicBezTo>
                  <a:cubicBezTo>
                    <a:pt x="16" y="2"/>
                    <a:pt x="15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1" y="0"/>
                    <a:pt x="9" y="0"/>
                    <a:pt x="9" y="1"/>
                  </a:cubicBezTo>
                  <a:cubicBezTo>
                    <a:pt x="7" y="3"/>
                    <a:pt x="8" y="6"/>
                    <a:pt x="7" y="8"/>
                  </a:cubicBezTo>
                  <a:cubicBezTo>
                    <a:pt x="6" y="9"/>
                    <a:pt x="5" y="8"/>
                    <a:pt x="4" y="8"/>
                  </a:cubicBezTo>
                  <a:cubicBezTo>
                    <a:pt x="3" y="9"/>
                    <a:pt x="2" y="10"/>
                    <a:pt x="0" y="11"/>
                  </a:cubicBezTo>
                  <a:cubicBezTo>
                    <a:pt x="2" y="12"/>
                    <a:pt x="4" y="12"/>
                    <a:pt x="5" y="13"/>
                  </a:cubicBezTo>
                  <a:cubicBezTo>
                    <a:pt x="6" y="13"/>
                    <a:pt x="6" y="15"/>
                    <a:pt x="7" y="16"/>
                  </a:cubicBezTo>
                  <a:cubicBezTo>
                    <a:pt x="9" y="17"/>
                    <a:pt x="12" y="16"/>
                    <a:pt x="14" y="17"/>
                  </a:cubicBezTo>
                  <a:cubicBezTo>
                    <a:pt x="15" y="17"/>
                    <a:pt x="15" y="19"/>
                    <a:pt x="16" y="19"/>
                  </a:cubicBezTo>
                  <a:cubicBezTo>
                    <a:pt x="18" y="19"/>
                    <a:pt x="20" y="17"/>
                    <a:pt x="22" y="18"/>
                  </a:cubicBezTo>
                  <a:cubicBezTo>
                    <a:pt x="24" y="18"/>
                    <a:pt x="24" y="21"/>
                    <a:pt x="26" y="21"/>
                  </a:cubicBezTo>
                  <a:cubicBezTo>
                    <a:pt x="27" y="22"/>
                    <a:pt x="29" y="22"/>
                    <a:pt x="29" y="21"/>
                  </a:cubicBezTo>
                  <a:cubicBezTo>
                    <a:pt x="30" y="20"/>
                    <a:pt x="29" y="18"/>
                    <a:pt x="30" y="18"/>
                  </a:cubicBezTo>
                  <a:cubicBezTo>
                    <a:pt x="30" y="17"/>
                    <a:pt x="31" y="17"/>
                    <a:pt x="32" y="1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1" name="Freeform 762"/>
            <p:cNvSpPr>
              <a:spLocks noChangeAspect="1"/>
            </p:cNvSpPr>
            <p:nvPr/>
          </p:nvSpPr>
          <p:spPr bwMode="auto">
            <a:xfrm>
              <a:off x="2401888" y="3754438"/>
              <a:ext cx="142875" cy="84137"/>
            </a:xfrm>
            <a:custGeom>
              <a:avLst/>
              <a:gdLst>
                <a:gd name="T0" fmla="*/ 32385 w 75"/>
                <a:gd name="T1" fmla="*/ 70752 h 44"/>
                <a:gd name="T2" fmla="*/ 32385 w 75"/>
                <a:gd name="T3" fmla="*/ 61191 h 44"/>
                <a:gd name="T4" fmla="*/ 28575 w 75"/>
                <a:gd name="T5" fmla="*/ 55454 h 44"/>
                <a:gd name="T6" fmla="*/ 17145 w 75"/>
                <a:gd name="T7" fmla="*/ 57366 h 44"/>
                <a:gd name="T8" fmla="*/ 17145 w 75"/>
                <a:gd name="T9" fmla="*/ 49717 h 44"/>
                <a:gd name="T10" fmla="*/ 9525 w 75"/>
                <a:gd name="T11" fmla="*/ 47805 h 44"/>
                <a:gd name="T12" fmla="*/ 3810 w 75"/>
                <a:gd name="T13" fmla="*/ 43981 h 44"/>
                <a:gd name="T14" fmla="*/ 0 w 75"/>
                <a:gd name="T15" fmla="*/ 38244 h 44"/>
                <a:gd name="T16" fmla="*/ 0 w 75"/>
                <a:gd name="T17" fmla="*/ 26771 h 44"/>
                <a:gd name="T18" fmla="*/ 9525 w 75"/>
                <a:gd name="T19" fmla="*/ 21034 h 44"/>
                <a:gd name="T20" fmla="*/ 22860 w 75"/>
                <a:gd name="T21" fmla="*/ 11473 h 44"/>
                <a:gd name="T22" fmla="*/ 24765 w 75"/>
                <a:gd name="T23" fmla="*/ 5737 h 44"/>
                <a:gd name="T24" fmla="*/ 34290 w 75"/>
                <a:gd name="T25" fmla="*/ 0 h 44"/>
                <a:gd name="T26" fmla="*/ 43815 w 75"/>
                <a:gd name="T27" fmla="*/ 1912 h 44"/>
                <a:gd name="T28" fmla="*/ 47625 w 75"/>
                <a:gd name="T29" fmla="*/ 5737 h 44"/>
                <a:gd name="T30" fmla="*/ 64770 w 75"/>
                <a:gd name="T31" fmla="*/ 5737 h 44"/>
                <a:gd name="T32" fmla="*/ 78105 w 75"/>
                <a:gd name="T33" fmla="*/ 0 h 44"/>
                <a:gd name="T34" fmla="*/ 85725 w 75"/>
                <a:gd name="T35" fmla="*/ 0 h 44"/>
                <a:gd name="T36" fmla="*/ 100965 w 75"/>
                <a:gd name="T37" fmla="*/ 1912 h 44"/>
                <a:gd name="T38" fmla="*/ 112395 w 75"/>
                <a:gd name="T39" fmla="*/ 3824 h 44"/>
                <a:gd name="T40" fmla="*/ 120015 w 75"/>
                <a:gd name="T41" fmla="*/ 3824 h 44"/>
                <a:gd name="T42" fmla="*/ 127635 w 75"/>
                <a:gd name="T43" fmla="*/ 9561 h 44"/>
                <a:gd name="T44" fmla="*/ 127635 w 75"/>
                <a:gd name="T45" fmla="*/ 11473 h 44"/>
                <a:gd name="T46" fmla="*/ 120015 w 75"/>
                <a:gd name="T47" fmla="*/ 9561 h 44"/>
                <a:gd name="T48" fmla="*/ 120015 w 75"/>
                <a:gd name="T49" fmla="*/ 17210 h 44"/>
                <a:gd name="T50" fmla="*/ 121920 w 75"/>
                <a:gd name="T51" fmla="*/ 19122 h 44"/>
                <a:gd name="T52" fmla="*/ 131445 w 75"/>
                <a:gd name="T53" fmla="*/ 19122 h 44"/>
                <a:gd name="T54" fmla="*/ 131445 w 75"/>
                <a:gd name="T55" fmla="*/ 17210 h 44"/>
                <a:gd name="T56" fmla="*/ 131445 w 75"/>
                <a:gd name="T57" fmla="*/ 13385 h 44"/>
                <a:gd name="T58" fmla="*/ 140970 w 75"/>
                <a:gd name="T59" fmla="*/ 21034 h 44"/>
                <a:gd name="T60" fmla="*/ 140970 w 75"/>
                <a:gd name="T61" fmla="*/ 28683 h 44"/>
                <a:gd name="T62" fmla="*/ 129540 w 75"/>
                <a:gd name="T63" fmla="*/ 28683 h 44"/>
                <a:gd name="T64" fmla="*/ 123825 w 75"/>
                <a:gd name="T65" fmla="*/ 32507 h 44"/>
                <a:gd name="T66" fmla="*/ 108585 w 75"/>
                <a:gd name="T67" fmla="*/ 38244 h 44"/>
                <a:gd name="T68" fmla="*/ 104775 w 75"/>
                <a:gd name="T69" fmla="*/ 32507 h 44"/>
                <a:gd name="T70" fmla="*/ 95250 w 75"/>
                <a:gd name="T71" fmla="*/ 40156 h 44"/>
                <a:gd name="T72" fmla="*/ 93345 w 75"/>
                <a:gd name="T73" fmla="*/ 47805 h 44"/>
                <a:gd name="T74" fmla="*/ 80010 w 75"/>
                <a:gd name="T75" fmla="*/ 55454 h 44"/>
                <a:gd name="T76" fmla="*/ 70485 w 75"/>
                <a:gd name="T77" fmla="*/ 55454 h 44"/>
                <a:gd name="T78" fmla="*/ 64770 w 75"/>
                <a:gd name="T79" fmla="*/ 61191 h 44"/>
                <a:gd name="T80" fmla="*/ 55245 w 75"/>
                <a:gd name="T81" fmla="*/ 61191 h 44"/>
                <a:gd name="T82" fmla="*/ 55245 w 75"/>
                <a:gd name="T83" fmla="*/ 74576 h 44"/>
                <a:gd name="T84" fmla="*/ 47625 w 75"/>
                <a:gd name="T85" fmla="*/ 84137 h 44"/>
                <a:gd name="T86" fmla="*/ 41910 w 75"/>
                <a:gd name="T87" fmla="*/ 84137 h 44"/>
                <a:gd name="T88" fmla="*/ 38100 w 75"/>
                <a:gd name="T89" fmla="*/ 78400 h 44"/>
                <a:gd name="T90" fmla="*/ 32385 w 75"/>
                <a:gd name="T91" fmla="*/ 70752 h 4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5"/>
                <a:gd name="T139" fmla="*/ 0 h 44"/>
                <a:gd name="T140" fmla="*/ 75 w 75"/>
                <a:gd name="T141" fmla="*/ 44 h 4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5" h="44">
                  <a:moveTo>
                    <a:pt x="17" y="37"/>
                  </a:moveTo>
                  <a:cubicBezTo>
                    <a:pt x="17" y="35"/>
                    <a:pt x="18" y="34"/>
                    <a:pt x="17" y="32"/>
                  </a:cubicBezTo>
                  <a:cubicBezTo>
                    <a:pt x="17" y="30"/>
                    <a:pt x="16" y="30"/>
                    <a:pt x="15" y="29"/>
                  </a:cubicBezTo>
                  <a:cubicBezTo>
                    <a:pt x="13" y="29"/>
                    <a:pt x="11" y="31"/>
                    <a:pt x="9" y="30"/>
                  </a:cubicBezTo>
                  <a:cubicBezTo>
                    <a:pt x="8" y="29"/>
                    <a:pt x="10" y="27"/>
                    <a:pt x="9" y="26"/>
                  </a:cubicBezTo>
                  <a:cubicBezTo>
                    <a:pt x="8" y="25"/>
                    <a:pt x="6" y="25"/>
                    <a:pt x="5" y="25"/>
                  </a:cubicBezTo>
                  <a:cubicBezTo>
                    <a:pt x="4" y="24"/>
                    <a:pt x="3" y="24"/>
                    <a:pt x="2" y="23"/>
                  </a:cubicBezTo>
                  <a:cubicBezTo>
                    <a:pt x="1" y="22"/>
                    <a:pt x="0" y="21"/>
                    <a:pt x="0" y="20"/>
                  </a:cubicBezTo>
                  <a:cubicBezTo>
                    <a:pt x="0" y="18"/>
                    <a:pt x="0" y="16"/>
                    <a:pt x="0" y="14"/>
                  </a:cubicBezTo>
                  <a:cubicBezTo>
                    <a:pt x="1" y="13"/>
                    <a:pt x="3" y="12"/>
                    <a:pt x="5" y="11"/>
                  </a:cubicBezTo>
                  <a:cubicBezTo>
                    <a:pt x="7" y="9"/>
                    <a:pt x="10" y="8"/>
                    <a:pt x="12" y="6"/>
                  </a:cubicBezTo>
                  <a:cubicBezTo>
                    <a:pt x="13" y="6"/>
                    <a:pt x="12" y="4"/>
                    <a:pt x="13" y="3"/>
                  </a:cubicBezTo>
                  <a:cubicBezTo>
                    <a:pt x="14" y="2"/>
                    <a:pt x="16" y="1"/>
                    <a:pt x="18" y="0"/>
                  </a:cubicBezTo>
                  <a:cubicBezTo>
                    <a:pt x="20" y="0"/>
                    <a:pt x="21" y="0"/>
                    <a:pt x="23" y="1"/>
                  </a:cubicBezTo>
                  <a:cubicBezTo>
                    <a:pt x="24" y="1"/>
                    <a:pt x="24" y="3"/>
                    <a:pt x="25" y="3"/>
                  </a:cubicBezTo>
                  <a:cubicBezTo>
                    <a:pt x="28" y="4"/>
                    <a:pt x="31" y="4"/>
                    <a:pt x="34" y="3"/>
                  </a:cubicBezTo>
                  <a:cubicBezTo>
                    <a:pt x="37" y="3"/>
                    <a:pt x="39" y="1"/>
                    <a:pt x="41" y="0"/>
                  </a:cubicBezTo>
                  <a:cubicBezTo>
                    <a:pt x="43" y="0"/>
                    <a:pt x="44" y="0"/>
                    <a:pt x="45" y="0"/>
                  </a:cubicBezTo>
                  <a:cubicBezTo>
                    <a:pt x="48" y="0"/>
                    <a:pt x="51" y="0"/>
                    <a:pt x="53" y="1"/>
                  </a:cubicBezTo>
                  <a:cubicBezTo>
                    <a:pt x="55" y="1"/>
                    <a:pt x="57" y="2"/>
                    <a:pt x="59" y="2"/>
                  </a:cubicBezTo>
                  <a:cubicBezTo>
                    <a:pt x="60" y="2"/>
                    <a:pt x="62" y="1"/>
                    <a:pt x="63" y="2"/>
                  </a:cubicBezTo>
                  <a:cubicBezTo>
                    <a:pt x="65" y="2"/>
                    <a:pt x="66" y="4"/>
                    <a:pt x="67" y="5"/>
                  </a:cubicBezTo>
                  <a:cubicBezTo>
                    <a:pt x="67" y="6"/>
                    <a:pt x="67" y="6"/>
                    <a:pt x="67" y="6"/>
                  </a:cubicBezTo>
                  <a:cubicBezTo>
                    <a:pt x="66" y="6"/>
                    <a:pt x="64" y="5"/>
                    <a:pt x="63" y="5"/>
                  </a:cubicBezTo>
                  <a:cubicBezTo>
                    <a:pt x="62" y="6"/>
                    <a:pt x="63" y="8"/>
                    <a:pt x="63" y="9"/>
                  </a:cubicBezTo>
                  <a:cubicBezTo>
                    <a:pt x="63" y="9"/>
                    <a:pt x="64" y="10"/>
                    <a:pt x="64" y="10"/>
                  </a:cubicBezTo>
                  <a:cubicBezTo>
                    <a:pt x="66" y="11"/>
                    <a:pt x="67" y="11"/>
                    <a:pt x="69" y="10"/>
                  </a:cubicBezTo>
                  <a:cubicBezTo>
                    <a:pt x="69" y="10"/>
                    <a:pt x="69" y="9"/>
                    <a:pt x="69" y="9"/>
                  </a:cubicBezTo>
                  <a:cubicBezTo>
                    <a:pt x="69" y="8"/>
                    <a:pt x="68" y="6"/>
                    <a:pt x="69" y="7"/>
                  </a:cubicBezTo>
                  <a:cubicBezTo>
                    <a:pt x="71" y="8"/>
                    <a:pt x="73" y="9"/>
                    <a:pt x="74" y="11"/>
                  </a:cubicBezTo>
                  <a:cubicBezTo>
                    <a:pt x="75" y="12"/>
                    <a:pt x="74" y="14"/>
                    <a:pt x="74" y="15"/>
                  </a:cubicBezTo>
                  <a:cubicBezTo>
                    <a:pt x="72" y="15"/>
                    <a:pt x="70" y="14"/>
                    <a:pt x="68" y="15"/>
                  </a:cubicBezTo>
                  <a:cubicBezTo>
                    <a:pt x="67" y="15"/>
                    <a:pt x="66" y="17"/>
                    <a:pt x="65" y="17"/>
                  </a:cubicBezTo>
                  <a:cubicBezTo>
                    <a:pt x="62" y="18"/>
                    <a:pt x="59" y="20"/>
                    <a:pt x="57" y="20"/>
                  </a:cubicBezTo>
                  <a:cubicBezTo>
                    <a:pt x="55" y="20"/>
                    <a:pt x="56" y="17"/>
                    <a:pt x="55" y="17"/>
                  </a:cubicBezTo>
                  <a:cubicBezTo>
                    <a:pt x="53" y="17"/>
                    <a:pt x="51" y="19"/>
                    <a:pt x="50" y="21"/>
                  </a:cubicBezTo>
                  <a:cubicBezTo>
                    <a:pt x="49" y="22"/>
                    <a:pt x="50" y="24"/>
                    <a:pt x="49" y="25"/>
                  </a:cubicBezTo>
                  <a:cubicBezTo>
                    <a:pt x="47" y="27"/>
                    <a:pt x="45" y="28"/>
                    <a:pt x="42" y="29"/>
                  </a:cubicBezTo>
                  <a:cubicBezTo>
                    <a:pt x="40" y="29"/>
                    <a:pt x="38" y="29"/>
                    <a:pt x="37" y="29"/>
                  </a:cubicBezTo>
                  <a:cubicBezTo>
                    <a:pt x="35" y="30"/>
                    <a:pt x="35" y="31"/>
                    <a:pt x="34" y="32"/>
                  </a:cubicBezTo>
                  <a:cubicBezTo>
                    <a:pt x="32" y="32"/>
                    <a:pt x="30" y="31"/>
                    <a:pt x="29" y="32"/>
                  </a:cubicBezTo>
                  <a:cubicBezTo>
                    <a:pt x="28" y="34"/>
                    <a:pt x="30" y="37"/>
                    <a:pt x="29" y="39"/>
                  </a:cubicBezTo>
                  <a:cubicBezTo>
                    <a:pt x="28" y="41"/>
                    <a:pt x="27" y="42"/>
                    <a:pt x="25" y="44"/>
                  </a:cubicBezTo>
                  <a:cubicBezTo>
                    <a:pt x="24" y="44"/>
                    <a:pt x="23" y="44"/>
                    <a:pt x="22" y="44"/>
                  </a:cubicBezTo>
                  <a:cubicBezTo>
                    <a:pt x="21" y="43"/>
                    <a:pt x="20" y="42"/>
                    <a:pt x="20" y="41"/>
                  </a:cubicBezTo>
                  <a:cubicBezTo>
                    <a:pt x="19" y="40"/>
                    <a:pt x="18" y="38"/>
                    <a:pt x="17" y="3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2" name="Freeform 763"/>
            <p:cNvSpPr>
              <a:spLocks noChangeAspect="1"/>
            </p:cNvSpPr>
            <p:nvPr/>
          </p:nvSpPr>
          <p:spPr bwMode="auto">
            <a:xfrm>
              <a:off x="2432050" y="3781425"/>
              <a:ext cx="109538" cy="119063"/>
            </a:xfrm>
            <a:custGeom>
              <a:avLst/>
              <a:gdLst>
                <a:gd name="T0" fmla="*/ 49103 w 58"/>
                <a:gd name="T1" fmla="*/ 103944 h 63"/>
                <a:gd name="T2" fmla="*/ 66101 w 58"/>
                <a:gd name="T3" fmla="*/ 111503 h 63"/>
                <a:gd name="T4" fmla="*/ 73655 w 58"/>
                <a:gd name="T5" fmla="*/ 111503 h 63"/>
                <a:gd name="T6" fmla="*/ 81209 w 58"/>
                <a:gd name="T7" fmla="*/ 117173 h 63"/>
                <a:gd name="T8" fmla="*/ 94429 w 58"/>
                <a:gd name="T9" fmla="*/ 117173 h 63"/>
                <a:gd name="T10" fmla="*/ 96318 w 58"/>
                <a:gd name="T11" fmla="*/ 111503 h 63"/>
                <a:gd name="T12" fmla="*/ 90652 w 58"/>
                <a:gd name="T13" fmla="*/ 100164 h 63"/>
                <a:gd name="T14" fmla="*/ 94429 w 58"/>
                <a:gd name="T15" fmla="*/ 86935 h 63"/>
                <a:gd name="T16" fmla="*/ 92541 w 58"/>
                <a:gd name="T17" fmla="*/ 75596 h 63"/>
                <a:gd name="T18" fmla="*/ 98206 w 58"/>
                <a:gd name="T19" fmla="*/ 66146 h 63"/>
                <a:gd name="T20" fmla="*/ 98206 w 58"/>
                <a:gd name="T21" fmla="*/ 41578 h 63"/>
                <a:gd name="T22" fmla="*/ 107649 w 58"/>
                <a:gd name="T23" fmla="*/ 24569 h 63"/>
                <a:gd name="T24" fmla="*/ 107649 w 58"/>
                <a:gd name="T25" fmla="*/ 11339 h 63"/>
                <a:gd name="T26" fmla="*/ 109538 w 58"/>
                <a:gd name="T27" fmla="*/ 1890 h 63"/>
                <a:gd name="T28" fmla="*/ 98206 w 58"/>
                <a:gd name="T29" fmla="*/ 1890 h 63"/>
                <a:gd name="T30" fmla="*/ 92541 w 58"/>
                <a:gd name="T31" fmla="*/ 5670 h 63"/>
                <a:gd name="T32" fmla="*/ 77432 w 58"/>
                <a:gd name="T33" fmla="*/ 11339 h 63"/>
                <a:gd name="T34" fmla="*/ 73655 w 58"/>
                <a:gd name="T35" fmla="*/ 5670 h 63"/>
                <a:gd name="T36" fmla="*/ 64212 w 58"/>
                <a:gd name="T37" fmla="*/ 13229 h 63"/>
                <a:gd name="T38" fmla="*/ 62323 w 58"/>
                <a:gd name="T39" fmla="*/ 20789 h 63"/>
                <a:gd name="T40" fmla="*/ 49103 w 58"/>
                <a:gd name="T41" fmla="*/ 28348 h 63"/>
                <a:gd name="T42" fmla="*/ 39660 w 58"/>
                <a:gd name="T43" fmla="*/ 28348 h 63"/>
                <a:gd name="T44" fmla="*/ 33995 w 58"/>
                <a:gd name="T45" fmla="*/ 34018 h 63"/>
                <a:gd name="T46" fmla="*/ 24552 w 58"/>
                <a:gd name="T47" fmla="*/ 34018 h 63"/>
                <a:gd name="T48" fmla="*/ 24552 w 58"/>
                <a:gd name="T49" fmla="*/ 47247 h 63"/>
                <a:gd name="T50" fmla="*/ 16997 w 58"/>
                <a:gd name="T51" fmla="*/ 56697 h 63"/>
                <a:gd name="T52" fmla="*/ 11332 w 58"/>
                <a:gd name="T53" fmla="*/ 56697 h 63"/>
                <a:gd name="T54" fmla="*/ 7554 w 58"/>
                <a:gd name="T55" fmla="*/ 58587 h 63"/>
                <a:gd name="T56" fmla="*/ 1889 w 58"/>
                <a:gd name="T57" fmla="*/ 52917 h 63"/>
                <a:gd name="T58" fmla="*/ 1889 w 58"/>
                <a:gd name="T59" fmla="*/ 60476 h 63"/>
                <a:gd name="T60" fmla="*/ 24552 w 58"/>
                <a:gd name="T61" fmla="*/ 85045 h 63"/>
                <a:gd name="T62" fmla="*/ 43437 w 58"/>
                <a:gd name="T63" fmla="*/ 105834 h 63"/>
                <a:gd name="T64" fmla="*/ 47215 w 58"/>
                <a:gd name="T65" fmla="*/ 103944 h 63"/>
                <a:gd name="T66" fmla="*/ 43437 w 58"/>
                <a:gd name="T67" fmla="*/ 94494 h 63"/>
                <a:gd name="T68" fmla="*/ 41549 w 58"/>
                <a:gd name="T69" fmla="*/ 81265 h 63"/>
                <a:gd name="T70" fmla="*/ 43437 w 58"/>
                <a:gd name="T71" fmla="*/ 79375 h 63"/>
                <a:gd name="T72" fmla="*/ 56658 w 58"/>
                <a:gd name="T73" fmla="*/ 88825 h 63"/>
                <a:gd name="T74" fmla="*/ 67989 w 58"/>
                <a:gd name="T75" fmla="*/ 102054 h 63"/>
                <a:gd name="T76" fmla="*/ 67989 w 58"/>
                <a:gd name="T77" fmla="*/ 107724 h 63"/>
                <a:gd name="T78" fmla="*/ 50992 w 58"/>
                <a:gd name="T79" fmla="*/ 100164 h 63"/>
                <a:gd name="T80" fmla="*/ 49103 w 58"/>
                <a:gd name="T81" fmla="*/ 103944 h 6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8"/>
                <a:gd name="T124" fmla="*/ 0 h 63"/>
                <a:gd name="T125" fmla="*/ 58 w 58"/>
                <a:gd name="T126" fmla="*/ 63 h 6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8" h="63">
                  <a:moveTo>
                    <a:pt x="26" y="55"/>
                  </a:moveTo>
                  <a:cubicBezTo>
                    <a:pt x="30" y="55"/>
                    <a:pt x="31" y="58"/>
                    <a:pt x="35" y="59"/>
                  </a:cubicBezTo>
                  <a:cubicBezTo>
                    <a:pt x="36" y="59"/>
                    <a:pt x="38" y="58"/>
                    <a:pt x="39" y="59"/>
                  </a:cubicBezTo>
                  <a:cubicBezTo>
                    <a:pt x="41" y="59"/>
                    <a:pt x="41" y="62"/>
                    <a:pt x="43" y="62"/>
                  </a:cubicBezTo>
                  <a:cubicBezTo>
                    <a:pt x="45" y="63"/>
                    <a:pt x="48" y="63"/>
                    <a:pt x="50" y="62"/>
                  </a:cubicBezTo>
                  <a:cubicBezTo>
                    <a:pt x="51" y="62"/>
                    <a:pt x="51" y="60"/>
                    <a:pt x="51" y="59"/>
                  </a:cubicBezTo>
                  <a:cubicBezTo>
                    <a:pt x="50" y="57"/>
                    <a:pt x="48" y="55"/>
                    <a:pt x="48" y="53"/>
                  </a:cubicBezTo>
                  <a:cubicBezTo>
                    <a:pt x="48" y="50"/>
                    <a:pt x="50" y="48"/>
                    <a:pt x="50" y="46"/>
                  </a:cubicBezTo>
                  <a:cubicBezTo>
                    <a:pt x="50" y="44"/>
                    <a:pt x="48" y="42"/>
                    <a:pt x="49" y="40"/>
                  </a:cubicBezTo>
                  <a:cubicBezTo>
                    <a:pt x="49" y="38"/>
                    <a:pt x="52" y="37"/>
                    <a:pt x="52" y="35"/>
                  </a:cubicBezTo>
                  <a:cubicBezTo>
                    <a:pt x="53" y="31"/>
                    <a:pt x="51" y="26"/>
                    <a:pt x="52" y="22"/>
                  </a:cubicBezTo>
                  <a:cubicBezTo>
                    <a:pt x="53" y="18"/>
                    <a:pt x="56" y="16"/>
                    <a:pt x="57" y="13"/>
                  </a:cubicBezTo>
                  <a:cubicBezTo>
                    <a:pt x="58" y="11"/>
                    <a:pt x="57" y="8"/>
                    <a:pt x="57" y="6"/>
                  </a:cubicBezTo>
                  <a:cubicBezTo>
                    <a:pt x="57" y="4"/>
                    <a:pt x="57" y="3"/>
                    <a:pt x="58" y="1"/>
                  </a:cubicBezTo>
                  <a:cubicBezTo>
                    <a:pt x="56" y="1"/>
                    <a:pt x="54" y="0"/>
                    <a:pt x="52" y="1"/>
                  </a:cubicBezTo>
                  <a:cubicBezTo>
                    <a:pt x="51" y="1"/>
                    <a:pt x="50" y="3"/>
                    <a:pt x="49" y="3"/>
                  </a:cubicBezTo>
                  <a:cubicBezTo>
                    <a:pt x="46" y="4"/>
                    <a:pt x="43" y="6"/>
                    <a:pt x="41" y="6"/>
                  </a:cubicBezTo>
                  <a:cubicBezTo>
                    <a:pt x="39" y="6"/>
                    <a:pt x="40" y="3"/>
                    <a:pt x="39" y="3"/>
                  </a:cubicBezTo>
                  <a:cubicBezTo>
                    <a:pt x="37" y="3"/>
                    <a:pt x="35" y="5"/>
                    <a:pt x="34" y="7"/>
                  </a:cubicBezTo>
                  <a:cubicBezTo>
                    <a:pt x="33" y="8"/>
                    <a:pt x="34" y="10"/>
                    <a:pt x="33" y="11"/>
                  </a:cubicBezTo>
                  <a:cubicBezTo>
                    <a:pt x="31" y="13"/>
                    <a:pt x="29" y="14"/>
                    <a:pt x="26" y="15"/>
                  </a:cubicBezTo>
                  <a:cubicBezTo>
                    <a:pt x="24" y="15"/>
                    <a:pt x="22" y="15"/>
                    <a:pt x="21" y="15"/>
                  </a:cubicBezTo>
                  <a:cubicBezTo>
                    <a:pt x="19" y="16"/>
                    <a:pt x="19" y="17"/>
                    <a:pt x="18" y="18"/>
                  </a:cubicBezTo>
                  <a:cubicBezTo>
                    <a:pt x="16" y="18"/>
                    <a:pt x="14" y="17"/>
                    <a:pt x="13" y="18"/>
                  </a:cubicBezTo>
                  <a:cubicBezTo>
                    <a:pt x="12" y="20"/>
                    <a:pt x="14" y="23"/>
                    <a:pt x="13" y="25"/>
                  </a:cubicBezTo>
                  <a:cubicBezTo>
                    <a:pt x="12" y="27"/>
                    <a:pt x="11" y="28"/>
                    <a:pt x="9" y="30"/>
                  </a:cubicBezTo>
                  <a:cubicBezTo>
                    <a:pt x="8" y="30"/>
                    <a:pt x="7" y="30"/>
                    <a:pt x="6" y="30"/>
                  </a:cubicBezTo>
                  <a:cubicBezTo>
                    <a:pt x="5" y="30"/>
                    <a:pt x="4" y="32"/>
                    <a:pt x="4" y="31"/>
                  </a:cubicBezTo>
                  <a:cubicBezTo>
                    <a:pt x="3" y="31"/>
                    <a:pt x="2" y="28"/>
                    <a:pt x="1" y="28"/>
                  </a:cubicBezTo>
                  <a:cubicBezTo>
                    <a:pt x="0" y="29"/>
                    <a:pt x="0" y="31"/>
                    <a:pt x="1" y="32"/>
                  </a:cubicBezTo>
                  <a:cubicBezTo>
                    <a:pt x="4" y="37"/>
                    <a:pt x="9" y="41"/>
                    <a:pt x="13" y="45"/>
                  </a:cubicBezTo>
                  <a:cubicBezTo>
                    <a:pt x="17" y="49"/>
                    <a:pt x="19" y="53"/>
                    <a:pt x="23" y="56"/>
                  </a:cubicBezTo>
                  <a:cubicBezTo>
                    <a:pt x="24" y="56"/>
                    <a:pt x="24" y="55"/>
                    <a:pt x="25" y="55"/>
                  </a:cubicBezTo>
                  <a:cubicBezTo>
                    <a:pt x="25" y="53"/>
                    <a:pt x="23" y="52"/>
                    <a:pt x="23" y="50"/>
                  </a:cubicBezTo>
                  <a:cubicBezTo>
                    <a:pt x="22" y="48"/>
                    <a:pt x="22" y="45"/>
                    <a:pt x="22" y="43"/>
                  </a:cubicBezTo>
                  <a:cubicBezTo>
                    <a:pt x="22" y="42"/>
                    <a:pt x="23" y="42"/>
                    <a:pt x="23" y="42"/>
                  </a:cubicBezTo>
                  <a:cubicBezTo>
                    <a:pt x="26" y="43"/>
                    <a:pt x="28" y="45"/>
                    <a:pt x="30" y="47"/>
                  </a:cubicBezTo>
                  <a:cubicBezTo>
                    <a:pt x="32" y="49"/>
                    <a:pt x="34" y="51"/>
                    <a:pt x="36" y="54"/>
                  </a:cubicBezTo>
                  <a:cubicBezTo>
                    <a:pt x="36" y="55"/>
                    <a:pt x="37" y="57"/>
                    <a:pt x="36" y="57"/>
                  </a:cubicBezTo>
                  <a:cubicBezTo>
                    <a:pt x="32" y="57"/>
                    <a:pt x="30" y="54"/>
                    <a:pt x="27" y="53"/>
                  </a:cubicBezTo>
                  <a:cubicBezTo>
                    <a:pt x="26" y="53"/>
                    <a:pt x="26" y="54"/>
                    <a:pt x="26" y="5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3" name="Freeform 764"/>
            <p:cNvSpPr>
              <a:spLocks noChangeAspect="1"/>
            </p:cNvSpPr>
            <p:nvPr/>
          </p:nvSpPr>
          <p:spPr bwMode="auto">
            <a:xfrm>
              <a:off x="2544763" y="3929063"/>
              <a:ext cx="133350" cy="69850"/>
            </a:xfrm>
            <a:custGeom>
              <a:avLst/>
              <a:gdLst>
                <a:gd name="T0" fmla="*/ 120015 w 70"/>
                <a:gd name="T1" fmla="*/ 64029 h 36"/>
                <a:gd name="T2" fmla="*/ 125730 w 70"/>
                <a:gd name="T3" fmla="*/ 56268 h 36"/>
                <a:gd name="T4" fmla="*/ 131445 w 70"/>
                <a:gd name="T5" fmla="*/ 56268 h 36"/>
                <a:gd name="T6" fmla="*/ 133350 w 70"/>
                <a:gd name="T7" fmla="*/ 42686 h 36"/>
                <a:gd name="T8" fmla="*/ 129540 w 70"/>
                <a:gd name="T9" fmla="*/ 34925 h 36"/>
                <a:gd name="T10" fmla="*/ 133350 w 70"/>
                <a:gd name="T11" fmla="*/ 29104 h 36"/>
                <a:gd name="T12" fmla="*/ 121920 w 70"/>
                <a:gd name="T13" fmla="*/ 15522 h 36"/>
                <a:gd name="T14" fmla="*/ 102870 w 70"/>
                <a:gd name="T15" fmla="*/ 9701 h 36"/>
                <a:gd name="T16" fmla="*/ 89535 w 70"/>
                <a:gd name="T17" fmla="*/ 1940 h 36"/>
                <a:gd name="T18" fmla="*/ 80010 w 70"/>
                <a:gd name="T19" fmla="*/ 7761 h 36"/>
                <a:gd name="T20" fmla="*/ 62865 w 70"/>
                <a:gd name="T21" fmla="*/ 11642 h 36"/>
                <a:gd name="T22" fmla="*/ 41910 w 70"/>
                <a:gd name="T23" fmla="*/ 23283 h 36"/>
                <a:gd name="T24" fmla="*/ 30480 w 70"/>
                <a:gd name="T25" fmla="*/ 19403 h 36"/>
                <a:gd name="T26" fmla="*/ 20955 w 70"/>
                <a:gd name="T27" fmla="*/ 19403 h 36"/>
                <a:gd name="T28" fmla="*/ 15240 w 70"/>
                <a:gd name="T29" fmla="*/ 7761 h 36"/>
                <a:gd name="T30" fmla="*/ 5715 w 70"/>
                <a:gd name="T31" fmla="*/ 1940 h 36"/>
                <a:gd name="T32" fmla="*/ 3810 w 70"/>
                <a:gd name="T33" fmla="*/ 13582 h 36"/>
                <a:gd name="T34" fmla="*/ 9525 w 70"/>
                <a:gd name="T35" fmla="*/ 21343 h 36"/>
                <a:gd name="T36" fmla="*/ 3810 w 70"/>
                <a:gd name="T37" fmla="*/ 27164 h 36"/>
                <a:gd name="T38" fmla="*/ 3810 w 70"/>
                <a:gd name="T39" fmla="*/ 34925 h 36"/>
                <a:gd name="T40" fmla="*/ 0 w 70"/>
                <a:gd name="T41" fmla="*/ 40746 h 36"/>
                <a:gd name="T42" fmla="*/ 17145 w 70"/>
                <a:gd name="T43" fmla="*/ 40746 h 36"/>
                <a:gd name="T44" fmla="*/ 30480 w 70"/>
                <a:gd name="T45" fmla="*/ 40746 h 36"/>
                <a:gd name="T46" fmla="*/ 34290 w 70"/>
                <a:gd name="T47" fmla="*/ 52387 h 36"/>
                <a:gd name="T48" fmla="*/ 38100 w 70"/>
                <a:gd name="T49" fmla="*/ 58208 h 36"/>
                <a:gd name="T50" fmla="*/ 43815 w 70"/>
                <a:gd name="T51" fmla="*/ 48507 h 36"/>
                <a:gd name="T52" fmla="*/ 47625 w 70"/>
                <a:gd name="T53" fmla="*/ 60149 h 36"/>
                <a:gd name="T54" fmla="*/ 55245 w 70"/>
                <a:gd name="T55" fmla="*/ 67910 h 36"/>
                <a:gd name="T56" fmla="*/ 70485 w 70"/>
                <a:gd name="T57" fmla="*/ 62089 h 36"/>
                <a:gd name="T58" fmla="*/ 64770 w 70"/>
                <a:gd name="T59" fmla="*/ 50447 h 36"/>
                <a:gd name="T60" fmla="*/ 59055 w 70"/>
                <a:gd name="T61" fmla="*/ 40746 h 36"/>
                <a:gd name="T62" fmla="*/ 66675 w 70"/>
                <a:gd name="T63" fmla="*/ 36865 h 36"/>
                <a:gd name="T64" fmla="*/ 74295 w 70"/>
                <a:gd name="T65" fmla="*/ 31044 h 36"/>
                <a:gd name="T66" fmla="*/ 74295 w 70"/>
                <a:gd name="T67" fmla="*/ 21343 h 36"/>
                <a:gd name="T68" fmla="*/ 89535 w 70"/>
                <a:gd name="T69" fmla="*/ 15522 h 36"/>
                <a:gd name="T70" fmla="*/ 102870 w 70"/>
                <a:gd name="T71" fmla="*/ 25224 h 36"/>
                <a:gd name="T72" fmla="*/ 110490 w 70"/>
                <a:gd name="T73" fmla="*/ 29104 h 36"/>
                <a:gd name="T74" fmla="*/ 114300 w 70"/>
                <a:gd name="T75" fmla="*/ 42686 h 36"/>
                <a:gd name="T76" fmla="*/ 108585 w 70"/>
                <a:gd name="T77" fmla="*/ 44626 h 36"/>
                <a:gd name="T78" fmla="*/ 112395 w 70"/>
                <a:gd name="T79" fmla="*/ 56268 h 36"/>
                <a:gd name="T80" fmla="*/ 120015 w 70"/>
                <a:gd name="T81" fmla="*/ 64029 h 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0"/>
                <a:gd name="T124" fmla="*/ 0 h 36"/>
                <a:gd name="T125" fmla="*/ 70 w 70"/>
                <a:gd name="T126" fmla="*/ 36 h 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0" h="36">
                  <a:moveTo>
                    <a:pt x="63" y="33"/>
                  </a:moveTo>
                  <a:cubicBezTo>
                    <a:pt x="64" y="32"/>
                    <a:pt x="65" y="30"/>
                    <a:pt x="66" y="29"/>
                  </a:cubicBezTo>
                  <a:cubicBezTo>
                    <a:pt x="67" y="28"/>
                    <a:pt x="69" y="30"/>
                    <a:pt x="69" y="29"/>
                  </a:cubicBezTo>
                  <a:cubicBezTo>
                    <a:pt x="70" y="27"/>
                    <a:pt x="70" y="25"/>
                    <a:pt x="70" y="22"/>
                  </a:cubicBezTo>
                  <a:cubicBezTo>
                    <a:pt x="70" y="21"/>
                    <a:pt x="68" y="19"/>
                    <a:pt x="68" y="18"/>
                  </a:cubicBezTo>
                  <a:cubicBezTo>
                    <a:pt x="68" y="16"/>
                    <a:pt x="69" y="16"/>
                    <a:pt x="70" y="15"/>
                  </a:cubicBezTo>
                  <a:cubicBezTo>
                    <a:pt x="68" y="12"/>
                    <a:pt x="67" y="10"/>
                    <a:pt x="64" y="8"/>
                  </a:cubicBezTo>
                  <a:cubicBezTo>
                    <a:pt x="61" y="6"/>
                    <a:pt x="58" y="7"/>
                    <a:pt x="54" y="5"/>
                  </a:cubicBezTo>
                  <a:cubicBezTo>
                    <a:pt x="52" y="4"/>
                    <a:pt x="50" y="1"/>
                    <a:pt x="47" y="1"/>
                  </a:cubicBezTo>
                  <a:cubicBezTo>
                    <a:pt x="45" y="0"/>
                    <a:pt x="44" y="4"/>
                    <a:pt x="42" y="4"/>
                  </a:cubicBezTo>
                  <a:cubicBezTo>
                    <a:pt x="39" y="5"/>
                    <a:pt x="35" y="5"/>
                    <a:pt x="33" y="6"/>
                  </a:cubicBezTo>
                  <a:cubicBezTo>
                    <a:pt x="29" y="7"/>
                    <a:pt x="26" y="11"/>
                    <a:pt x="22" y="12"/>
                  </a:cubicBezTo>
                  <a:cubicBezTo>
                    <a:pt x="20" y="13"/>
                    <a:pt x="18" y="10"/>
                    <a:pt x="16" y="10"/>
                  </a:cubicBezTo>
                  <a:cubicBezTo>
                    <a:pt x="14" y="10"/>
                    <a:pt x="12" y="11"/>
                    <a:pt x="11" y="10"/>
                  </a:cubicBezTo>
                  <a:cubicBezTo>
                    <a:pt x="9" y="9"/>
                    <a:pt x="9" y="6"/>
                    <a:pt x="8" y="4"/>
                  </a:cubicBezTo>
                  <a:cubicBezTo>
                    <a:pt x="7" y="3"/>
                    <a:pt x="4" y="2"/>
                    <a:pt x="3" y="1"/>
                  </a:cubicBezTo>
                  <a:cubicBezTo>
                    <a:pt x="3" y="3"/>
                    <a:pt x="1" y="5"/>
                    <a:pt x="2" y="7"/>
                  </a:cubicBezTo>
                  <a:cubicBezTo>
                    <a:pt x="2" y="9"/>
                    <a:pt x="5" y="9"/>
                    <a:pt x="5" y="11"/>
                  </a:cubicBezTo>
                  <a:cubicBezTo>
                    <a:pt x="5" y="12"/>
                    <a:pt x="2" y="12"/>
                    <a:pt x="2" y="14"/>
                  </a:cubicBezTo>
                  <a:cubicBezTo>
                    <a:pt x="1" y="15"/>
                    <a:pt x="2" y="16"/>
                    <a:pt x="2" y="18"/>
                  </a:cubicBezTo>
                  <a:cubicBezTo>
                    <a:pt x="2" y="19"/>
                    <a:pt x="1" y="20"/>
                    <a:pt x="0" y="21"/>
                  </a:cubicBezTo>
                  <a:cubicBezTo>
                    <a:pt x="3" y="21"/>
                    <a:pt x="6" y="21"/>
                    <a:pt x="9" y="21"/>
                  </a:cubicBezTo>
                  <a:cubicBezTo>
                    <a:pt x="11" y="21"/>
                    <a:pt x="14" y="20"/>
                    <a:pt x="16" y="21"/>
                  </a:cubicBezTo>
                  <a:cubicBezTo>
                    <a:pt x="17" y="22"/>
                    <a:pt x="17" y="25"/>
                    <a:pt x="18" y="27"/>
                  </a:cubicBezTo>
                  <a:cubicBezTo>
                    <a:pt x="18" y="28"/>
                    <a:pt x="18" y="31"/>
                    <a:pt x="20" y="30"/>
                  </a:cubicBezTo>
                  <a:cubicBezTo>
                    <a:pt x="22" y="30"/>
                    <a:pt x="21" y="25"/>
                    <a:pt x="23" y="25"/>
                  </a:cubicBezTo>
                  <a:cubicBezTo>
                    <a:pt x="25" y="25"/>
                    <a:pt x="24" y="29"/>
                    <a:pt x="25" y="31"/>
                  </a:cubicBezTo>
                  <a:cubicBezTo>
                    <a:pt x="26" y="33"/>
                    <a:pt x="27" y="35"/>
                    <a:pt x="29" y="35"/>
                  </a:cubicBezTo>
                  <a:cubicBezTo>
                    <a:pt x="32" y="36"/>
                    <a:pt x="36" y="35"/>
                    <a:pt x="37" y="32"/>
                  </a:cubicBezTo>
                  <a:cubicBezTo>
                    <a:pt x="38" y="30"/>
                    <a:pt x="35" y="28"/>
                    <a:pt x="34" y="26"/>
                  </a:cubicBezTo>
                  <a:cubicBezTo>
                    <a:pt x="33" y="24"/>
                    <a:pt x="30" y="23"/>
                    <a:pt x="31" y="21"/>
                  </a:cubicBezTo>
                  <a:cubicBezTo>
                    <a:pt x="31" y="19"/>
                    <a:pt x="33" y="19"/>
                    <a:pt x="35" y="19"/>
                  </a:cubicBezTo>
                  <a:cubicBezTo>
                    <a:pt x="36" y="18"/>
                    <a:pt x="38" y="17"/>
                    <a:pt x="39" y="16"/>
                  </a:cubicBezTo>
                  <a:cubicBezTo>
                    <a:pt x="40" y="14"/>
                    <a:pt x="38" y="12"/>
                    <a:pt x="39" y="11"/>
                  </a:cubicBezTo>
                  <a:cubicBezTo>
                    <a:pt x="41" y="9"/>
                    <a:pt x="45" y="8"/>
                    <a:pt x="47" y="8"/>
                  </a:cubicBezTo>
                  <a:cubicBezTo>
                    <a:pt x="50" y="9"/>
                    <a:pt x="52" y="12"/>
                    <a:pt x="54" y="13"/>
                  </a:cubicBezTo>
                  <a:cubicBezTo>
                    <a:pt x="55" y="14"/>
                    <a:pt x="57" y="14"/>
                    <a:pt x="58" y="15"/>
                  </a:cubicBezTo>
                  <a:cubicBezTo>
                    <a:pt x="59" y="17"/>
                    <a:pt x="60" y="20"/>
                    <a:pt x="60" y="22"/>
                  </a:cubicBezTo>
                  <a:cubicBezTo>
                    <a:pt x="60" y="23"/>
                    <a:pt x="58" y="22"/>
                    <a:pt x="57" y="23"/>
                  </a:cubicBezTo>
                  <a:cubicBezTo>
                    <a:pt x="57" y="25"/>
                    <a:pt x="58" y="27"/>
                    <a:pt x="59" y="29"/>
                  </a:cubicBezTo>
                  <a:cubicBezTo>
                    <a:pt x="60" y="30"/>
                    <a:pt x="62" y="32"/>
                    <a:pt x="63" y="3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4" name="Freeform 765"/>
            <p:cNvSpPr>
              <a:spLocks noChangeAspect="1"/>
            </p:cNvSpPr>
            <p:nvPr/>
          </p:nvSpPr>
          <p:spPr bwMode="auto">
            <a:xfrm>
              <a:off x="2473325" y="3886200"/>
              <a:ext cx="80963" cy="88900"/>
            </a:xfrm>
            <a:custGeom>
              <a:avLst/>
              <a:gdLst>
                <a:gd name="T0" fmla="*/ 77108 w 42"/>
                <a:gd name="T1" fmla="*/ 45396 h 47"/>
                <a:gd name="T2" fmla="*/ 75180 w 42"/>
                <a:gd name="T3" fmla="*/ 41613 h 47"/>
                <a:gd name="T4" fmla="*/ 69397 w 42"/>
                <a:gd name="T5" fmla="*/ 35938 h 47"/>
                <a:gd name="T6" fmla="*/ 57831 w 42"/>
                <a:gd name="T7" fmla="*/ 24589 h 47"/>
                <a:gd name="T8" fmla="*/ 57831 w 42"/>
                <a:gd name="T9" fmla="*/ 13240 h 47"/>
                <a:gd name="T10" fmla="*/ 55903 w 42"/>
                <a:gd name="T11" fmla="*/ 7566 h 47"/>
                <a:gd name="T12" fmla="*/ 53975 w 42"/>
                <a:gd name="T13" fmla="*/ 13240 h 47"/>
                <a:gd name="T14" fmla="*/ 40482 w 42"/>
                <a:gd name="T15" fmla="*/ 13240 h 47"/>
                <a:gd name="T16" fmla="*/ 32771 w 42"/>
                <a:gd name="T17" fmla="*/ 7566 h 47"/>
                <a:gd name="T18" fmla="*/ 25060 w 42"/>
                <a:gd name="T19" fmla="*/ 7566 h 47"/>
                <a:gd name="T20" fmla="*/ 7711 w 42"/>
                <a:gd name="T21" fmla="*/ 0 h 47"/>
                <a:gd name="T22" fmla="*/ 5783 w 42"/>
                <a:gd name="T23" fmla="*/ 0 h 47"/>
                <a:gd name="T24" fmla="*/ 1928 w 42"/>
                <a:gd name="T25" fmla="*/ 1891 h 47"/>
                <a:gd name="T26" fmla="*/ 0 w 42"/>
                <a:gd name="T27" fmla="*/ 7566 h 47"/>
                <a:gd name="T28" fmla="*/ 1928 w 42"/>
                <a:gd name="T29" fmla="*/ 13240 h 47"/>
                <a:gd name="T30" fmla="*/ 1928 w 42"/>
                <a:gd name="T31" fmla="*/ 18915 h 47"/>
                <a:gd name="T32" fmla="*/ 0 w 42"/>
                <a:gd name="T33" fmla="*/ 30264 h 47"/>
                <a:gd name="T34" fmla="*/ 1928 w 42"/>
                <a:gd name="T35" fmla="*/ 35938 h 47"/>
                <a:gd name="T36" fmla="*/ 11566 w 42"/>
                <a:gd name="T37" fmla="*/ 41613 h 47"/>
                <a:gd name="T38" fmla="*/ 19277 w 42"/>
                <a:gd name="T39" fmla="*/ 43504 h 47"/>
                <a:gd name="T40" fmla="*/ 19277 w 42"/>
                <a:gd name="T41" fmla="*/ 39721 h 47"/>
                <a:gd name="T42" fmla="*/ 15422 w 42"/>
                <a:gd name="T43" fmla="*/ 30264 h 47"/>
                <a:gd name="T44" fmla="*/ 17349 w 42"/>
                <a:gd name="T45" fmla="*/ 28372 h 47"/>
                <a:gd name="T46" fmla="*/ 25060 w 42"/>
                <a:gd name="T47" fmla="*/ 35938 h 47"/>
                <a:gd name="T48" fmla="*/ 28915 w 42"/>
                <a:gd name="T49" fmla="*/ 45396 h 47"/>
                <a:gd name="T50" fmla="*/ 44337 w 42"/>
                <a:gd name="T51" fmla="*/ 51070 h 47"/>
                <a:gd name="T52" fmla="*/ 53975 w 42"/>
                <a:gd name="T53" fmla="*/ 60528 h 47"/>
                <a:gd name="T54" fmla="*/ 53975 w 42"/>
                <a:gd name="T55" fmla="*/ 73768 h 47"/>
                <a:gd name="T56" fmla="*/ 61686 w 42"/>
                <a:gd name="T57" fmla="*/ 79443 h 47"/>
                <a:gd name="T58" fmla="*/ 57831 w 42"/>
                <a:gd name="T59" fmla="*/ 73768 h 47"/>
                <a:gd name="T60" fmla="*/ 57831 w 42"/>
                <a:gd name="T61" fmla="*/ 68094 h 47"/>
                <a:gd name="T62" fmla="*/ 63614 w 42"/>
                <a:gd name="T63" fmla="*/ 73768 h 47"/>
                <a:gd name="T64" fmla="*/ 71325 w 42"/>
                <a:gd name="T65" fmla="*/ 87009 h 47"/>
                <a:gd name="T66" fmla="*/ 71325 w 42"/>
                <a:gd name="T67" fmla="*/ 83226 h 47"/>
                <a:gd name="T68" fmla="*/ 75180 w 42"/>
                <a:gd name="T69" fmla="*/ 77551 h 47"/>
                <a:gd name="T70" fmla="*/ 75180 w 42"/>
                <a:gd name="T71" fmla="*/ 69985 h 47"/>
                <a:gd name="T72" fmla="*/ 80963 w 42"/>
                <a:gd name="T73" fmla="*/ 64311 h 47"/>
                <a:gd name="T74" fmla="*/ 75180 w 42"/>
                <a:gd name="T75" fmla="*/ 56745 h 47"/>
                <a:gd name="T76" fmla="*/ 77108 w 42"/>
                <a:gd name="T77" fmla="*/ 45396 h 4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2"/>
                <a:gd name="T118" fmla="*/ 0 h 47"/>
                <a:gd name="T119" fmla="*/ 42 w 42"/>
                <a:gd name="T120" fmla="*/ 47 h 4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2" h="47">
                  <a:moveTo>
                    <a:pt x="40" y="24"/>
                  </a:moveTo>
                  <a:cubicBezTo>
                    <a:pt x="40" y="23"/>
                    <a:pt x="40" y="23"/>
                    <a:pt x="39" y="22"/>
                  </a:cubicBezTo>
                  <a:cubicBezTo>
                    <a:pt x="38" y="21"/>
                    <a:pt x="37" y="20"/>
                    <a:pt x="36" y="19"/>
                  </a:cubicBezTo>
                  <a:cubicBezTo>
                    <a:pt x="34" y="17"/>
                    <a:pt x="31" y="15"/>
                    <a:pt x="30" y="13"/>
                  </a:cubicBezTo>
                  <a:cubicBezTo>
                    <a:pt x="29" y="11"/>
                    <a:pt x="30" y="9"/>
                    <a:pt x="30" y="7"/>
                  </a:cubicBezTo>
                  <a:cubicBezTo>
                    <a:pt x="30" y="6"/>
                    <a:pt x="29" y="5"/>
                    <a:pt x="29" y="4"/>
                  </a:cubicBezTo>
                  <a:cubicBezTo>
                    <a:pt x="29" y="5"/>
                    <a:pt x="29" y="7"/>
                    <a:pt x="28" y="7"/>
                  </a:cubicBezTo>
                  <a:cubicBezTo>
                    <a:pt x="26" y="8"/>
                    <a:pt x="23" y="8"/>
                    <a:pt x="21" y="7"/>
                  </a:cubicBezTo>
                  <a:cubicBezTo>
                    <a:pt x="19" y="7"/>
                    <a:pt x="19" y="4"/>
                    <a:pt x="17" y="4"/>
                  </a:cubicBezTo>
                  <a:cubicBezTo>
                    <a:pt x="16" y="3"/>
                    <a:pt x="14" y="4"/>
                    <a:pt x="13" y="4"/>
                  </a:cubicBezTo>
                  <a:cubicBezTo>
                    <a:pt x="9" y="3"/>
                    <a:pt x="8" y="0"/>
                    <a:pt x="4" y="0"/>
                  </a:cubicBezTo>
                  <a:lnTo>
                    <a:pt x="3" y="0"/>
                  </a:lnTo>
                  <a:cubicBezTo>
                    <a:pt x="2" y="0"/>
                    <a:pt x="2" y="1"/>
                    <a:pt x="1" y="1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1" y="8"/>
                    <a:pt x="1" y="9"/>
                    <a:pt x="1" y="10"/>
                  </a:cubicBezTo>
                  <a:cubicBezTo>
                    <a:pt x="1" y="12"/>
                    <a:pt x="0" y="14"/>
                    <a:pt x="0" y="16"/>
                  </a:cubicBezTo>
                  <a:cubicBezTo>
                    <a:pt x="0" y="17"/>
                    <a:pt x="0" y="18"/>
                    <a:pt x="1" y="19"/>
                  </a:cubicBezTo>
                  <a:cubicBezTo>
                    <a:pt x="3" y="20"/>
                    <a:pt x="4" y="21"/>
                    <a:pt x="6" y="22"/>
                  </a:cubicBezTo>
                  <a:cubicBezTo>
                    <a:pt x="7" y="23"/>
                    <a:pt x="9" y="24"/>
                    <a:pt x="10" y="23"/>
                  </a:cubicBezTo>
                  <a:cubicBezTo>
                    <a:pt x="11" y="23"/>
                    <a:pt x="10" y="22"/>
                    <a:pt x="10" y="21"/>
                  </a:cubicBezTo>
                  <a:cubicBezTo>
                    <a:pt x="10" y="19"/>
                    <a:pt x="8" y="18"/>
                    <a:pt x="8" y="16"/>
                  </a:cubicBezTo>
                  <a:cubicBezTo>
                    <a:pt x="8" y="15"/>
                    <a:pt x="9" y="15"/>
                    <a:pt x="9" y="15"/>
                  </a:cubicBezTo>
                  <a:cubicBezTo>
                    <a:pt x="11" y="16"/>
                    <a:pt x="12" y="18"/>
                    <a:pt x="13" y="19"/>
                  </a:cubicBezTo>
                  <a:cubicBezTo>
                    <a:pt x="14" y="21"/>
                    <a:pt x="13" y="23"/>
                    <a:pt x="15" y="24"/>
                  </a:cubicBezTo>
                  <a:cubicBezTo>
                    <a:pt x="17" y="26"/>
                    <a:pt x="21" y="25"/>
                    <a:pt x="23" y="27"/>
                  </a:cubicBezTo>
                  <a:cubicBezTo>
                    <a:pt x="25" y="28"/>
                    <a:pt x="27" y="30"/>
                    <a:pt x="28" y="32"/>
                  </a:cubicBezTo>
                  <a:cubicBezTo>
                    <a:pt x="28" y="34"/>
                    <a:pt x="27" y="37"/>
                    <a:pt x="28" y="39"/>
                  </a:cubicBezTo>
                  <a:cubicBezTo>
                    <a:pt x="28" y="41"/>
                    <a:pt x="31" y="42"/>
                    <a:pt x="32" y="42"/>
                  </a:cubicBezTo>
                  <a:cubicBezTo>
                    <a:pt x="34" y="42"/>
                    <a:pt x="31" y="40"/>
                    <a:pt x="30" y="39"/>
                  </a:cubicBezTo>
                  <a:cubicBezTo>
                    <a:pt x="30" y="38"/>
                    <a:pt x="29" y="36"/>
                    <a:pt x="30" y="36"/>
                  </a:cubicBezTo>
                  <a:cubicBezTo>
                    <a:pt x="32" y="36"/>
                    <a:pt x="32" y="38"/>
                    <a:pt x="33" y="39"/>
                  </a:cubicBezTo>
                  <a:cubicBezTo>
                    <a:pt x="35" y="41"/>
                    <a:pt x="35" y="44"/>
                    <a:pt x="37" y="46"/>
                  </a:cubicBezTo>
                  <a:cubicBezTo>
                    <a:pt x="37" y="47"/>
                    <a:pt x="37" y="44"/>
                    <a:pt x="37" y="44"/>
                  </a:cubicBezTo>
                  <a:cubicBezTo>
                    <a:pt x="38" y="43"/>
                    <a:pt x="39" y="42"/>
                    <a:pt x="39" y="41"/>
                  </a:cubicBezTo>
                  <a:cubicBezTo>
                    <a:pt x="39" y="39"/>
                    <a:pt x="38" y="38"/>
                    <a:pt x="39" y="37"/>
                  </a:cubicBezTo>
                  <a:cubicBezTo>
                    <a:pt x="39" y="35"/>
                    <a:pt x="42" y="35"/>
                    <a:pt x="42" y="34"/>
                  </a:cubicBezTo>
                  <a:cubicBezTo>
                    <a:pt x="42" y="32"/>
                    <a:pt x="39" y="32"/>
                    <a:pt x="39" y="30"/>
                  </a:cubicBezTo>
                  <a:cubicBezTo>
                    <a:pt x="38" y="28"/>
                    <a:pt x="40" y="26"/>
                    <a:pt x="40" y="2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5" name="Freeform 766"/>
            <p:cNvSpPr>
              <a:spLocks noChangeAspect="1"/>
            </p:cNvSpPr>
            <p:nvPr/>
          </p:nvSpPr>
          <p:spPr bwMode="auto">
            <a:xfrm>
              <a:off x="2636838" y="3851275"/>
              <a:ext cx="290512" cy="458788"/>
            </a:xfrm>
            <a:custGeom>
              <a:avLst/>
              <a:gdLst>
                <a:gd name="T0" fmla="*/ 51604 w 152"/>
                <a:gd name="T1" fmla="*/ 127547 h 241"/>
                <a:gd name="T2" fmla="*/ 64983 w 152"/>
                <a:gd name="T3" fmla="*/ 102799 h 241"/>
                <a:gd name="T4" fmla="*/ 80273 w 152"/>
                <a:gd name="T5" fmla="*/ 79955 h 241"/>
                <a:gd name="T6" fmla="*/ 97474 w 152"/>
                <a:gd name="T7" fmla="*/ 45688 h 241"/>
                <a:gd name="T8" fmla="*/ 116587 w 152"/>
                <a:gd name="T9" fmla="*/ 41881 h 241"/>
                <a:gd name="T10" fmla="*/ 150990 w 152"/>
                <a:gd name="T11" fmla="*/ 28555 h 241"/>
                <a:gd name="T12" fmla="*/ 173925 w 152"/>
                <a:gd name="T13" fmla="*/ 9518 h 241"/>
                <a:gd name="T14" fmla="*/ 193038 w 152"/>
                <a:gd name="T15" fmla="*/ 13326 h 241"/>
                <a:gd name="T16" fmla="*/ 164369 w 152"/>
                <a:gd name="T17" fmla="*/ 38074 h 241"/>
                <a:gd name="T18" fmla="*/ 135700 w 152"/>
                <a:gd name="T19" fmla="*/ 93281 h 241"/>
                <a:gd name="T20" fmla="*/ 154812 w 152"/>
                <a:gd name="T21" fmla="*/ 95184 h 241"/>
                <a:gd name="T22" fmla="*/ 164369 w 152"/>
                <a:gd name="T23" fmla="*/ 142776 h 241"/>
                <a:gd name="T24" fmla="*/ 193038 w 152"/>
                <a:gd name="T25" fmla="*/ 148487 h 241"/>
                <a:gd name="T26" fmla="*/ 215973 w 152"/>
                <a:gd name="T27" fmla="*/ 152295 h 241"/>
                <a:gd name="T28" fmla="*/ 242730 w 152"/>
                <a:gd name="T29" fmla="*/ 173235 h 241"/>
                <a:gd name="T30" fmla="*/ 277133 w 152"/>
                <a:gd name="T31" fmla="*/ 173235 h 241"/>
                <a:gd name="T32" fmla="*/ 271399 w 152"/>
                <a:gd name="T33" fmla="*/ 203694 h 241"/>
                <a:gd name="T34" fmla="*/ 273311 w 152"/>
                <a:gd name="T35" fmla="*/ 236057 h 241"/>
                <a:gd name="T36" fmla="*/ 265666 w 152"/>
                <a:gd name="T37" fmla="*/ 262709 h 241"/>
                <a:gd name="T38" fmla="*/ 290512 w 152"/>
                <a:gd name="T39" fmla="*/ 304590 h 241"/>
                <a:gd name="T40" fmla="*/ 273311 w 152"/>
                <a:gd name="T41" fmla="*/ 281745 h 241"/>
                <a:gd name="T42" fmla="*/ 258021 w 152"/>
                <a:gd name="T43" fmla="*/ 291264 h 241"/>
                <a:gd name="T44" fmla="*/ 231263 w 152"/>
                <a:gd name="T45" fmla="*/ 308397 h 241"/>
                <a:gd name="T46" fmla="*/ 221706 w 152"/>
                <a:gd name="T47" fmla="*/ 319819 h 241"/>
                <a:gd name="T48" fmla="*/ 225529 w 152"/>
                <a:gd name="T49" fmla="*/ 357893 h 241"/>
                <a:gd name="T50" fmla="*/ 219795 w 152"/>
                <a:gd name="T51" fmla="*/ 458788 h 241"/>
                <a:gd name="T52" fmla="*/ 212150 w 152"/>
                <a:gd name="T53" fmla="*/ 439751 h 241"/>
                <a:gd name="T54" fmla="*/ 208328 w 152"/>
                <a:gd name="T55" fmla="*/ 409292 h 241"/>
                <a:gd name="T56" fmla="*/ 183481 w 152"/>
                <a:gd name="T57" fmla="*/ 405485 h 241"/>
                <a:gd name="T58" fmla="*/ 147167 w 152"/>
                <a:gd name="T59" fmla="*/ 403581 h 241"/>
                <a:gd name="T60" fmla="*/ 139522 w 152"/>
                <a:gd name="T61" fmla="*/ 386448 h 241"/>
                <a:gd name="T62" fmla="*/ 112765 w 152"/>
                <a:gd name="T63" fmla="*/ 369315 h 241"/>
                <a:gd name="T64" fmla="*/ 91741 w 152"/>
                <a:gd name="T65" fmla="*/ 342663 h 241"/>
                <a:gd name="T66" fmla="*/ 61160 w 152"/>
                <a:gd name="T67" fmla="*/ 327434 h 241"/>
                <a:gd name="T68" fmla="*/ 43959 w 152"/>
                <a:gd name="T69" fmla="*/ 327434 h 241"/>
                <a:gd name="T70" fmla="*/ 21024 w 152"/>
                <a:gd name="T71" fmla="*/ 314108 h 241"/>
                <a:gd name="T72" fmla="*/ 1911 w 152"/>
                <a:gd name="T73" fmla="*/ 295071 h 241"/>
                <a:gd name="T74" fmla="*/ 5734 w 152"/>
                <a:gd name="T75" fmla="*/ 279842 h 241"/>
                <a:gd name="T76" fmla="*/ 30580 w 152"/>
                <a:gd name="T77" fmla="*/ 266516 h 241"/>
                <a:gd name="T78" fmla="*/ 45870 w 152"/>
                <a:gd name="T79" fmla="*/ 236057 h 241"/>
                <a:gd name="T80" fmla="*/ 32491 w 152"/>
                <a:gd name="T81" fmla="*/ 222731 h 241"/>
                <a:gd name="T82" fmla="*/ 32491 w 152"/>
                <a:gd name="T83" fmla="*/ 192272 h 241"/>
                <a:gd name="T84" fmla="*/ 40137 w 152"/>
                <a:gd name="T85" fmla="*/ 165621 h 241"/>
                <a:gd name="T86" fmla="*/ 26758 w 152"/>
                <a:gd name="T87" fmla="*/ 140873 h 241"/>
                <a:gd name="T88" fmla="*/ 40137 w 152"/>
                <a:gd name="T89" fmla="*/ 119932 h 24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2"/>
                <a:gd name="T136" fmla="*/ 0 h 241"/>
                <a:gd name="T137" fmla="*/ 152 w 152"/>
                <a:gd name="T138" fmla="*/ 241 h 24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2" h="241">
                  <a:moveTo>
                    <a:pt x="21" y="56"/>
                  </a:moveTo>
                  <a:cubicBezTo>
                    <a:pt x="22" y="58"/>
                    <a:pt x="26" y="61"/>
                    <a:pt x="27" y="63"/>
                  </a:cubicBezTo>
                  <a:cubicBezTo>
                    <a:pt x="27" y="64"/>
                    <a:pt x="26" y="66"/>
                    <a:pt x="27" y="67"/>
                  </a:cubicBezTo>
                  <a:cubicBezTo>
                    <a:pt x="27" y="68"/>
                    <a:pt x="29" y="68"/>
                    <a:pt x="29" y="67"/>
                  </a:cubicBezTo>
                  <a:cubicBezTo>
                    <a:pt x="30" y="64"/>
                    <a:pt x="27" y="61"/>
                    <a:pt x="28" y="58"/>
                  </a:cubicBezTo>
                  <a:cubicBezTo>
                    <a:pt x="29" y="56"/>
                    <a:pt x="32" y="56"/>
                    <a:pt x="34" y="54"/>
                  </a:cubicBezTo>
                  <a:cubicBezTo>
                    <a:pt x="36" y="52"/>
                    <a:pt x="36" y="49"/>
                    <a:pt x="38" y="48"/>
                  </a:cubicBezTo>
                  <a:cubicBezTo>
                    <a:pt x="40" y="46"/>
                    <a:pt x="42" y="48"/>
                    <a:pt x="44" y="46"/>
                  </a:cubicBezTo>
                  <a:cubicBezTo>
                    <a:pt x="44" y="45"/>
                    <a:pt x="42" y="43"/>
                    <a:pt x="42" y="42"/>
                  </a:cubicBezTo>
                  <a:cubicBezTo>
                    <a:pt x="43" y="38"/>
                    <a:pt x="44" y="35"/>
                    <a:pt x="44" y="31"/>
                  </a:cubicBezTo>
                  <a:cubicBezTo>
                    <a:pt x="44" y="31"/>
                    <a:pt x="43" y="30"/>
                    <a:pt x="44" y="29"/>
                  </a:cubicBezTo>
                  <a:cubicBezTo>
                    <a:pt x="46" y="27"/>
                    <a:pt x="49" y="26"/>
                    <a:pt x="51" y="24"/>
                  </a:cubicBezTo>
                  <a:cubicBezTo>
                    <a:pt x="53" y="23"/>
                    <a:pt x="54" y="20"/>
                    <a:pt x="57" y="20"/>
                  </a:cubicBezTo>
                  <a:cubicBezTo>
                    <a:pt x="58" y="20"/>
                    <a:pt x="58" y="23"/>
                    <a:pt x="60" y="24"/>
                  </a:cubicBezTo>
                  <a:cubicBezTo>
                    <a:pt x="61" y="24"/>
                    <a:pt x="61" y="23"/>
                    <a:pt x="61" y="22"/>
                  </a:cubicBezTo>
                  <a:cubicBezTo>
                    <a:pt x="62" y="20"/>
                    <a:pt x="62" y="17"/>
                    <a:pt x="64" y="16"/>
                  </a:cubicBezTo>
                  <a:cubicBezTo>
                    <a:pt x="66" y="15"/>
                    <a:pt x="69" y="17"/>
                    <a:pt x="71" y="17"/>
                  </a:cubicBezTo>
                  <a:cubicBezTo>
                    <a:pt x="74" y="17"/>
                    <a:pt x="77" y="16"/>
                    <a:pt x="79" y="15"/>
                  </a:cubicBezTo>
                  <a:cubicBezTo>
                    <a:pt x="83" y="13"/>
                    <a:pt x="86" y="11"/>
                    <a:pt x="88" y="8"/>
                  </a:cubicBezTo>
                  <a:cubicBezTo>
                    <a:pt x="89" y="7"/>
                    <a:pt x="87" y="4"/>
                    <a:pt x="88" y="3"/>
                  </a:cubicBezTo>
                  <a:cubicBezTo>
                    <a:pt x="89" y="2"/>
                    <a:pt x="90" y="5"/>
                    <a:pt x="91" y="5"/>
                  </a:cubicBezTo>
                  <a:cubicBezTo>
                    <a:pt x="93" y="4"/>
                    <a:pt x="94" y="1"/>
                    <a:pt x="96" y="0"/>
                  </a:cubicBezTo>
                  <a:cubicBezTo>
                    <a:pt x="97" y="0"/>
                    <a:pt x="99" y="0"/>
                    <a:pt x="99" y="1"/>
                  </a:cubicBezTo>
                  <a:cubicBezTo>
                    <a:pt x="101" y="2"/>
                    <a:pt x="101" y="5"/>
                    <a:pt x="101" y="7"/>
                  </a:cubicBezTo>
                  <a:cubicBezTo>
                    <a:pt x="101" y="8"/>
                    <a:pt x="100" y="7"/>
                    <a:pt x="99" y="8"/>
                  </a:cubicBezTo>
                  <a:cubicBezTo>
                    <a:pt x="96" y="9"/>
                    <a:pt x="92" y="9"/>
                    <a:pt x="89" y="12"/>
                  </a:cubicBezTo>
                  <a:cubicBezTo>
                    <a:pt x="87" y="14"/>
                    <a:pt x="87" y="17"/>
                    <a:pt x="86" y="20"/>
                  </a:cubicBezTo>
                  <a:cubicBezTo>
                    <a:pt x="84" y="24"/>
                    <a:pt x="80" y="26"/>
                    <a:pt x="78" y="31"/>
                  </a:cubicBezTo>
                  <a:cubicBezTo>
                    <a:pt x="77" y="33"/>
                    <a:pt x="79" y="37"/>
                    <a:pt x="78" y="39"/>
                  </a:cubicBezTo>
                  <a:cubicBezTo>
                    <a:pt x="76" y="43"/>
                    <a:pt x="72" y="45"/>
                    <a:pt x="71" y="49"/>
                  </a:cubicBezTo>
                  <a:cubicBezTo>
                    <a:pt x="71" y="50"/>
                    <a:pt x="72" y="51"/>
                    <a:pt x="73" y="51"/>
                  </a:cubicBezTo>
                  <a:cubicBezTo>
                    <a:pt x="74" y="51"/>
                    <a:pt x="75" y="49"/>
                    <a:pt x="76" y="49"/>
                  </a:cubicBezTo>
                  <a:cubicBezTo>
                    <a:pt x="77" y="48"/>
                    <a:pt x="79" y="49"/>
                    <a:pt x="81" y="50"/>
                  </a:cubicBezTo>
                  <a:cubicBezTo>
                    <a:pt x="83" y="52"/>
                    <a:pt x="83" y="55"/>
                    <a:pt x="84" y="58"/>
                  </a:cubicBezTo>
                  <a:cubicBezTo>
                    <a:pt x="85" y="62"/>
                    <a:pt x="83" y="65"/>
                    <a:pt x="84" y="69"/>
                  </a:cubicBezTo>
                  <a:cubicBezTo>
                    <a:pt x="84" y="71"/>
                    <a:pt x="85" y="73"/>
                    <a:pt x="86" y="75"/>
                  </a:cubicBezTo>
                  <a:cubicBezTo>
                    <a:pt x="87" y="76"/>
                    <a:pt x="87" y="78"/>
                    <a:pt x="88" y="78"/>
                  </a:cubicBezTo>
                  <a:cubicBezTo>
                    <a:pt x="91" y="78"/>
                    <a:pt x="94" y="77"/>
                    <a:pt x="96" y="77"/>
                  </a:cubicBezTo>
                  <a:cubicBezTo>
                    <a:pt x="98" y="77"/>
                    <a:pt x="100" y="78"/>
                    <a:pt x="101" y="78"/>
                  </a:cubicBezTo>
                  <a:cubicBezTo>
                    <a:pt x="103" y="78"/>
                    <a:pt x="104" y="76"/>
                    <a:pt x="106" y="76"/>
                  </a:cubicBezTo>
                  <a:cubicBezTo>
                    <a:pt x="108" y="76"/>
                    <a:pt x="107" y="79"/>
                    <a:pt x="108" y="80"/>
                  </a:cubicBezTo>
                  <a:cubicBezTo>
                    <a:pt x="110" y="81"/>
                    <a:pt x="112" y="79"/>
                    <a:pt x="113" y="80"/>
                  </a:cubicBezTo>
                  <a:cubicBezTo>
                    <a:pt x="116" y="83"/>
                    <a:pt x="118" y="88"/>
                    <a:pt x="121" y="91"/>
                  </a:cubicBezTo>
                  <a:cubicBezTo>
                    <a:pt x="122" y="92"/>
                    <a:pt x="123" y="90"/>
                    <a:pt x="125" y="90"/>
                  </a:cubicBezTo>
                  <a:cubicBezTo>
                    <a:pt x="125" y="90"/>
                    <a:pt x="126" y="91"/>
                    <a:pt x="127" y="91"/>
                  </a:cubicBezTo>
                  <a:cubicBezTo>
                    <a:pt x="129" y="91"/>
                    <a:pt x="130" y="91"/>
                    <a:pt x="132" y="91"/>
                  </a:cubicBezTo>
                  <a:cubicBezTo>
                    <a:pt x="136" y="91"/>
                    <a:pt x="139" y="90"/>
                    <a:pt x="142" y="90"/>
                  </a:cubicBezTo>
                  <a:cubicBezTo>
                    <a:pt x="143" y="90"/>
                    <a:pt x="145" y="90"/>
                    <a:pt x="145" y="91"/>
                  </a:cubicBezTo>
                  <a:cubicBezTo>
                    <a:pt x="146" y="94"/>
                    <a:pt x="146" y="98"/>
                    <a:pt x="145" y="101"/>
                  </a:cubicBezTo>
                  <a:cubicBezTo>
                    <a:pt x="144" y="102"/>
                    <a:pt x="141" y="102"/>
                    <a:pt x="141" y="104"/>
                  </a:cubicBezTo>
                  <a:cubicBezTo>
                    <a:pt x="140" y="105"/>
                    <a:pt x="142" y="106"/>
                    <a:pt x="142" y="107"/>
                  </a:cubicBezTo>
                  <a:cubicBezTo>
                    <a:pt x="141" y="109"/>
                    <a:pt x="139" y="111"/>
                    <a:pt x="139" y="113"/>
                  </a:cubicBezTo>
                  <a:cubicBezTo>
                    <a:pt x="140" y="115"/>
                    <a:pt x="143" y="116"/>
                    <a:pt x="143" y="118"/>
                  </a:cubicBezTo>
                  <a:cubicBezTo>
                    <a:pt x="144" y="120"/>
                    <a:pt x="143" y="122"/>
                    <a:pt x="143" y="124"/>
                  </a:cubicBezTo>
                  <a:cubicBezTo>
                    <a:pt x="143" y="124"/>
                    <a:pt x="145" y="124"/>
                    <a:pt x="145" y="124"/>
                  </a:cubicBezTo>
                  <a:cubicBezTo>
                    <a:pt x="146" y="126"/>
                    <a:pt x="146" y="129"/>
                    <a:pt x="145" y="131"/>
                  </a:cubicBezTo>
                  <a:cubicBezTo>
                    <a:pt x="144" y="134"/>
                    <a:pt x="140" y="135"/>
                    <a:pt x="139" y="138"/>
                  </a:cubicBezTo>
                  <a:cubicBezTo>
                    <a:pt x="139" y="140"/>
                    <a:pt x="143" y="140"/>
                    <a:pt x="144" y="142"/>
                  </a:cubicBezTo>
                  <a:cubicBezTo>
                    <a:pt x="146" y="143"/>
                    <a:pt x="146" y="145"/>
                    <a:pt x="147" y="146"/>
                  </a:cubicBezTo>
                  <a:cubicBezTo>
                    <a:pt x="149" y="151"/>
                    <a:pt x="150" y="155"/>
                    <a:pt x="152" y="160"/>
                  </a:cubicBezTo>
                  <a:cubicBezTo>
                    <a:pt x="151" y="161"/>
                    <a:pt x="151" y="162"/>
                    <a:pt x="150" y="163"/>
                  </a:cubicBezTo>
                  <a:cubicBezTo>
                    <a:pt x="148" y="159"/>
                    <a:pt x="147" y="155"/>
                    <a:pt x="145" y="151"/>
                  </a:cubicBezTo>
                  <a:cubicBezTo>
                    <a:pt x="144" y="150"/>
                    <a:pt x="144" y="147"/>
                    <a:pt x="143" y="148"/>
                  </a:cubicBezTo>
                  <a:cubicBezTo>
                    <a:pt x="141" y="148"/>
                    <a:pt x="141" y="151"/>
                    <a:pt x="140" y="153"/>
                  </a:cubicBezTo>
                  <a:cubicBezTo>
                    <a:pt x="138" y="152"/>
                    <a:pt x="137" y="151"/>
                    <a:pt x="136" y="151"/>
                  </a:cubicBezTo>
                  <a:cubicBezTo>
                    <a:pt x="135" y="151"/>
                    <a:pt x="135" y="152"/>
                    <a:pt x="135" y="153"/>
                  </a:cubicBezTo>
                  <a:cubicBezTo>
                    <a:pt x="129" y="153"/>
                    <a:pt x="123" y="154"/>
                    <a:pt x="117" y="154"/>
                  </a:cubicBezTo>
                  <a:cubicBezTo>
                    <a:pt x="117" y="157"/>
                    <a:pt x="117" y="159"/>
                    <a:pt x="118" y="162"/>
                  </a:cubicBezTo>
                  <a:cubicBezTo>
                    <a:pt x="119" y="162"/>
                    <a:pt x="120" y="161"/>
                    <a:pt x="121" y="162"/>
                  </a:cubicBezTo>
                  <a:cubicBezTo>
                    <a:pt x="122" y="163"/>
                    <a:pt x="122" y="164"/>
                    <a:pt x="123" y="166"/>
                  </a:cubicBezTo>
                  <a:cubicBezTo>
                    <a:pt x="123" y="167"/>
                    <a:pt x="124" y="168"/>
                    <a:pt x="123" y="168"/>
                  </a:cubicBezTo>
                  <a:cubicBezTo>
                    <a:pt x="121" y="169"/>
                    <a:pt x="119" y="168"/>
                    <a:pt x="116" y="168"/>
                  </a:cubicBezTo>
                  <a:cubicBezTo>
                    <a:pt x="115" y="169"/>
                    <a:pt x="114" y="169"/>
                    <a:pt x="113" y="170"/>
                  </a:cubicBezTo>
                  <a:cubicBezTo>
                    <a:pt x="113" y="175"/>
                    <a:pt x="113" y="180"/>
                    <a:pt x="113" y="185"/>
                  </a:cubicBezTo>
                  <a:cubicBezTo>
                    <a:pt x="114" y="186"/>
                    <a:pt x="116" y="187"/>
                    <a:pt x="118" y="188"/>
                  </a:cubicBezTo>
                  <a:cubicBezTo>
                    <a:pt x="119" y="190"/>
                    <a:pt x="121" y="191"/>
                    <a:pt x="123" y="193"/>
                  </a:cubicBezTo>
                  <a:cubicBezTo>
                    <a:pt x="122" y="195"/>
                    <a:pt x="122" y="197"/>
                    <a:pt x="121" y="200"/>
                  </a:cubicBezTo>
                  <a:cubicBezTo>
                    <a:pt x="119" y="213"/>
                    <a:pt x="117" y="228"/>
                    <a:pt x="115" y="241"/>
                  </a:cubicBezTo>
                  <a:cubicBezTo>
                    <a:pt x="115" y="239"/>
                    <a:pt x="115" y="238"/>
                    <a:pt x="114" y="236"/>
                  </a:cubicBezTo>
                  <a:cubicBezTo>
                    <a:pt x="113" y="235"/>
                    <a:pt x="111" y="234"/>
                    <a:pt x="111" y="233"/>
                  </a:cubicBezTo>
                  <a:cubicBezTo>
                    <a:pt x="110" y="232"/>
                    <a:pt x="112" y="231"/>
                    <a:pt x="111" y="231"/>
                  </a:cubicBezTo>
                  <a:cubicBezTo>
                    <a:pt x="110" y="230"/>
                    <a:pt x="107" y="232"/>
                    <a:pt x="107" y="230"/>
                  </a:cubicBezTo>
                  <a:cubicBezTo>
                    <a:pt x="108" y="225"/>
                    <a:pt x="112" y="221"/>
                    <a:pt x="113" y="215"/>
                  </a:cubicBezTo>
                  <a:cubicBezTo>
                    <a:pt x="113" y="214"/>
                    <a:pt x="110" y="216"/>
                    <a:pt x="109" y="215"/>
                  </a:cubicBezTo>
                  <a:cubicBezTo>
                    <a:pt x="108" y="214"/>
                    <a:pt x="110" y="212"/>
                    <a:pt x="109" y="211"/>
                  </a:cubicBezTo>
                  <a:cubicBezTo>
                    <a:pt x="107" y="210"/>
                    <a:pt x="104" y="210"/>
                    <a:pt x="102" y="210"/>
                  </a:cubicBezTo>
                  <a:cubicBezTo>
                    <a:pt x="100" y="211"/>
                    <a:pt x="98" y="213"/>
                    <a:pt x="96" y="213"/>
                  </a:cubicBezTo>
                  <a:cubicBezTo>
                    <a:pt x="95" y="213"/>
                    <a:pt x="94" y="210"/>
                    <a:pt x="92" y="210"/>
                  </a:cubicBezTo>
                  <a:cubicBezTo>
                    <a:pt x="89" y="210"/>
                    <a:pt x="87" y="212"/>
                    <a:pt x="85" y="213"/>
                  </a:cubicBezTo>
                  <a:cubicBezTo>
                    <a:pt x="82" y="213"/>
                    <a:pt x="80" y="213"/>
                    <a:pt x="77" y="212"/>
                  </a:cubicBezTo>
                  <a:cubicBezTo>
                    <a:pt x="75" y="212"/>
                    <a:pt x="72" y="212"/>
                    <a:pt x="72" y="211"/>
                  </a:cubicBezTo>
                  <a:cubicBezTo>
                    <a:pt x="71" y="209"/>
                    <a:pt x="73" y="208"/>
                    <a:pt x="73" y="207"/>
                  </a:cubicBezTo>
                  <a:cubicBezTo>
                    <a:pt x="74" y="205"/>
                    <a:pt x="74" y="204"/>
                    <a:pt x="73" y="203"/>
                  </a:cubicBezTo>
                  <a:cubicBezTo>
                    <a:pt x="72" y="202"/>
                    <a:pt x="71" y="205"/>
                    <a:pt x="71" y="204"/>
                  </a:cubicBezTo>
                  <a:cubicBezTo>
                    <a:pt x="69" y="202"/>
                    <a:pt x="68" y="199"/>
                    <a:pt x="66" y="197"/>
                  </a:cubicBezTo>
                  <a:cubicBezTo>
                    <a:pt x="64" y="196"/>
                    <a:pt x="61" y="196"/>
                    <a:pt x="59" y="194"/>
                  </a:cubicBezTo>
                  <a:cubicBezTo>
                    <a:pt x="57" y="193"/>
                    <a:pt x="58" y="190"/>
                    <a:pt x="57" y="188"/>
                  </a:cubicBezTo>
                  <a:cubicBezTo>
                    <a:pt x="55" y="186"/>
                    <a:pt x="53" y="184"/>
                    <a:pt x="51" y="182"/>
                  </a:cubicBezTo>
                  <a:cubicBezTo>
                    <a:pt x="50" y="181"/>
                    <a:pt x="49" y="180"/>
                    <a:pt x="48" y="180"/>
                  </a:cubicBezTo>
                  <a:cubicBezTo>
                    <a:pt x="47" y="179"/>
                    <a:pt x="45" y="179"/>
                    <a:pt x="44" y="179"/>
                  </a:cubicBezTo>
                  <a:lnTo>
                    <a:pt x="36" y="173"/>
                  </a:lnTo>
                  <a:lnTo>
                    <a:pt x="32" y="172"/>
                  </a:lnTo>
                  <a:lnTo>
                    <a:pt x="31" y="174"/>
                  </a:lnTo>
                  <a:lnTo>
                    <a:pt x="27" y="174"/>
                  </a:lnTo>
                  <a:lnTo>
                    <a:pt x="23" y="172"/>
                  </a:lnTo>
                  <a:lnTo>
                    <a:pt x="19" y="172"/>
                  </a:lnTo>
                  <a:lnTo>
                    <a:pt x="16" y="168"/>
                  </a:lnTo>
                  <a:lnTo>
                    <a:pt x="11" y="165"/>
                  </a:lnTo>
                  <a:lnTo>
                    <a:pt x="8" y="162"/>
                  </a:lnTo>
                  <a:lnTo>
                    <a:pt x="1" y="159"/>
                  </a:lnTo>
                  <a:cubicBezTo>
                    <a:pt x="1" y="158"/>
                    <a:pt x="0" y="156"/>
                    <a:pt x="1" y="155"/>
                  </a:cubicBezTo>
                  <a:cubicBezTo>
                    <a:pt x="1" y="154"/>
                    <a:pt x="4" y="156"/>
                    <a:pt x="5" y="155"/>
                  </a:cubicBezTo>
                  <a:cubicBezTo>
                    <a:pt x="6" y="154"/>
                    <a:pt x="5" y="152"/>
                    <a:pt x="5" y="150"/>
                  </a:cubicBezTo>
                  <a:cubicBezTo>
                    <a:pt x="4" y="149"/>
                    <a:pt x="3" y="148"/>
                    <a:pt x="3" y="147"/>
                  </a:cubicBezTo>
                  <a:cubicBezTo>
                    <a:pt x="3" y="145"/>
                    <a:pt x="3" y="143"/>
                    <a:pt x="5" y="143"/>
                  </a:cubicBezTo>
                  <a:cubicBezTo>
                    <a:pt x="7" y="142"/>
                    <a:pt x="9" y="143"/>
                    <a:pt x="11" y="143"/>
                  </a:cubicBezTo>
                  <a:cubicBezTo>
                    <a:pt x="13" y="142"/>
                    <a:pt x="15" y="141"/>
                    <a:pt x="16" y="140"/>
                  </a:cubicBezTo>
                  <a:cubicBezTo>
                    <a:pt x="17" y="138"/>
                    <a:pt x="16" y="136"/>
                    <a:pt x="16" y="135"/>
                  </a:cubicBezTo>
                  <a:cubicBezTo>
                    <a:pt x="17" y="132"/>
                    <a:pt x="19" y="130"/>
                    <a:pt x="21" y="128"/>
                  </a:cubicBezTo>
                  <a:cubicBezTo>
                    <a:pt x="22" y="127"/>
                    <a:pt x="24" y="126"/>
                    <a:pt x="24" y="124"/>
                  </a:cubicBezTo>
                  <a:cubicBezTo>
                    <a:pt x="25" y="123"/>
                    <a:pt x="24" y="122"/>
                    <a:pt x="23" y="121"/>
                  </a:cubicBezTo>
                  <a:cubicBezTo>
                    <a:pt x="22" y="121"/>
                    <a:pt x="21" y="123"/>
                    <a:pt x="20" y="123"/>
                  </a:cubicBezTo>
                  <a:cubicBezTo>
                    <a:pt x="18" y="121"/>
                    <a:pt x="17" y="119"/>
                    <a:pt x="17" y="117"/>
                  </a:cubicBezTo>
                  <a:cubicBezTo>
                    <a:pt x="17" y="115"/>
                    <a:pt x="20" y="114"/>
                    <a:pt x="21" y="112"/>
                  </a:cubicBezTo>
                  <a:cubicBezTo>
                    <a:pt x="21" y="110"/>
                    <a:pt x="20" y="107"/>
                    <a:pt x="19" y="104"/>
                  </a:cubicBezTo>
                  <a:cubicBezTo>
                    <a:pt x="19" y="103"/>
                    <a:pt x="16" y="102"/>
                    <a:pt x="17" y="101"/>
                  </a:cubicBezTo>
                  <a:cubicBezTo>
                    <a:pt x="18" y="99"/>
                    <a:pt x="22" y="99"/>
                    <a:pt x="23" y="97"/>
                  </a:cubicBezTo>
                  <a:cubicBezTo>
                    <a:pt x="24" y="95"/>
                    <a:pt x="20" y="94"/>
                    <a:pt x="20" y="92"/>
                  </a:cubicBezTo>
                  <a:cubicBezTo>
                    <a:pt x="19" y="90"/>
                    <a:pt x="21" y="88"/>
                    <a:pt x="21" y="87"/>
                  </a:cubicBezTo>
                  <a:cubicBezTo>
                    <a:pt x="20" y="85"/>
                    <a:pt x="18" y="85"/>
                    <a:pt x="18" y="83"/>
                  </a:cubicBezTo>
                  <a:cubicBezTo>
                    <a:pt x="17" y="81"/>
                    <a:pt x="19" y="79"/>
                    <a:pt x="18" y="78"/>
                  </a:cubicBezTo>
                  <a:cubicBezTo>
                    <a:pt x="17" y="76"/>
                    <a:pt x="15" y="76"/>
                    <a:pt x="14" y="74"/>
                  </a:cubicBezTo>
                  <a:cubicBezTo>
                    <a:pt x="15" y="73"/>
                    <a:pt x="16" y="71"/>
                    <a:pt x="17" y="70"/>
                  </a:cubicBezTo>
                  <a:cubicBezTo>
                    <a:pt x="18" y="69"/>
                    <a:pt x="20" y="71"/>
                    <a:pt x="20" y="70"/>
                  </a:cubicBezTo>
                  <a:cubicBezTo>
                    <a:pt x="21" y="68"/>
                    <a:pt x="21" y="66"/>
                    <a:pt x="21" y="63"/>
                  </a:cubicBezTo>
                  <a:cubicBezTo>
                    <a:pt x="21" y="62"/>
                    <a:pt x="19" y="60"/>
                    <a:pt x="19" y="59"/>
                  </a:cubicBezTo>
                  <a:cubicBezTo>
                    <a:pt x="19" y="57"/>
                    <a:pt x="20" y="57"/>
                    <a:pt x="21" y="56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6" name="Freeform 767"/>
            <p:cNvSpPr>
              <a:spLocks noChangeAspect="1"/>
            </p:cNvSpPr>
            <p:nvPr/>
          </p:nvSpPr>
          <p:spPr bwMode="auto">
            <a:xfrm>
              <a:off x="2773363" y="3860800"/>
              <a:ext cx="328612" cy="314325"/>
            </a:xfrm>
            <a:custGeom>
              <a:avLst/>
              <a:gdLst>
                <a:gd name="T0" fmla="*/ 288723 w 173"/>
                <a:gd name="T1" fmla="*/ 165735 h 165"/>
                <a:gd name="T2" fmla="*/ 303919 w 173"/>
                <a:gd name="T3" fmla="*/ 146685 h 165"/>
                <a:gd name="T4" fmla="*/ 302019 w 173"/>
                <a:gd name="T5" fmla="*/ 129540 h 165"/>
                <a:gd name="T6" fmla="*/ 328612 w 173"/>
                <a:gd name="T7" fmla="*/ 106680 h 165"/>
                <a:gd name="T8" fmla="*/ 298220 w 173"/>
                <a:gd name="T9" fmla="*/ 99060 h 165"/>
                <a:gd name="T10" fmla="*/ 303919 w 173"/>
                <a:gd name="T11" fmla="*/ 78105 h 165"/>
                <a:gd name="T12" fmla="*/ 265929 w 173"/>
                <a:gd name="T13" fmla="*/ 60960 h 165"/>
                <a:gd name="T14" fmla="*/ 275426 w 173"/>
                <a:gd name="T15" fmla="*/ 40005 h 165"/>
                <a:gd name="T16" fmla="*/ 227939 w 173"/>
                <a:gd name="T17" fmla="*/ 43815 h 165"/>
                <a:gd name="T18" fmla="*/ 212743 w 173"/>
                <a:gd name="T19" fmla="*/ 53340 h 165"/>
                <a:gd name="T20" fmla="*/ 174753 w 173"/>
                <a:gd name="T21" fmla="*/ 45720 h 165"/>
                <a:gd name="T22" fmla="*/ 131065 w 173"/>
                <a:gd name="T23" fmla="*/ 49530 h 165"/>
                <a:gd name="T24" fmla="*/ 112070 w 173"/>
                <a:gd name="T25" fmla="*/ 19050 h 165"/>
                <a:gd name="T26" fmla="*/ 89276 w 173"/>
                <a:gd name="T27" fmla="*/ 5715 h 165"/>
                <a:gd name="T28" fmla="*/ 79779 w 173"/>
                <a:gd name="T29" fmla="*/ 15240 h 165"/>
                <a:gd name="T30" fmla="*/ 81678 w 173"/>
                <a:gd name="T31" fmla="*/ 20955 h 165"/>
                <a:gd name="T32" fmla="*/ 53186 w 173"/>
                <a:gd name="T33" fmla="*/ 36195 h 165"/>
                <a:gd name="T34" fmla="*/ 55085 w 173"/>
                <a:gd name="T35" fmla="*/ 66675 h 165"/>
                <a:gd name="T36" fmla="*/ 37990 w 173"/>
                <a:gd name="T37" fmla="*/ 76200 h 165"/>
                <a:gd name="T38" fmla="*/ 43688 w 173"/>
                <a:gd name="T39" fmla="*/ 45720 h 165"/>
                <a:gd name="T40" fmla="*/ 36090 w 173"/>
                <a:gd name="T41" fmla="*/ 15240 h 165"/>
                <a:gd name="T42" fmla="*/ 34191 w 173"/>
                <a:gd name="T43" fmla="*/ 13335 h 165"/>
                <a:gd name="T44" fmla="*/ 13296 w 173"/>
                <a:gd name="T45" fmla="*/ 64770 h 165"/>
                <a:gd name="T46" fmla="*/ 9497 w 173"/>
                <a:gd name="T47" fmla="*/ 83820 h 165"/>
                <a:gd name="T48" fmla="*/ 24693 w 173"/>
                <a:gd name="T49" fmla="*/ 121920 h 165"/>
                <a:gd name="T50" fmla="*/ 47487 w 173"/>
                <a:gd name="T51" fmla="*/ 137160 h 165"/>
                <a:gd name="T52" fmla="*/ 70281 w 173"/>
                <a:gd name="T53" fmla="*/ 142875 h 165"/>
                <a:gd name="T54" fmla="*/ 102573 w 173"/>
                <a:gd name="T55" fmla="*/ 161925 h 165"/>
                <a:gd name="T56" fmla="*/ 134864 w 173"/>
                <a:gd name="T57" fmla="*/ 161925 h 165"/>
                <a:gd name="T58" fmla="*/ 132964 w 173"/>
                <a:gd name="T59" fmla="*/ 188595 h 165"/>
                <a:gd name="T60" fmla="*/ 136763 w 173"/>
                <a:gd name="T61" fmla="*/ 215265 h 165"/>
                <a:gd name="T62" fmla="*/ 140562 w 173"/>
                <a:gd name="T63" fmla="*/ 240030 h 165"/>
                <a:gd name="T64" fmla="*/ 144361 w 173"/>
                <a:gd name="T65" fmla="*/ 268605 h 165"/>
                <a:gd name="T66" fmla="*/ 184251 w 173"/>
                <a:gd name="T67" fmla="*/ 310515 h 165"/>
                <a:gd name="T68" fmla="*/ 212743 w 173"/>
                <a:gd name="T69" fmla="*/ 289560 h 165"/>
                <a:gd name="T70" fmla="*/ 218441 w 173"/>
                <a:gd name="T71" fmla="*/ 278130 h 165"/>
                <a:gd name="T72" fmla="*/ 239336 w 173"/>
                <a:gd name="T73" fmla="*/ 266700 h 165"/>
                <a:gd name="T74" fmla="*/ 218441 w 173"/>
                <a:gd name="T75" fmla="*/ 259080 h 165"/>
                <a:gd name="T76" fmla="*/ 220341 w 173"/>
                <a:gd name="T77" fmla="*/ 238125 h 165"/>
                <a:gd name="T78" fmla="*/ 218441 w 173"/>
                <a:gd name="T79" fmla="*/ 219075 h 165"/>
                <a:gd name="T80" fmla="*/ 254532 w 173"/>
                <a:gd name="T81" fmla="*/ 228600 h 165"/>
                <a:gd name="T82" fmla="*/ 290622 w 173"/>
                <a:gd name="T83" fmla="*/ 211455 h 165"/>
                <a:gd name="T84" fmla="*/ 303919 w 173"/>
                <a:gd name="T85" fmla="*/ 188595 h 16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65"/>
                <a:gd name="T131" fmla="*/ 173 w 173"/>
                <a:gd name="T132" fmla="*/ 165 h 16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65">
                  <a:moveTo>
                    <a:pt x="160" y="99"/>
                  </a:moveTo>
                  <a:cubicBezTo>
                    <a:pt x="157" y="95"/>
                    <a:pt x="153" y="92"/>
                    <a:pt x="150" y="88"/>
                  </a:cubicBezTo>
                  <a:cubicBezTo>
                    <a:pt x="150" y="87"/>
                    <a:pt x="152" y="87"/>
                    <a:pt x="152" y="87"/>
                  </a:cubicBezTo>
                  <a:cubicBezTo>
                    <a:pt x="152" y="85"/>
                    <a:pt x="152" y="83"/>
                    <a:pt x="152" y="82"/>
                  </a:cubicBezTo>
                  <a:cubicBezTo>
                    <a:pt x="152" y="81"/>
                    <a:pt x="153" y="80"/>
                    <a:pt x="153" y="79"/>
                  </a:cubicBezTo>
                  <a:cubicBezTo>
                    <a:pt x="155" y="78"/>
                    <a:pt x="158" y="78"/>
                    <a:pt x="160" y="77"/>
                  </a:cubicBezTo>
                  <a:cubicBezTo>
                    <a:pt x="162" y="76"/>
                    <a:pt x="165" y="76"/>
                    <a:pt x="166" y="74"/>
                  </a:cubicBezTo>
                  <a:cubicBezTo>
                    <a:pt x="167" y="73"/>
                    <a:pt x="163" y="73"/>
                    <a:pt x="162" y="72"/>
                  </a:cubicBezTo>
                  <a:cubicBezTo>
                    <a:pt x="161" y="71"/>
                    <a:pt x="159" y="70"/>
                    <a:pt x="159" y="68"/>
                  </a:cubicBezTo>
                  <a:cubicBezTo>
                    <a:pt x="159" y="66"/>
                    <a:pt x="162" y="64"/>
                    <a:pt x="164" y="62"/>
                  </a:cubicBezTo>
                  <a:cubicBezTo>
                    <a:pt x="165" y="61"/>
                    <a:pt x="167" y="59"/>
                    <a:pt x="169" y="58"/>
                  </a:cubicBezTo>
                  <a:cubicBezTo>
                    <a:pt x="170" y="57"/>
                    <a:pt x="172" y="57"/>
                    <a:pt x="173" y="56"/>
                  </a:cubicBezTo>
                  <a:cubicBezTo>
                    <a:pt x="172" y="54"/>
                    <a:pt x="171" y="54"/>
                    <a:pt x="170" y="53"/>
                  </a:cubicBezTo>
                  <a:cubicBezTo>
                    <a:pt x="168" y="52"/>
                    <a:pt x="166" y="51"/>
                    <a:pt x="164" y="50"/>
                  </a:cubicBezTo>
                  <a:cubicBezTo>
                    <a:pt x="162" y="50"/>
                    <a:pt x="160" y="52"/>
                    <a:pt x="157" y="52"/>
                  </a:cubicBezTo>
                  <a:cubicBezTo>
                    <a:pt x="156" y="52"/>
                    <a:pt x="160" y="51"/>
                    <a:pt x="160" y="50"/>
                  </a:cubicBezTo>
                  <a:cubicBezTo>
                    <a:pt x="161" y="49"/>
                    <a:pt x="159" y="48"/>
                    <a:pt x="159" y="47"/>
                  </a:cubicBezTo>
                  <a:cubicBezTo>
                    <a:pt x="159" y="45"/>
                    <a:pt x="161" y="43"/>
                    <a:pt x="160" y="41"/>
                  </a:cubicBezTo>
                  <a:cubicBezTo>
                    <a:pt x="159" y="39"/>
                    <a:pt x="156" y="38"/>
                    <a:pt x="154" y="36"/>
                  </a:cubicBezTo>
                  <a:cubicBezTo>
                    <a:pt x="151" y="35"/>
                    <a:pt x="149" y="33"/>
                    <a:pt x="146" y="32"/>
                  </a:cubicBezTo>
                  <a:cubicBezTo>
                    <a:pt x="144" y="31"/>
                    <a:pt x="141" y="33"/>
                    <a:pt x="140" y="32"/>
                  </a:cubicBezTo>
                  <a:cubicBezTo>
                    <a:pt x="137" y="30"/>
                    <a:pt x="134" y="27"/>
                    <a:pt x="135" y="25"/>
                  </a:cubicBezTo>
                  <a:cubicBezTo>
                    <a:pt x="137" y="22"/>
                    <a:pt x="141" y="25"/>
                    <a:pt x="144" y="24"/>
                  </a:cubicBezTo>
                  <a:cubicBezTo>
                    <a:pt x="145" y="23"/>
                    <a:pt x="145" y="21"/>
                    <a:pt x="145" y="21"/>
                  </a:cubicBezTo>
                  <a:cubicBezTo>
                    <a:pt x="142" y="21"/>
                    <a:pt x="139" y="22"/>
                    <a:pt x="136" y="22"/>
                  </a:cubicBezTo>
                  <a:cubicBezTo>
                    <a:pt x="132" y="22"/>
                    <a:pt x="129" y="22"/>
                    <a:pt x="125" y="22"/>
                  </a:cubicBezTo>
                  <a:cubicBezTo>
                    <a:pt x="123" y="22"/>
                    <a:pt x="120" y="21"/>
                    <a:pt x="120" y="23"/>
                  </a:cubicBezTo>
                  <a:cubicBezTo>
                    <a:pt x="120" y="25"/>
                    <a:pt x="127" y="24"/>
                    <a:pt x="126" y="26"/>
                  </a:cubicBezTo>
                  <a:cubicBezTo>
                    <a:pt x="125" y="28"/>
                    <a:pt x="121" y="25"/>
                    <a:pt x="119" y="25"/>
                  </a:cubicBezTo>
                  <a:cubicBezTo>
                    <a:pt x="117" y="26"/>
                    <a:pt x="114" y="27"/>
                    <a:pt x="112" y="28"/>
                  </a:cubicBezTo>
                  <a:cubicBezTo>
                    <a:pt x="110" y="29"/>
                    <a:pt x="108" y="32"/>
                    <a:pt x="105" y="32"/>
                  </a:cubicBezTo>
                  <a:cubicBezTo>
                    <a:pt x="102" y="32"/>
                    <a:pt x="99" y="30"/>
                    <a:pt x="97" y="29"/>
                  </a:cubicBezTo>
                  <a:cubicBezTo>
                    <a:pt x="95" y="27"/>
                    <a:pt x="94" y="25"/>
                    <a:pt x="92" y="24"/>
                  </a:cubicBezTo>
                  <a:cubicBezTo>
                    <a:pt x="89" y="23"/>
                    <a:pt x="86" y="23"/>
                    <a:pt x="83" y="23"/>
                  </a:cubicBezTo>
                  <a:cubicBezTo>
                    <a:pt x="80" y="23"/>
                    <a:pt x="78" y="25"/>
                    <a:pt x="75" y="25"/>
                  </a:cubicBezTo>
                  <a:cubicBezTo>
                    <a:pt x="73" y="26"/>
                    <a:pt x="71" y="26"/>
                    <a:pt x="69" y="26"/>
                  </a:cubicBezTo>
                  <a:cubicBezTo>
                    <a:pt x="68" y="26"/>
                    <a:pt x="67" y="25"/>
                    <a:pt x="66" y="24"/>
                  </a:cubicBezTo>
                  <a:cubicBezTo>
                    <a:pt x="66" y="21"/>
                    <a:pt x="68" y="18"/>
                    <a:pt x="66" y="16"/>
                  </a:cubicBezTo>
                  <a:cubicBezTo>
                    <a:pt x="65" y="14"/>
                    <a:pt x="62" y="12"/>
                    <a:pt x="59" y="10"/>
                  </a:cubicBezTo>
                  <a:cubicBezTo>
                    <a:pt x="56" y="9"/>
                    <a:pt x="53" y="11"/>
                    <a:pt x="50" y="10"/>
                  </a:cubicBezTo>
                  <a:cubicBezTo>
                    <a:pt x="49" y="10"/>
                    <a:pt x="49" y="9"/>
                    <a:pt x="49" y="8"/>
                  </a:cubicBezTo>
                  <a:cubicBezTo>
                    <a:pt x="48" y="6"/>
                    <a:pt x="48" y="5"/>
                    <a:pt x="47" y="3"/>
                  </a:cubicBezTo>
                  <a:cubicBezTo>
                    <a:pt x="46" y="2"/>
                    <a:pt x="45" y="0"/>
                    <a:pt x="44" y="0"/>
                  </a:cubicBezTo>
                  <a:cubicBezTo>
                    <a:pt x="43" y="0"/>
                    <a:pt x="41" y="1"/>
                    <a:pt x="40" y="2"/>
                  </a:cubicBezTo>
                  <a:cubicBezTo>
                    <a:pt x="40" y="4"/>
                    <a:pt x="41" y="7"/>
                    <a:pt x="42" y="8"/>
                  </a:cubicBezTo>
                  <a:cubicBezTo>
                    <a:pt x="43" y="9"/>
                    <a:pt x="46" y="8"/>
                    <a:pt x="47" y="8"/>
                  </a:cubicBezTo>
                  <a:cubicBezTo>
                    <a:pt x="48" y="9"/>
                    <a:pt x="49" y="10"/>
                    <a:pt x="49" y="11"/>
                  </a:cubicBezTo>
                  <a:cubicBezTo>
                    <a:pt x="47" y="12"/>
                    <a:pt x="45" y="10"/>
                    <a:pt x="43" y="11"/>
                  </a:cubicBezTo>
                  <a:cubicBezTo>
                    <a:pt x="41" y="11"/>
                    <a:pt x="40" y="13"/>
                    <a:pt x="39" y="14"/>
                  </a:cubicBezTo>
                  <a:cubicBezTo>
                    <a:pt x="37" y="14"/>
                    <a:pt x="35" y="14"/>
                    <a:pt x="34" y="15"/>
                  </a:cubicBezTo>
                  <a:cubicBezTo>
                    <a:pt x="32" y="16"/>
                    <a:pt x="30" y="17"/>
                    <a:pt x="28" y="19"/>
                  </a:cubicBezTo>
                  <a:cubicBezTo>
                    <a:pt x="27" y="20"/>
                    <a:pt x="26" y="21"/>
                    <a:pt x="26" y="23"/>
                  </a:cubicBezTo>
                  <a:cubicBezTo>
                    <a:pt x="26" y="25"/>
                    <a:pt x="26" y="27"/>
                    <a:pt x="27" y="28"/>
                  </a:cubicBezTo>
                  <a:cubicBezTo>
                    <a:pt x="27" y="31"/>
                    <a:pt x="28" y="33"/>
                    <a:pt x="29" y="35"/>
                  </a:cubicBezTo>
                  <a:cubicBezTo>
                    <a:pt x="29" y="37"/>
                    <a:pt x="30" y="39"/>
                    <a:pt x="29" y="41"/>
                  </a:cubicBezTo>
                  <a:cubicBezTo>
                    <a:pt x="28" y="43"/>
                    <a:pt x="25" y="46"/>
                    <a:pt x="23" y="45"/>
                  </a:cubicBezTo>
                  <a:cubicBezTo>
                    <a:pt x="21" y="45"/>
                    <a:pt x="21" y="42"/>
                    <a:pt x="20" y="40"/>
                  </a:cubicBezTo>
                  <a:cubicBezTo>
                    <a:pt x="19" y="39"/>
                    <a:pt x="17" y="38"/>
                    <a:pt x="17" y="36"/>
                  </a:cubicBezTo>
                  <a:cubicBezTo>
                    <a:pt x="17" y="33"/>
                    <a:pt x="18" y="31"/>
                    <a:pt x="19" y="30"/>
                  </a:cubicBezTo>
                  <a:cubicBezTo>
                    <a:pt x="20" y="28"/>
                    <a:pt x="22" y="26"/>
                    <a:pt x="23" y="24"/>
                  </a:cubicBezTo>
                  <a:cubicBezTo>
                    <a:pt x="24" y="22"/>
                    <a:pt x="24" y="20"/>
                    <a:pt x="24" y="18"/>
                  </a:cubicBezTo>
                  <a:cubicBezTo>
                    <a:pt x="23" y="16"/>
                    <a:pt x="21" y="14"/>
                    <a:pt x="19" y="11"/>
                  </a:cubicBezTo>
                  <a:cubicBezTo>
                    <a:pt x="19" y="10"/>
                    <a:pt x="19" y="9"/>
                    <a:pt x="19" y="8"/>
                  </a:cubicBezTo>
                  <a:cubicBezTo>
                    <a:pt x="22" y="7"/>
                    <a:pt x="25" y="8"/>
                    <a:pt x="27" y="6"/>
                  </a:cubicBezTo>
                  <a:cubicBezTo>
                    <a:pt x="28" y="6"/>
                    <a:pt x="28" y="4"/>
                    <a:pt x="28" y="3"/>
                  </a:cubicBezTo>
                  <a:cubicBezTo>
                    <a:pt x="25" y="4"/>
                    <a:pt x="21" y="4"/>
                    <a:pt x="18" y="7"/>
                  </a:cubicBezTo>
                  <a:cubicBezTo>
                    <a:pt x="16" y="9"/>
                    <a:pt x="16" y="12"/>
                    <a:pt x="15" y="15"/>
                  </a:cubicBezTo>
                  <a:cubicBezTo>
                    <a:pt x="13" y="19"/>
                    <a:pt x="9" y="21"/>
                    <a:pt x="7" y="26"/>
                  </a:cubicBezTo>
                  <a:cubicBezTo>
                    <a:pt x="6" y="28"/>
                    <a:pt x="8" y="32"/>
                    <a:pt x="7" y="34"/>
                  </a:cubicBezTo>
                  <a:cubicBezTo>
                    <a:pt x="5" y="38"/>
                    <a:pt x="1" y="40"/>
                    <a:pt x="0" y="44"/>
                  </a:cubicBezTo>
                  <a:cubicBezTo>
                    <a:pt x="0" y="45"/>
                    <a:pt x="1" y="46"/>
                    <a:pt x="2" y="46"/>
                  </a:cubicBezTo>
                  <a:cubicBezTo>
                    <a:pt x="3" y="46"/>
                    <a:pt x="4" y="44"/>
                    <a:pt x="5" y="44"/>
                  </a:cubicBezTo>
                  <a:cubicBezTo>
                    <a:pt x="6" y="43"/>
                    <a:pt x="8" y="44"/>
                    <a:pt x="10" y="45"/>
                  </a:cubicBezTo>
                  <a:cubicBezTo>
                    <a:pt x="12" y="47"/>
                    <a:pt x="12" y="50"/>
                    <a:pt x="13" y="53"/>
                  </a:cubicBezTo>
                  <a:cubicBezTo>
                    <a:pt x="14" y="57"/>
                    <a:pt x="12" y="60"/>
                    <a:pt x="13" y="64"/>
                  </a:cubicBezTo>
                  <a:cubicBezTo>
                    <a:pt x="13" y="66"/>
                    <a:pt x="14" y="68"/>
                    <a:pt x="15" y="70"/>
                  </a:cubicBezTo>
                  <a:cubicBezTo>
                    <a:pt x="16" y="71"/>
                    <a:pt x="16" y="73"/>
                    <a:pt x="17" y="73"/>
                  </a:cubicBezTo>
                  <a:cubicBezTo>
                    <a:pt x="20" y="73"/>
                    <a:pt x="23" y="72"/>
                    <a:pt x="25" y="72"/>
                  </a:cubicBezTo>
                  <a:cubicBezTo>
                    <a:pt x="27" y="72"/>
                    <a:pt x="29" y="73"/>
                    <a:pt x="30" y="73"/>
                  </a:cubicBezTo>
                  <a:cubicBezTo>
                    <a:pt x="32" y="73"/>
                    <a:pt x="33" y="71"/>
                    <a:pt x="35" y="71"/>
                  </a:cubicBezTo>
                  <a:cubicBezTo>
                    <a:pt x="37" y="71"/>
                    <a:pt x="36" y="74"/>
                    <a:pt x="37" y="75"/>
                  </a:cubicBezTo>
                  <a:cubicBezTo>
                    <a:pt x="39" y="76"/>
                    <a:pt x="41" y="74"/>
                    <a:pt x="42" y="75"/>
                  </a:cubicBezTo>
                  <a:cubicBezTo>
                    <a:pt x="45" y="78"/>
                    <a:pt x="47" y="83"/>
                    <a:pt x="50" y="86"/>
                  </a:cubicBezTo>
                  <a:cubicBezTo>
                    <a:pt x="51" y="87"/>
                    <a:pt x="52" y="85"/>
                    <a:pt x="54" y="85"/>
                  </a:cubicBezTo>
                  <a:cubicBezTo>
                    <a:pt x="54" y="85"/>
                    <a:pt x="55" y="86"/>
                    <a:pt x="56" y="86"/>
                  </a:cubicBezTo>
                  <a:cubicBezTo>
                    <a:pt x="58" y="86"/>
                    <a:pt x="59" y="86"/>
                    <a:pt x="61" y="86"/>
                  </a:cubicBezTo>
                  <a:cubicBezTo>
                    <a:pt x="65" y="86"/>
                    <a:pt x="68" y="85"/>
                    <a:pt x="71" y="85"/>
                  </a:cubicBezTo>
                  <a:cubicBezTo>
                    <a:pt x="72" y="85"/>
                    <a:pt x="74" y="85"/>
                    <a:pt x="74" y="86"/>
                  </a:cubicBezTo>
                  <a:cubicBezTo>
                    <a:pt x="75" y="89"/>
                    <a:pt x="75" y="93"/>
                    <a:pt x="74" y="96"/>
                  </a:cubicBezTo>
                  <a:cubicBezTo>
                    <a:pt x="73" y="97"/>
                    <a:pt x="70" y="97"/>
                    <a:pt x="70" y="99"/>
                  </a:cubicBezTo>
                  <a:cubicBezTo>
                    <a:pt x="69" y="100"/>
                    <a:pt x="71" y="101"/>
                    <a:pt x="71" y="102"/>
                  </a:cubicBezTo>
                  <a:cubicBezTo>
                    <a:pt x="70" y="104"/>
                    <a:pt x="68" y="106"/>
                    <a:pt x="68" y="108"/>
                  </a:cubicBezTo>
                  <a:cubicBezTo>
                    <a:pt x="69" y="110"/>
                    <a:pt x="72" y="111"/>
                    <a:pt x="72" y="113"/>
                  </a:cubicBezTo>
                  <a:cubicBezTo>
                    <a:pt x="73" y="115"/>
                    <a:pt x="72" y="117"/>
                    <a:pt x="72" y="119"/>
                  </a:cubicBezTo>
                  <a:cubicBezTo>
                    <a:pt x="72" y="119"/>
                    <a:pt x="74" y="119"/>
                    <a:pt x="74" y="119"/>
                  </a:cubicBezTo>
                  <a:cubicBezTo>
                    <a:pt x="75" y="121"/>
                    <a:pt x="75" y="124"/>
                    <a:pt x="74" y="126"/>
                  </a:cubicBezTo>
                  <a:cubicBezTo>
                    <a:pt x="73" y="129"/>
                    <a:pt x="69" y="130"/>
                    <a:pt x="68" y="133"/>
                  </a:cubicBezTo>
                  <a:cubicBezTo>
                    <a:pt x="68" y="135"/>
                    <a:pt x="72" y="135"/>
                    <a:pt x="73" y="137"/>
                  </a:cubicBezTo>
                  <a:cubicBezTo>
                    <a:pt x="75" y="138"/>
                    <a:pt x="75" y="140"/>
                    <a:pt x="76" y="141"/>
                  </a:cubicBezTo>
                  <a:cubicBezTo>
                    <a:pt x="78" y="146"/>
                    <a:pt x="79" y="150"/>
                    <a:pt x="81" y="155"/>
                  </a:cubicBezTo>
                  <a:cubicBezTo>
                    <a:pt x="84" y="158"/>
                    <a:pt x="86" y="162"/>
                    <a:pt x="89" y="163"/>
                  </a:cubicBezTo>
                  <a:cubicBezTo>
                    <a:pt x="91" y="165"/>
                    <a:pt x="94" y="164"/>
                    <a:pt x="97" y="163"/>
                  </a:cubicBezTo>
                  <a:cubicBezTo>
                    <a:pt x="100" y="161"/>
                    <a:pt x="103" y="158"/>
                    <a:pt x="106" y="156"/>
                  </a:cubicBezTo>
                  <a:cubicBezTo>
                    <a:pt x="107" y="155"/>
                    <a:pt x="108" y="155"/>
                    <a:pt x="109" y="154"/>
                  </a:cubicBezTo>
                  <a:cubicBezTo>
                    <a:pt x="110" y="154"/>
                    <a:pt x="111" y="152"/>
                    <a:pt x="112" y="152"/>
                  </a:cubicBezTo>
                  <a:cubicBezTo>
                    <a:pt x="113" y="152"/>
                    <a:pt x="113" y="154"/>
                    <a:pt x="114" y="154"/>
                  </a:cubicBezTo>
                  <a:cubicBezTo>
                    <a:pt x="115" y="154"/>
                    <a:pt x="115" y="153"/>
                    <a:pt x="115" y="152"/>
                  </a:cubicBezTo>
                  <a:cubicBezTo>
                    <a:pt x="116" y="150"/>
                    <a:pt x="114" y="148"/>
                    <a:pt x="115" y="146"/>
                  </a:cubicBezTo>
                  <a:cubicBezTo>
                    <a:pt x="116" y="145"/>
                    <a:pt x="119" y="146"/>
                    <a:pt x="121" y="145"/>
                  </a:cubicBezTo>
                  <a:cubicBezTo>
                    <a:pt x="121" y="144"/>
                    <a:pt x="120" y="143"/>
                    <a:pt x="121" y="143"/>
                  </a:cubicBezTo>
                  <a:cubicBezTo>
                    <a:pt x="122" y="141"/>
                    <a:pt x="125" y="141"/>
                    <a:pt x="126" y="140"/>
                  </a:cubicBezTo>
                  <a:cubicBezTo>
                    <a:pt x="127" y="139"/>
                    <a:pt x="127" y="138"/>
                    <a:pt x="126" y="138"/>
                  </a:cubicBezTo>
                  <a:cubicBezTo>
                    <a:pt x="123" y="137"/>
                    <a:pt x="120" y="138"/>
                    <a:pt x="117" y="138"/>
                  </a:cubicBezTo>
                  <a:cubicBezTo>
                    <a:pt x="116" y="138"/>
                    <a:pt x="115" y="137"/>
                    <a:pt x="115" y="136"/>
                  </a:cubicBezTo>
                  <a:cubicBezTo>
                    <a:pt x="114" y="135"/>
                    <a:pt x="115" y="133"/>
                    <a:pt x="115" y="132"/>
                  </a:cubicBezTo>
                  <a:cubicBezTo>
                    <a:pt x="114" y="132"/>
                    <a:pt x="113" y="131"/>
                    <a:pt x="113" y="130"/>
                  </a:cubicBezTo>
                  <a:cubicBezTo>
                    <a:pt x="114" y="128"/>
                    <a:pt x="116" y="127"/>
                    <a:pt x="116" y="125"/>
                  </a:cubicBezTo>
                  <a:cubicBezTo>
                    <a:pt x="117" y="123"/>
                    <a:pt x="117" y="121"/>
                    <a:pt x="116" y="119"/>
                  </a:cubicBezTo>
                  <a:cubicBezTo>
                    <a:pt x="115" y="117"/>
                    <a:pt x="112" y="118"/>
                    <a:pt x="111" y="116"/>
                  </a:cubicBezTo>
                  <a:cubicBezTo>
                    <a:pt x="111" y="115"/>
                    <a:pt x="113" y="115"/>
                    <a:pt x="115" y="115"/>
                  </a:cubicBezTo>
                  <a:cubicBezTo>
                    <a:pt x="118" y="115"/>
                    <a:pt x="120" y="118"/>
                    <a:pt x="123" y="118"/>
                  </a:cubicBezTo>
                  <a:cubicBezTo>
                    <a:pt x="125" y="119"/>
                    <a:pt x="126" y="118"/>
                    <a:pt x="127" y="118"/>
                  </a:cubicBezTo>
                  <a:cubicBezTo>
                    <a:pt x="130" y="119"/>
                    <a:pt x="132" y="120"/>
                    <a:pt x="134" y="120"/>
                  </a:cubicBezTo>
                  <a:cubicBezTo>
                    <a:pt x="135" y="119"/>
                    <a:pt x="134" y="117"/>
                    <a:pt x="136" y="116"/>
                  </a:cubicBezTo>
                  <a:cubicBezTo>
                    <a:pt x="140" y="115"/>
                    <a:pt x="145" y="116"/>
                    <a:pt x="149" y="115"/>
                  </a:cubicBezTo>
                  <a:cubicBezTo>
                    <a:pt x="151" y="114"/>
                    <a:pt x="151" y="112"/>
                    <a:pt x="153" y="111"/>
                  </a:cubicBezTo>
                  <a:cubicBezTo>
                    <a:pt x="155" y="110"/>
                    <a:pt x="157" y="111"/>
                    <a:pt x="158" y="110"/>
                  </a:cubicBezTo>
                  <a:cubicBezTo>
                    <a:pt x="159" y="109"/>
                    <a:pt x="160" y="107"/>
                    <a:pt x="160" y="105"/>
                  </a:cubicBezTo>
                  <a:cubicBezTo>
                    <a:pt x="161" y="103"/>
                    <a:pt x="160" y="100"/>
                    <a:pt x="160" y="99"/>
                  </a:cubicBezTo>
                  <a:close/>
                </a:path>
              </a:pathLst>
            </a:custGeom>
            <a:solidFill>
              <a:srgbClr val="002060"/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7" name="Freeform 768"/>
            <p:cNvSpPr>
              <a:spLocks noChangeAspect="1"/>
            </p:cNvSpPr>
            <p:nvPr/>
          </p:nvSpPr>
          <p:spPr bwMode="auto">
            <a:xfrm>
              <a:off x="3059113" y="3967163"/>
              <a:ext cx="119062" cy="196850"/>
            </a:xfrm>
            <a:custGeom>
              <a:avLst/>
              <a:gdLst>
                <a:gd name="T0" fmla="*/ 119062 w 63"/>
                <a:gd name="T1" fmla="*/ 172005 h 103"/>
                <a:gd name="T2" fmla="*/ 113392 w 63"/>
                <a:gd name="T3" fmla="*/ 164360 h 103"/>
                <a:gd name="T4" fmla="*/ 107723 w 63"/>
                <a:gd name="T5" fmla="*/ 154804 h 103"/>
                <a:gd name="T6" fmla="*/ 103943 w 63"/>
                <a:gd name="T7" fmla="*/ 139515 h 103"/>
                <a:gd name="T8" fmla="*/ 100163 w 63"/>
                <a:gd name="T9" fmla="*/ 137604 h 103"/>
                <a:gd name="T10" fmla="*/ 100163 w 63"/>
                <a:gd name="T11" fmla="*/ 129959 h 103"/>
                <a:gd name="T12" fmla="*/ 94494 w 63"/>
                <a:gd name="T13" fmla="*/ 129959 h 103"/>
                <a:gd name="T14" fmla="*/ 83154 w 63"/>
                <a:gd name="T15" fmla="*/ 112759 h 103"/>
                <a:gd name="T16" fmla="*/ 86934 w 63"/>
                <a:gd name="T17" fmla="*/ 101292 h 103"/>
                <a:gd name="T18" fmla="*/ 88824 w 63"/>
                <a:gd name="T19" fmla="*/ 89825 h 103"/>
                <a:gd name="T20" fmla="*/ 98273 w 63"/>
                <a:gd name="T21" fmla="*/ 89825 h 103"/>
                <a:gd name="T22" fmla="*/ 102053 w 63"/>
                <a:gd name="T23" fmla="*/ 82180 h 103"/>
                <a:gd name="T24" fmla="*/ 100163 w 63"/>
                <a:gd name="T25" fmla="*/ 70713 h 103"/>
                <a:gd name="T26" fmla="*/ 105833 w 63"/>
                <a:gd name="T27" fmla="*/ 63068 h 103"/>
                <a:gd name="T28" fmla="*/ 102053 w 63"/>
                <a:gd name="T29" fmla="*/ 55424 h 103"/>
                <a:gd name="T30" fmla="*/ 94494 w 63"/>
                <a:gd name="T31" fmla="*/ 49690 h 103"/>
                <a:gd name="T32" fmla="*/ 83154 w 63"/>
                <a:gd name="T33" fmla="*/ 42046 h 103"/>
                <a:gd name="T34" fmla="*/ 73705 w 63"/>
                <a:gd name="T35" fmla="*/ 40134 h 103"/>
                <a:gd name="T36" fmla="*/ 69925 w 63"/>
                <a:gd name="T37" fmla="*/ 49690 h 103"/>
                <a:gd name="T38" fmla="*/ 69925 w 63"/>
                <a:gd name="T39" fmla="*/ 40134 h 103"/>
                <a:gd name="T40" fmla="*/ 69925 w 63"/>
                <a:gd name="T41" fmla="*/ 28667 h 103"/>
                <a:gd name="T42" fmla="*/ 62366 w 63"/>
                <a:gd name="T43" fmla="*/ 13378 h 103"/>
                <a:gd name="T44" fmla="*/ 56696 w 63"/>
                <a:gd name="T45" fmla="*/ 7645 h 103"/>
                <a:gd name="T46" fmla="*/ 47247 w 63"/>
                <a:gd name="T47" fmla="*/ 1911 h 103"/>
                <a:gd name="T48" fmla="*/ 43467 w 63"/>
                <a:gd name="T49" fmla="*/ 0 h 103"/>
                <a:gd name="T50" fmla="*/ 35908 w 63"/>
                <a:gd name="T51" fmla="*/ 3822 h 103"/>
                <a:gd name="T52" fmla="*/ 26458 w 63"/>
                <a:gd name="T53" fmla="*/ 11467 h 103"/>
                <a:gd name="T54" fmla="*/ 17009 w 63"/>
                <a:gd name="T55" fmla="*/ 22934 h 103"/>
                <a:gd name="T56" fmla="*/ 22678 w 63"/>
                <a:gd name="T57" fmla="*/ 30579 h 103"/>
                <a:gd name="T58" fmla="*/ 30238 w 63"/>
                <a:gd name="T59" fmla="*/ 34401 h 103"/>
                <a:gd name="T60" fmla="*/ 18899 w 63"/>
                <a:gd name="T61" fmla="*/ 40134 h 103"/>
                <a:gd name="T62" fmla="*/ 5670 w 63"/>
                <a:gd name="T63" fmla="*/ 43957 h 103"/>
                <a:gd name="T64" fmla="*/ 3780 w 63"/>
                <a:gd name="T65" fmla="*/ 49690 h 103"/>
                <a:gd name="T66" fmla="*/ 3780 w 63"/>
                <a:gd name="T67" fmla="*/ 59246 h 103"/>
                <a:gd name="T68" fmla="*/ 0 w 63"/>
                <a:gd name="T69" fmla="*/ 61157 h 103"/>
                <a:gd name="T70" fmla="*/ 18899 w 63"/>
                <a:gd name="T71" fmla="*/ 82180 h 103"/>
                <a:gd name="T72" fmla="*/ 32128 w 63"/>
                <a:gd name="T73" fmla="*/ 82180 h 103"/>
                <a:gd name="T74" fmla="*/ 34018 w 63"/>
                <a:gd name="T75" fmla="*/ 89825 h 103"/>
                <a:gd name="T76" fmla="*/ 30238 w 63"/>
                <a:gd name="T77" fmla="*/ 95558 h 103"/>
                <a:gd name="T78" fmla="*/ 32128 w 63"/>
                <a:gd name="T79" fmla="*/ 101292 h 103"/>
                <a:gd name="T80" fmla="*/ 43467 w 63"/>
                <a:gd name="T81" fmla="*/ 101292 h 103"/>
                <a:gd name="T82" fmla="*/ 43467 w 63"/>
                <a:gd name="T83" fmla="*/ 112759 h 103"/>
                <a:gd name="T84" fmla="*/ 51027 w 63"/>
                <a:gd name="T85" fmla="*/ 116581 h 103"/>
                <a:gd name="T86" fmla="*/ 35908 w 63"/>
                <a:gd name="T87" fmla="*/ 126137 h 103"/>
                <a:gd name="T88" fmla="*/ 35908 w 63"/>
                <a:gd name="T89" fmla="*/ 152893 h 103"/>
                <a:gd name="T90" fmla="*/ 41577 w 63"/>
                <a:gd name="T91" fmla="*/ 158627 h 103"/>
                <a:gd name="T92" fmla="*/ 41577 w 63"/>
                <a:gd name="T93" fmla="*/ 168183 h 103"/>
                <a:gd name="T94" fmla="*/ 45357 w 63"/>
                <a:gd name="T95" fmla="*/ 173916 h 103"/>
                <a:gd name="T96" fmla="*/ 56696 w 63"/>
                <a:gd name="T97" fmla="*/ 179650 h 103"/>
                <a:gd name="T98" fmla="*/ 56696 w 63"/>
                <a:gd name="T99" fmla="*/ 187294 h 103"/>
                <a:gd name="T100" fmla="*/ 64256 w 63"/>
                <a:gd name="T101" fmla="*/ 193028 h 103"/>
                <a:gd name="T102" fmla="*/ 71815 w 63"/>
                <a:gd name="T103" fmla="*/ 194939 h 103"/>
                <a:gd name="T104" fmla="*/ 69925 w 63"/>
                <a:gd name="T105" fmla="*/ 187294 h 103"/>
                <a:gd name="T106" fmla="*/ 79375 w 63"/>
                <a:gd name="T107" fmla="*/ 179650 h 103"/>
                <a:gd name="T108" fmla="*/ 85044 w 63"/>
                <a:gd name="T109" fmla="*/ 183472 h 103"/>
                <a:gd name="T110" fmla="*/ 88824 w 63"/>
                <a:gd name="T111" fmla="*/ 173916 h 103"/>
                <a:gd name="T112" fmla="*/ 96384 w 63"/>
                <a:gd name="T113" fmla="*/ 173916 h 103"/>
                <a:gd name="T114" fmla="*/ 100163 w 63"/>
                <a:gd name="T115" fmla="*/ 170094 h 103"/>
                <a:gd name="T116" fmla="*/ 107723 w 63"/>
                <a:gd name="T117" fmla="*/ 172005 h 103"/>
                <a:gd name="T118" fmla="*/ 119062 w 63"/>
                <a:gd name="T119" fmla="*/ 172005 h 10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"/>
                <a:gd name="T181" fmla="*/ 0 h 103"/>
                <a:gd name="T182" fmla="*/ 63 w 63"/>
                <a:gd name="T183" fmla="*/ 103 h 10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" h="103">
                  <a:moveTo>
                    <a:pt x="63" y="90"/>
                  </a:moveTo>
                  <a:cubicBezTo>
                    <a:pt x="62" y="89"/>
                    <a:pt x="60" y="87"/>
                    <a:pt x="60" y="86"/>
                  </a:cubicBezTo>
                  <a:cubicBezTo>
                    <a:pt x="59" y="84"/>
                    <a:pt x="58" y="83"/>
                    <a:pt x="57" y="81"/>
                  </a:cubicBezTo>
                  <a:cubicBezTo>
                    <a:pt x="56" y="78"/>
                    <a:pt x="54" y="75"/>
                    <a:pt x="55" y="73"/>
                  </a:cubicBezTo>
                  <a:cubicBezTo>
                    <a:pt x="55" y="72"/>
                    <a:pt x="53" y="73"/>
                    <a:pt x="53" y="72"/>
                  </a:cubicBezTo>
                  <a:cubicBezTo>
                    <a:pt x="52" y="71"/>
                    <a:pt x="54" y="69"/>
                    <a:pt x="53" y="68"/>
                  </a:cubicBezTo>
                  <a:cubicBezTo>
                    <a:pt x="52" y="67"/>
                    <a:pt x="51" y="69"/>
                    <a:pt x="50" y="68"/>
                  </a:cubicBezTo>
                  <a:cubicBezTo>
                    <a:pt x="48" y="65"/>
                    <a:pt x="45" y="62"/>
                    <a:pt x="44" y="59"/>
                  </a:cubicBezTo>
                  <a:cubicBezTo>
                    <a:pt x="44" y="57"/>
                    <a:pt x="46" y="55"/>
                    <a:pt x="46" y="53"/>
                  </a:cubicBezTo>
                  <a:cubicBezTo>
                    <a:pt x="47" y="51"/>
                    <a:pt x="46" y="49"/>
                    <a:pt x="47" y="47"/>
                  </a:cubicBezTo>
                  <a:cubicBezTo>
                    <a:pt x="48" y="46"/>
                    <a:pt x="50" y="47"/>
                    <a:pt x="52" y="47"/>
                  </a:cubicBezTo>
                  <a:cubicBezTo>
                    <a:pt x="53" y="46"/>
                    <a:pt x="54" y="45"/>
                    <a:pt x="54" y="43"/>
                  </a:cubicBezTo>
                  <a:cubicBezTo>
                    <a:pt x="54" y="41"/>
                    <a:pt x="53" y="39"/>
                    <a:pt x="53" y="37"/>
                  </a:cubicBezTo>
                  <a:cubicBezTo>
                    <a:pt x="53" y="36"/>
                    <a:pt x="55" y="35"/>
                    <a:pt x="56" y="33"/>
                  </a:cubicBezTo>
                  <a:cubicBezTo>
                    <a:pt x="56" y="32"/>
                    <a:pt x="55" y="30"/>
                    <a:pt x="54" y="29"/>
                  </a:cubicBezTo>
                  <a:cubicBezTo>
                    <a:pt x="53" y="28"/>
                    <a:pt x="51" y="27"/>
                    <a:pt x="50" y="26"/>
                  </a:cubicBezTo>
                  <a:cubicBezTo>
                    <a:pt x="48" y="25"/>
                    <a:pt x="46" y="23"/>
                    <a:pt x="44" y="22"/>
                  </a:cubicBezTo>
                  <a:cubicBezTo>
                    <a:pt x="43" y="21"/>
                    <a:pt x="41" y="20"/>
                    <a:pt x="39" y="21"/>
                  </a:cubicBezTo>
                  <a:cubicBezTo>
                    <a:pt x="38" y="22"/>
                    <a:pt x="38" y="26"/>
                    <a:pt x="37" y="26"/>
                  </a:cubicBezTo>
                  <a:cubicBezTo>
                    <a:pt x="35" y="26"/>
                    <a:pt x="37" y="23"/>
                    <a:pt x="37" y="21"/>
                  </a:cubicBezTo>
                  <a:cubicBezTo>
                    <a:pt x="37" y="19"/>
                    <a:pt x="37" y="17"/>
                    <a:pt x="37" y="15"/>
                  </a:cubicBezTo>
                  <a:cubicBezTo>
                    <a:pt x="36" y="12"/>
                    <a:pt x="34" y="10"/>
                    <a:pt x="33" y="7"/>
                  </a:cubicBezTo>
                  <a:cubicBezTo>
                    <a:pt x="32" y="6"/>
                    <a:pt x="31" y="5"/>
                    <a:pt x="30" y="4"/>
                  </a:cubicBezTo>
                  <a:cubicBezTo>
                    <a:pt x="28" y="3"/>
                    <a:pt x="27" y="1"/>
                    <a:pt x="25" y="1"/>
                  </a:cubicBezTo>
                  <a:cubicBezTo>
                    <a:pt x="24" y="0"/>
                    <a:pt x="24" y="0"/>
                    <a:pt x="23" y="0"/>
                  </a:cubicBezTo>
                  <a:cubicBezTo>
                    <a:pt x="22" y="1"/>
                    <a:pt x="20" y="1"/>
                    <a:pt x="19" y="2"/>
                  </a:cubicBezTo>
                  <a:cubicBezTo>
                    <a:pt x="17" y="3"/>
                    <a:pt x="15" y="5"/>
                    <a:pt x="14" y="6"/>
                  </a:cubicBezTo>
                  <a:cubicBezTo>
                    <a:pt x="12" y="8"/>
                    <a:pt x="9" y="10"/>
                    <a:pt x="9" y="12"/>
                  </a:cubicBezTo>
                  <a:cubicBezTo>
                    <a:pt x="9" y="14"/>
                    <a:pt x="11" y="15"/>
                    <a:pt x="12" y="16"/>
                  </a:cubicBezTo>
                  <a:cubicBezTo>
                    <a:pt x="13" y="17"/>
                    <a:pt x="17" y="17"/>
                    <a:pt x="16" y="18"/>
                  </a:cubicBezTo>
                  <a:cubicBezTo>
                    <a:pt x="15" y="20"/>
                    <a:pt x="12" y="20"/>
                    <a:pt x="10" y="21"/>
                  </a:cubicBezTo>
                  <a:cubicBezTo>
                    <a:pt x="8" y="22"/>
                    <a:pt x="5" y="22"/>
                    <a:pt x="3" y="23"/>
                  </a:cubicBezTo>
                  <a:cubicBezTo>
                    <a:pt x="3" y="24"/>
                    <a:pt x="2" y="25"/>
                    <a:pt x="2" y="26"/>
                  </a:cubicBezTo>
                  <a:cubicBezTo>
                    <a:pt x="2" y="27"/>
                    <a:pt x="2" y="29"/>
                    <a:pt x="2" y="31"/>
                  </a:cubicBezTo>
                  <a:cubicBezTo>
                    <a:pt x="2" y="31"/>
                    <a:pt x="0" y="31"/>
                    <a:pt x="0" y="32"/>
                  </a:cubicBezTo>
                  <a:cubicBezTo>
                    <a:pt x="3" y="36"/>
                    <a:pt x="7" y="39"/>
                    <a:pt x="10" y="43"/>
                  </a:cubicBezTo>
                  <a:cubicBezTo>
                    <a:pt x="13" y="43"/>
                    <a:pt x="15" y="42"/>
                    <a:pt x="17" y="43"/>
                  </a:cubicBezTo>
                  <a:cubicBezTo>
                    <a:pt x="19" y="43"/>
                    <a:pt x="18" y="46"/>
                    <a:pt x="18" y="47"/>
                  </a:cubicBezTo>
                  <a:cubicBezTo>
                    <a:pt x="18" y="48"/>
                    <a:pt x="16" y="49"/>
                    <a:pt x="16" y="50"/>
                  </a:cubicBezTo>
                  <a:cubicBezTo>
                    <a:pt x="16" y="51"/>
                    <a:pt x="16" y="53"/>
                    <a:pt x="17" y="53"/>
                  </a:cubicBezTo>
                  <a:cubicBezTo>
                    <a:pt x="19" y="54"/>
                    <a:pt x="21" y="52"/>
                    <a:pt x="23" y="53"/>
                  </a:cubicBezTo>
                  <a:cubicBezTo>
                    <a:pt x="24" y="54"/>
                    <a:pt x="22" y="57"/>
                    <a:pt x="23" y="59"/>
                  </a:cubicBezTo>
                  <a:cubicBezTo>
                    <a:pt x="24" y="60"/>
                    <a:pt x="27" y="59"/>
                    <a:pt x="27" y="61"/>
                  </a:cubicBezTo>
                  <a:cubicBezTo>
                    <a:pt x="25" y="63"/>
                    <a:pt x="20" y="63"/>
                    <a:pt x="19" y="66"/>
                  </a:cubicBezTo>
                  <a:cubicBezTo>
                    <a:pt x="19" y="70"/>
                    <a:pt x="19" y="76"/>
                    <a:pt x="19" y="80"/>
                  </a:cubicBezTo>
                  <a:cubicBezTo>
                    <a:pt x="19" y="82"/>
                    <a:pt x="22" y="82"/>
                    <a:pt x="22" y="83"/>
                  </a:cubicBezTo>
                  <a:cubicBezTo>
                    <a:pt x="23" y="84"/>
                    <a:pt x="22" y="87"/>
                    <a:pt x="22" y="88"/>
                  </a:cubicBezTo>
                  <a:cubicBezTo>
                    <a:pt x="22" y="90"/>
                    <a:pt x="23" y="91"/>
                    <a:pt x="24" y="91"/>
                  </a:cubicBezTo>
                  <a:cubicBezTo>
                    <a:pt x="25" y="93"/>
                    <a:pt x="28" y="93"/>
                    <a:pt x="30" y="94"/>
                  </a:cubicBezTo>
                  <a:cubicBezTo>
                    <a:pt x="31" y="95"/>
                    <a:pt x="29" y="97"/>
                    <a:pt x="30" y="98"/>
                  </a:cubicBezTo>
                  <a:cubicBezTo>
                    <a:pt x="31" y="99"/>
                    <a:pt x="32" y="101"/>
                    <a:pt x="34" y="101"/>
                  </a:cubicBezTo>
                  <a:cubicBezTo>
                    <a:pt x="35" y="102"/>
                    <a:pt x="37" y="103"/>
                    <a:pt x="38" y="102"/>
                  </a:cubicBezTo>
                  <a:cubicBezTo>
                    <a:pt x="39" y="101"/>
                    <a:pt x="37" y="99"/>
                    <a:pt x="37" y="98"/>
                  </a:cubicBezTo>
                  <a:cubicBezTo>
                    <a:pt x="38" y="96"/>
                    <a:pt x="40" y="95"/>
                    <a:pt x="42" y="94"/>
                  </a:cubicBezTo>
                  <a:cubicBezTo>
                    <a:pt x="43" y="94"/>
                    <a:pt x="44" y="96"/>
                    <a:pt x="45" y="96"/>
                  </a:cubicBezTo>
                  <a:cubicBezTo>
                    <a:pt x="46" y="95"/>
                    <a:pt x="45" y="92"/>
                    <a:pt x="47" y="91"/>
                  </a:cubicBezTo>
                  <a:cubicBezTo>
                    <a:pt x="48" y="91"/>
                    <a:pt x="49" y="92"/>
                    <a:pt x="51" y="91"/>
                  </a:cubicBezTo>
                  <a:cubicBezTo>
                    <a:pt x="52" y="91"/>
                    <a:pt x="52" y="89"/>
                    <a:pt x="53" y="89"/>
                  </a:cubicBezTo>
                  <a:cubicBezTo>
                    <a:pt x="55" y="89"/>
                    <a:pt x="56" y="90"/>
                    <a:pt x="57" y="90"/>
                  </a:cubicBezTo>
                  <a:cubicBezTo>
                    <a:pt x="59" y="91"/>
                    <a:pt x="61" y="90"/>
                    <a:pt x="63" y="9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8" name="Freeform 769"/>
            <p:cNvSpPr>
              <a:spLocks noChangeAspect="1"/>
            </p:cNvSpPr>
            <p:nvPr/>
          </p:nvSpPr>
          <p:spPr bwMode="auto">
            <a:xfrm>
              <a:off x="1651000" y="2755900"/>
              <a:ext cx="1341438" cy="744538"/>
            </a:xfrm>
            <a:custGeom>
              <a:avLst/>
              <a:gdLst>
                <a:gd name="T0" fmla="*/ 722166 w 704"/>
                <a:gd name="T1" fmla="*/ 0 h 391"/>
                <a:gd name="T2" fmla="*/ 817439 w 704"/>
                <a:gd name="T3" fmla="*/ 28563 h 391"/>
                <a:gd name="T4" fmla="*/ 806006 w 704"/>
                <a:gd name="T5" fmla="*/ 66647 h 391"/>
                <a:gd name="T6" fmla="*/ 882224 w 704"/>
                <a:gd name="T7" fmla="*/ 45701 h 391"/>
                <a:gd name="T8" fmla="*/ 939388 w 704"/>
                <a:gd name="T9" fmla="*/ 72359 h 391"/>
                <a:gd name="T10" fmla="*/ 926049 w 704"/>
                <a:gd name="T11" fmla="*/ 95209 h 391"/>
                <a:gd name="T12" fmla="*/ 878413 w 704"/>
                <a:gd name="T13" fmla="*/ 129485 h 391"/>
                <a:gd name="T14" fmla="*/ 861264 w 704"/>
                <a:gd name="T15" fmla="*/ 209461 h 391"/>
                <a:gd name="T16" fmla="*/ 897468 w 704"/>
                <a:gd name="T17" fmla="*/ 163760 h 391"/>
                <a:gd name="T18" fmla="*/ 931766 w 704"/>
                <a:gd name="T19" fmla="*/ 116156 h 391"/>
                <a:gd name="T20" fmla="*/ 971780 w 704"/>
                <a:gd name="T21" fmla="*/ 146623 h 391"/>
                <a:gd name="T22" fmla="*/ 981308 w 704"/>
                <a:gd name="T23" fmla="*/ 161856 h 391"/>
                <a:gd name="T24" fmla="*/ 954631 w 704"/>
                <a:gd name="T25" fmla="*/ 224694 h 391"/>
                <a:gd name="T26" fmla="*/ 1067053 w 704"/>
                <a:gd name="T27" fmla="*/ 201844 h 391"/>
                <a:gd name="T28" fmla="*/ 1110878 w 704"/>
                <a:gd name="T29" fmla="*/ 182802 h 391"/>
                <a:gd name="T30" fmla="*/ 1160420 w 704"/>
                <a:gd name="T31" fmla="*/ 131389 h 391"/>
                <a:gd name="T32" fmla="*/ 1267125 w 704"/>
                <a:gd name="T33" fmla="*/ 110443 h 391"/>
                <a:gd name="T34" fmla="*/ 1309045 w 704"/>
                <a:gd name="T35" fmla="*/ 49509 h 391"/>
                <a:gd name="T36" fmla="*/ 1339533 w 704"/>
                <a:gd name="T37" fmla="*/ 100922 h 391"/>
                <a:gd name="T38" fmla="*/ 1272842 w 704"/>
                <a:gd name="T39" fmla="*/ 169473 h 391"/>
                <a:gd name="T40" fmla="*/ 1240449 w 704"/>
                <a:gd name="T41" fmla="*/ 236119 h 391"/>
                <a:gd name="T42" fmla="*/ 1168042 w 704"/>
                <a:gd name="T43" fmla="*/ 270395 h 391"/>
                <a:gd name="T44" fmla="*/ 1135649 w 704"/>
                <a:gd name="T45" fmla="*/ 319904 h 391"/>
                <a:gd name="T46" fmla="*/ 1114689 w 704"/>
                <a:gd name="T47" fmla="*/ 333233 h 391"/>
                <a:gd name="T48" fmla="*/ 1107068 w 704"/>
                <a:gd name="T49" fmla="*/ 354179 h 391"/>
                <a:gd name="T50" fmla="*/ 1114689 w 704"/>
                <a:gd name="T51" fmla="*/ 413209 h 391"/>
                <a:gd name="T52" fmla="*/ 1091824 w 704"/>
                <a:gd name="T53" fmla="*/ 443676 h 391"/>
                <a:gd name="T54" fmla="*/ 1023228 w 704"/>
                <a:gd name="T55" fmla="*/ 493185 h 391"/>
                <a:gd name="T56" fmla="*/ 967969 w 704"/>
                <a:gd name="T57" fmla="*/ 571257 h 391"/>
                <a:gd name="T58" fmla="*/ 977497 w 704"/>
                <a:gd name="T59" fmla="*/ 653137 h 391"/>
                <a:gd name="T60" fmla="*/ 973686 w 704"/>
                <a:gd name="T61" fmla="*/ 744538 h 391"/>
                <a:gd name="T62" fmla="*/ 943198 w 704"/>
                <a:gd name="T63" fmla="*/ 712167 h 391"/>
                <a:gd name="T64" fmla="*/ 927955 w 704"/>
                <a:gd name="T65" fmla="*/ 656945 h 391"/>
                <a:gd name="T66" fmla="*/ 889846 w 704"/>
                <a:gd name="T67" fmla="*/ 597915 h 391"/>
                <a:gd name="T68" fmla="*/ 838399 w 704"/>
                <a:gd name="T69" fmla="*/ 586490 h 391"/>
                <a:gd name="T70" fmla="*/ 773613 w 704"/>
                <a:gd name="T71" fmla="*/ 588395 h 391"/>
                <a:gd name="T72" fmla="*/ 773613 w 704"/>
                <a:gd name="T73" fmla="*/ 599820 h 391"/>
                <a:gd name="T74" fmla="*/ 752653 w 704"/>
                <a:gd name="T75" fmla="*/ 616957 h 391"/>
                <a:gd name="T76" fmla="*/ 708828 w 704"/>
                <a:gd name="T77" fmla="*/ 605532 h 391"/>
                <a:gd name="T78" fmla="*/ 638326 w 704"/>
                <a:gd name="T79" fmla="*/ 605532 h 391"/>
                <a:gd name="T80" fmla="*/ 579257 w 704"/>
                <a:gd name="T81" fmla="*/ 658850 h 391"/>
                <a:gd name="T82" fmla="*/ 565919 w 704"/>
                <a:gd name="T83" fmla="*/ 710263 h 391"/>
                <a:gd name="T84" fmla="*/ 506850 w 704"/>
                <a:gd name="T85" fmla="*/ 632191 h 391"/>
                <a:gd name="T86" fmla="*/ 455403 w 704"/>
                <a:gd name="T87" fmla="*/ 607436 h 391"/>
                <a:gd name="T88" fmla="*/ 402050 w 704"/>
                <a:gd name="T89" fmla="*/ 571257 h 391"/>
                <a:gd name="T90" fmla="*/ 266763 w 704"/>
                <a:gd name="T91" fmla="*/ 552215 h 391"/>
                <a:gd name="T92" fmla="*/ 125760 w 704"/>
                <a:gd name="T93" fmla="*/ 502706 h 391"/>
                <a:gd name="T94" fmla="*/ 55258 w 704"/>
                <a:gd name="T95" fmla="*/ 441772 h 391"/>
                <a:gd name="T96" fmla="*/ 28582 w 704"/>
                <a:gd name="T97" fmla="*/ 354179 h 391"/>
                <a:gd name="T98" fmla="*/ 34298 w 704"/>
                <a:gd name="T99" fmla="*/ 344658 h 391"/>
                <a:gd name="T100" fmla="*/ 0 w 704"/>
                <a:gd name="T101" fmla="*/ 283724 h 391"/>
                <a:gd name="T102" fmla="*/ 9527 w 704"/>
                <a:gd name="T103" fmla="*/ 201844 h 391"/>
                <a:gd name="T104" fmla="*/ 45731 w 704"/>
                <a:gd name="T105" fmla="*/ 93305 h 391"/>
                <a:gd name="T106" fmla="*/ 55258 w 704"/>
                <a:gd name="T107" fmla="*/ 26659 h 391"/>
                <a:gd name="T108" fmla="*/ 78124 w 704"/>
                <a:gd name="T109" fmla="*/ 53317 h 391"/>
                <a:gd name="T110" fmla="*/ 93367 w 704"/>
                <a:gd name="T111" fmla="*/ 0 h 39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04"/>
                <a:gd name="T169" fmla="*/ 0 h 391"/>
                <a:gd name="T170" fmla="*/ 704 w 704"/>
                <a:gd name="T171" fmla="*/ 391 h 39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04" h="391">
                  <a:moveTo>
                    <a:pt x="49" y="0"/>
                  </a:moveTo>
                  <a:cubicBezTo>
                    <a:pt x="58" y="0"/>
                    <a:pt x="67" y="1"/>
                    <a:pt x="75" y="1"/>
                  </a:cubicBezTo>
                  <a:cubicBezTo>
                    <a:pt x="117" y="1"/>
                    <a:pt x="159" y="1"/>
                    <a:pt x="201" y="1"/>
                  </a:cubicBezTo>
                  <a:cubicBezTo>
                    <a:pt x="236" y="1"/>
                    <a:pt x="271" y="2"/>
                    <a:pt x="306" y="2"/>
                  </a:cubicBezTo>
                  <a:cubicBezTo>
                    <a:pt x="323" y="2"/>
                    <a:pt x="341" y="2"/>
                    <a:pt x="358" y="1"/>
                  </a:cubicBezTo>
                  <a:cubicBezTo>
                    <a:pt x="365" y="1"/>
                    <a:pt x="372" y="0"/>
                    <a:pt x="379" y="0"/>
                  </a:cubicBezTo>
                  <a:cubicBezTo>
                    <a:pt x="381" y="0"/>
                    <a:pt x="383" y="1"/>
                    <a:pt x="386" y="2"/>
                  </a:cubicBezTo>
                  <a:cubicBezTo>
                    <a:pt x="389" y="3"/>
                    <a:pt x="391" y="5"/>
                    <a:pt x="394" y="6"/>
                  </a:cubicBezTo>
                  <a:cubicBezTo>
                    <a:pt x="397" y="7"/>
                    <a:pt x="401" y="6"/>
                    <a:pt x="404" y="7"/>
                  </a:cubicBezTo>
                  <a:cubicBezTo>
                    <a:pt x="406" y="8"/>
                    <a:pt x="408" y="10"/>
                    <a:pt x="410" y="11"/>
                  </a:cubicBezTo>
                  <a:cubicBezTo>
                    <a:pt x="414" y="13"/>
                    <a:pt x="417" y="15"/>
                    <a:pt x="421" y="15"/>
                  </a:cubicBezTo>
                  <a:cubicBezTo>
                    <a:pt x="423" y="16"/>
                    <a:pt x="426" y="15"/>
                    <a:pt x="429" y="15"/>
                  </a:cubicBezTo>
                  <a:cubicBezTo>
                    <a:pt x="433" y="16"/>
                    <a:pt x="437" y="18"/>
                    <a:pt x="440" y="18"/>
                  </a:cubicBezTo>
                  <a:cubicBezTo>
                    <a:pt x="438" y="19"/>
                    <a:pt x="434" y="20"/>
                    <a:pt x="431" y="22"/>
                  </a:cubicBezTo>
                  <a:cubicBezTo>
                    <a:pt x="428" y="23"/>
                    <a:pt x="424" y="26"/>
                    <a:pt x="421" y="28"/>
                  </a:cubicBezTo>
                  <a:cubicBezTo>
                    <a:pt x="418" y="31"/>
                    <a:pt x="414" y="33"/>
                    <a:pt x="412" y="36"/>
                  </a:cubicBezTo>
                  <a:cubicBezTo>
                    <a:pt x="411" y="37"/>
                    <a:pt x="413" y="38"/>
                    <a:pt x="414" y="38"/>
                  </a:cubicBezTo>
                  <a:cubicBezTo>
                    <a:pt x="417" y="38"/>
                    <a:pt x="420" y="36"/>
                    <a:pt x="423" y="35"/>
                  </a:cubicBezTo>
                  <a:cubicBezTo>
                    <a:pt x="424" y="35"/>
                    <a:pt x="425" y="36"/>
                    <a:pt x="426" y="36"/>
                  </a:cubicBezTo>
                  <a:cubicBezTo>
                    <a:pt x="427" y="37"/>
                    <a:pt x="428" y="40"/>
                    <a:pt x="429" y="39"/>
                  </a:cubicBezTo>
                  <a:cubicBezTo>
                    <a:pt x="433" y="39"/>
                    <a:pt x="436" y="37"/>
                    <a:pt x="440" y="35"/>
                  </a:cubicBezTo>
                  <a:cubicBezTo>
                    <a:pt x="443" y="34"/>
                    <a:pt x="446" y="34"/>
                    <a:pt x="449" y="32"/>
                  </a:cubicBezTo>
                  <a:cubicBezTo>
                    <a:pt x="453" y="30"/>
                    <a:pt x="455" y="26"/>
                    <a:pt x="458" y="24"/>
                  </a:cubicBezTo>
                  <a:cubicBezTo>
                    <a:pt x="460" y="23"/>
                    <a:pt x="462" y="23"/>
                    <a:pt x="463" y="24"/>
                  </a:cubicBezTo>
                  <a:cubicBezTo>
                    <a:pt x="464" y="25"/>
                    <a:pt x="461" y="26"/>
                    <a:pt x="460" y="27"/>
                  </a:cubicBezTo>
                  <a:cubicBezTo>
                    <a:pt x="458" y="29"/>
                    <a:pt x="454" y="31"/>
                    <a:pt x="455" y="34"/>
                  </a:cubicBezTo>
                  <a:cubicBezTo>
                    <a:pt x="456" y="37"/>
                    <a:pt x="461" y="36"/>
                    <a:pt x="464" y="37"/>
                  </a:cubicBezTo>
                  <a:cubicBezTo>
                    <a:pt x="466" y="38"/>
                    <a:pt x="468" y="40"/>
                    <a:pt x="470" y="40"/>
                  </a:cubicBezTo>
                  <a:cubicBezTo>
                    <a:pt x="475" y="41"/>
                    <a:pt x="480" y="38"/>
                    <a:pt x="485" y="38"/>
                  </a:cubicBezTo>
                  <a:cubicBezTo>
                    <a:pt x="488" y="38"/>
                    <a:pt x="491" y="37"/>
                    <a:pt x="493" y="38"/>
                  </a:cubicBezTo>
                  <a:cubicBezTo>
                    <a:pt x="494" y="39"/>
                    <a:pt x="494" y="41"/>
                    <a:pt x="495" y="43"/>
                  </a:cubicBezTo>
                  <a:cubicBezTo>
                    <a:pt x="496" y="45"/>
                    <a:pt x="498" y="46"/>
                    <a:pt x="499" y="47"/>
                  </a:cubicBezTo>
                  <a:cubicBezTo>
                    <a:pt x="501" y="49"/>
                    <a:pt x="503" y="49"/>
                    <a:pt x="503" y="50"/>
                  </a:cubicBezTo>
                  <a:cubicBezTo>
                    <a:pt x="504" y="52"/>
                    <a:pt x="501" y="51"/>
                    <a:pt x="500" y="51"/>
                  </a:cubicBezTo>
                  <a:cubicBezTo>
                    <a:pt x="497" y="51"/>
                    <a:pt x="494" y="51"/>
                    <a:pt x="491" y="51"/>
                  </a:cubicBezTo>
                  <a:cubicBezTo>
                    <a:pt x="489" y="51"/>
                    <a:pt x="487" y="50"/>
                    <a:pt x="486" y="50"/>
                  </a:cubicBezTo>
                  <a:cubicBezTo>
                    <a:pt x="483" y="51"/>
                    <a:pt x="482" y="53"/>
                    <a:pt x="480" y="54"/>
                  </a:cubicBezTo>
                  <a:cubicBezTo>
                    <a:pt x="476" y="54"/>
                    <a:pt x="471" y="50"/>
                    <a:pt x="468" y="52"/>
                  </a:cubicBezTo>
                  <a:cubicBezTo>
                    <a:pt x="464" y="53"/>
                    <a:pt x="462" y="57"/>
                    <a:pt x="461" y="60"/>
                  </a:cubicBezTo>
                  <a:cubicBezTo>
                    <a:pt x="458" y="64"/>
                    <a:pt x="456" y="69"/>
                    <a:pt x="455" y="74"/>
                  </a:cubicBezTo>
                  <a:cubicBezTo>
                    <a:pt x="455" y="75"/>
                    <a:pt x="457" y="75"/>
                    <a:pt x="457" y="74"/>
                  </a:cubicBezTo>
                  <a:cubicBezTo>
                    <a:pt x="459" y="72"/>
                    <a:pt x="460" y="70"/>
                    <a:pt x="461" y="68"/>
                  </a:cubicBezTo>
                  <a:cubicBezTo>
                    <a:pt x="462" y="66"/>
                    <a:pt x="462" y="63"/>
                    <a:pt x="464" y="62"/>
                  </a:cubicBezTo>
                  <a:cubicBezTo>
                    <a:pt x="465" y="61"/>
                    <a:pt x="467" y="61"/>
                    <a:pt x="467" y="62"/>
                  </a:cubicBezTo>
                  <a:cubicBezTo>
                    <a:pt x="466" y="66"/>
                    <a:pt x="464" y="70"/>
                    <a:pt x="462" y="74"/>
                  </a:cubicBezTo>
                  <a:cubicBezTo>
                    <a:pt x="460" y="78"/>
                    <a:pt x="457" y="83"/>
                    <a:pt x="455" y="87"/>
                  </a:cubicBezTo>
                  <a:cubicBezTo>
                    <a:pt x="454" y="91"/>
                    <a:pt x="453" y="95"/>
                    <a:pt x="453" y="98"/>
                  </a:cubicBezTo>
                  <a:cubicBezTo>
                    <a:pt x="452" y="102"/>
                    <a:pt x="452" y="106"/>
                    <a:pt x="452" y="110"/>
                  </a:cubicBezTo>
                  <a:cubicBezTo>
                    <a:pt x="452" y="113"/>
                    <a:pt x="451" y="116"/>
                    <a:pt x="452" y="119"/>
                  </a:cubicBezTo>
                  <a:cubicBezTo>
                    <a:pt x="453" y="120"/>
                    <a:pt x="454" y="121"/>
                    <a:pt x="455" y="122"/>
                  </a:cubicBezTo>
                  <a:cubicBezTo>
                    <a:pt x="457" y="122"/>
                    <a:pt x="459" y="122"/>
                    <a:pt x="461" y="121"/>
                  </a:cubicBezTo>
                  <a:cubicBezTo>
                    <a:pt x="464" y="118"/>
                    <a:pt x="466" y="115"/>
                    <a:pt x="468" y="111"/>
                  </a:cubicBezTo>
                  <a:cubicBezTo>
                    <a:pt x="470" y="108"/>
                    <a:pt x="471" y="105"/>
                    <a:pt x="471" y="102"/>
                  </a:cubicBezTo>
                  <a:cubicBezTo>
                    <a:pt x="472" y="96"/>
                    <a:pt x="471" y="91"/>
                    <a:pt x="471" y="86"/>
                  </a:cubicBezTo>
                  <a:cubicBezTo>
                    <a:pt x="472" y="82"/>
                    <a:pt x="473" y="78"/>
                    <a:pt x="475" y="75"/>
                  </a:cubicBezTo>
                  <a:cubicBezTo>
                    <a:pt x="476" y="72"/>
                    <a:pt x="477" y="70"/>
                    <a:pt x="479" y="68"/>
                  </a:cubicBezTo>
                  <a:cubicBezTo>
                    <a:pt x="480" y="67"/>
                    <a:pt x="482" y="65"/>
                    <a:pt x="483" y="66"/>
                  </a:cubicBezTo>
                  <a:cubicBezTo>
                    <a:pt x="484" y="66"/>
                    <a:pt x="483" y="69"/>
                    <a:pt x="484" y="69"/>
                  </a:cubicBezTo>
                  <a:cubicBezTo>
                    <a:pt x="485" y="69"/>
                    <a:pt x="486" y="67"/>
                    <a:pt x="487" y="66"/>
                  </a:cubicBezTo>
                  <a:cubicBezTo>
                    <a:pt x="488" y="64"/>
                    <a:pt x="489" y="62"/>
                    <a:pt x="489" y="61"/>
                  </a:cubicBezTo>
                  <a:cubicBezTo>
                    <a:pt x="490" y="59"/>
                    <a:pt x="491" y="56"/>
                    <a:pt x="492" y="55"/>
                  </a:cubicBezTo>
                  <a:cubicBezTo>
                    <a:pt x="494" y="54"/>
                    <a:pt x="496" y="54"/>
                    <a:pt x="497" y="55"/>
                  </a:cubicBezTo>
                  <a:cubicBezTo>
                    <a:pt x="500" y="55"/>
                    <a:pt x="501" y="57"/>
                    <a:pt x="503" y="59"/>
                  </a:cubicBezTo>
                  <a:cubicBezTo>
                    <a:pt x="506" y="60"/>
                    <a:pt x="508" y="61"/>
                    <a:pt x="510" y="63"/>
                  </a:cubicBezTo>
                  <a:cubicBezTo>
                    <a:pt x="511" y="65"/>
                    <a:pt x="510" y="67"/>
                    <a:pt x="510" y="69"/>
                  </a:cubicBezTo>
                  <a:cubicBezTo>
                    <a:pt x="510" y="72"/>
                    <a:pt x="511" y="74"/>
                    <a:pt x="510" y="77"/>
                  </a:cubicBezTo>
                  <a:cubicBezTo>
                    <a:pt x="510" y="78"/>
                    <a:pt x="509" y="80"/>
                    <a:pt x="508" y="82"/>
                  </a:cubicBezTo>
                  <a:cubicBezTo>
                    <a:pt x="506" y="83"/>
                    <a:pt x="503" y="82"/>
                    <a:pt x="501" y="83"/>
                  </a:cubicBezTo>
                  <a:cubicBezTo>
                    <a:pt x="500" y="84"/>
                    <a:pt x="499" y="87"/>
                    <a:pt x="501" y="88"/>
                  </a:cubicBezTo>
                  <a:cubicBezTo>
                    <a:pt x="503" y="88"/>
                    <a:pt x="505" y="85"/>
                    <a:pt x="507" y="84"/>
                  </a:cubicBezTo>
                  <a:cubicBezTo>
                    <a:pt x="509" y="84"/>
                    <a:pt x="511" y="83"/>
                    <a:pt x="513" y="83"/>
                  </a:cubicBezTo>
                  <a:cubicBezTo>
                    <a:pt x="514" y="84"/>
                    <a:pt x="515" y="84"/>
                    <a:pt x="515" y="85"/>
                  </a:cubicBezTo>
                  <a:cubicBezTo>
                    <a:pt x="517" y="90"/>
                    <a:pt x="517" y="97"/>
                    <a:pt x="518" y="102"/>
                  </a:cubicBezTo>
                  <a:cubicBezTo>
                    <a:pt x="517" y="104"/>
                    <a:pt x="517" y="106"/>
                    <a:pt x="516" y="107"/>
                  </a:cubicBezTo>
                  <a:cubicBezTo>
                    <a:pt x="514" y="108"/>
                    <a:pt x="511" y="107"/>
                    <a:pt x="510" y="108"/>
                  </a:cubicBezTo>
                  <a:cubicBezTo>
                    <a:pt x="509" y="109"/>
                    <a:pt x="509" y="110"/>
                    <a:pt x="508" y="111"/>
                  </a:cubicBezTo>
                  <a:cubicBezTo>
                    <a:pt x="508" y="112"/>
                    <a:pt x="507" y="114"/>
                    <a:pt x="506" y="115"/>
                  </a:cubicBezTo>
                  <a:cubicBezTo>
                    <a:pt x="504" y="116"/>
                    <a:pt x="503" y="116"/>
                    <a:pt x="501" y="118"/>
                  </a:cubicBezTo>
                  <a:cubicBezTo>
                    <a:pt x="500" y="119"/>
                    <a:pt x="500" y="121"/>
                    <a:pt x="501" y="122"/>
                  </a:cubicBezTo>
                  <a:cubicBezTo>
                    <a:pt x="504" y="124"/>
                    <a:pt x="507" y="125"/>
                    <a:pt x="510" y="125"/>
                  </a:cubicBezTo>
                  <a:cubicBezTo>
                    <a:pt x="514" y="125"/>
                    <a:pt x="518" y="125"/>
                    <a:pt x="522" y="124"/>
                  </a:cubicBezTo>
                  <a:cubicBezTo>
                    <a:pt x="526" y="123"/>
                    <a:pt x="528" y="121"/>
                    <a:pt x="531" y="119"/>
                  </a:cubicBezTo>
                  <a:cubicBezTo>
                    <a:pt x="537" y="117"/>
                    <a:pt x="542" y="114"/>
                    <a:pt x="548" y="112"/>
                  </a:cubicBezTo>
                  <a:cubicBezTo>
                    <a:pt x="552" y="110"/>
                    <a:pt x="557" y="109"/>
                    <a:pt x="560" y="106"/>
                  </a:cubicBezTo>
                  <a:cubicBezTo>
                    <a:pt x="561" y="106"/>
                    <a:pt x="560" y="105"/>
                    <a:pt x="560" y="104"/>
                  </a:cubicBezTo>
                  <a:cubicBezTo>
                    <a:pt x="559" y="103"/>
                    <a:pt x="559" y="102"/>
                    <a:pt x="559" y="101"/>
                  </a:cubicBezTo>
                  <a:cubicBezTo>
                    <a:pt x="559" y="99"/>
                    <a:pt x="559" y="98"/>
                    <a:pt x="559" y="97"/>
                  </a:cubicBezTo>
                  <a:cubicBezTo>
                    <a:pt x="560" y="97"/>
                    <a:pt x="562" y="96"/>
                    <a:pt x="563" y="96"/>
                  </a:cubicBezTo>
                  <a:cubicBezTo>
                    <a:pt x="566" y="96"/>
                    <a:pt x="570" y="97"/>
                    <a:pt x="573" y="97"/>
                  </a:cubicBezTo>
                  <a:cubicBezTo>
                    <a:pt x="577" y="97"/>
                    <a:pt x="580" y="97"/>
                    <a:pt x="583" y="96"/>
                  </a:cubicBezTo>
                  <a:cubicBezTo>
                    <a:pt x="587" y="95"/>
                    <a:pt x="591" y="95"/>
                    <a:pt x="594" y="93"/>
                  </a:cubicBezTo>
                  <a:cubicBezTo>
                    <a:pt x="596" y="92"/>
                    <a:pt x="595" y="90"/>
                    <a:pt x="595" y="89"/>
                  </a:cubicBezTo>
                  <a:cubicBezTo>
                    <a:pt x="595" y="87"/>
                    <a:pt x="593" y="85"/>
                    <a:pt x="594" y="83"/>
                  </a:cubicBezTo>
                  <a:cubicBezTo>
                    <a:pt x="595" y="81"/>
                    <a:pt x="599" y="82"/>
                    <a:pt x="600" y="80"/>
                  </a:cubicBezTo>
                  <a:cubicBezTo>
                    <a:pt x="602" y="79"/>
                    <a:pt x="602" y="77"/>
                    <a:pt x="603" y="75"/>
                  </a:cubicBezTo>
                  <a:cubicBezTo>
                    <a:pt x="606" y="73"/>
                    <a:pt x="607" y="71"/>
                    <a:pt x="609" y="69"/>
                  </a:cubicBezTo>
                  <a:cubicBezTo>
                    <a:pt x="615" y="69"/>
                    <a:pt x="622" y="69"/>
                    <a:pt x="628" y="69"/>
                  </a:cubicBezTo>
                  <a:cubicBezTo>
                    <a:pt x="636" y="69"/>
                    <a:pt x="645" y="69"/>
                    <a:pt x="653" y="69"/>
                  </a:cubicBezTo>
                  <a:cubicBezTo>
                    <a:pt x="653" y="68"/>
                    <a:pt x="652" y="66"/>
                    <a:pt x="653" y="65"/>
                  </a:cubicBezTo>
                  <a:cubicBezTo>
                    <a:pt x="654" y="64"/>
                    <a:pt x="655" y="63"/>
                    <a:pt x="657" y="63"/>
                  </a:cubicBezTo>
                  <a:cubicBezTo>
                    <a:pt x="659" y="62"/>
                    <a:pt x="662" y="64"/>
                    <a:pt x="663" y="63"/>
                  </a:cubicBezTo>
                  <a:cubicBezTo>
                    <a:pt x="665" y="62"/>
                    <a:pt x="664" y="60"/>
                    <a:pt x="665" y="58"/>
                  </a:cubicBezTo>
                  <a:cubicBezTo>
                    <a:pt x="666" y="57"/>
                    <a:pt x="668" y="57"/>
                    <a:pt x="669" y="55"/>
                  </a:cubicBezTo>
                  <a:cubicBezTo>
                    <a:pt x="670" y="53"/>
                    <a:pt x="669" y="51"/>
                    <a:pt x="670" y="49"/>
                  </a:cubicBezTo>
                  <a:cubicBezTo>
                    <a:pt x="671" y="47"/>
                    <a:pt x="674" y="45"/>
                    <a:pt x="676" y="43"/>
                  </a:cubicBezTo>
                  <a:cubicBezTo>
                    <a:pt x="676" y="42"/>
                    <a:pt x="674" y="41"/>
                    <a:pt x="675" y="40"/>
                  </a:cubicBezTo>
                  <a:cubicBezTo>
                    <a:pt x="676" y="37"/>
                    <a:pt x="679" y="34"/>
                    <a:pt x="681" y="31"/>
                  </a:cubicBezTo>
                  <a:cubicBezTo>
                    <a:pt x="682" y="29"/>
                    <a:pt x="684" y="26"/>
                    <a:pt x="687" y="26"/>
                  </a:cubicBezTo>
                  <a:cubicBezTo>
                    <a:pt x="689" y="26"/>
                    <a:pt x="688" y="31"/>
                    <a:pt x="690" y="31"/>
                  </a:cubicBezTo>
                  <a:cubicBezTo>
                    <a:pt x="692" y="32"/>
                    <a:pt x="693" y="28"/>
                    <a:pt x="695" y="28"/>
                  </a:cubicBezTo>
                  <a:cubicBezTo>
                    <a:pt x="697" y="28"/>
                    <a:pt x="699" y="29"/>
                    <a:pt x="701" y="30"/>
                  </a:cubicBezTo>
                  <a:cubicBezTo>
                    <a:pt x="701" y="30"/>
                    <a:pt x="702" y="31"/>
                    <a:pt x="703" y="31"/>
                  </a:cubicBezTo>
                  <a:cubicBezTo>
                    <a:pt x="702" y="38"/>
                    <a:pt x="701" y="45"/>
                    <a:pt x="701" y="53"/>
                  </a:cubicBezTo>
                  <a:cubicBezTo>
                    <a:pt x="701" y="53"/>
                    <a:pt x="702" y="53"/>
                    <a:pt x="703" y="53"/>
                  </a:cubicBezTo>
                  <a:cubicBezTo>
                    <a:pt x="703" y="57"/>
                    <a:pt x="703" y="62"/>
                    <a:pt x="703" y="67"/>
                  </a:cubicBezTo>
                  <a:cubicBezTo>
                    <a:pt x="703" y="70"/>
                    <a:pt x="704" y="74"/>
                    <a:pt x="702" y="77"/>
                  </a:cubicBezTo>
                  <a:cubicBezTo>
                    <a:pt x="699" y="80"/>
                    <a:pt x="695" y="83"/>
                    <a:pt x="690" y="84"/>
                  </a:cubicBezTo>
                  <a:cubicBezTo>
                    <a:pt x="688" y="85"/>
                    <a:pt x="685" y="81"/>
                    <a:pt x="682" y="82"/>
                  </a:cubicBezTo>
                  <a:cubicBezTo>
                    <a:pt x="679" y="83"/>
                    <a:pt x="678" y="86"/>
                    <a:pt x="676" y="87"/>
                  </a:cubicBezTo>
                  <a:cubicBezTo>
                    <a:pt x="674" y="88"/>
                    <a:pt x="670" y="88"/>
                    <a:pt x="668" y="89"/>
                  </a:cubicBezTo>
                  <a:cubicBezTo>
                    <a:pt x="665" y="91"/>
                    <a:pt x="663" y="94"/>
                    <a:pt x="662" y="97"/>
                  </a:cubicBezTo>
                  <a:cubicBezTo>
                    <a:pt x="660" y="100"/>
                    <a:pt x="658" y="103"/>
                    <a:pt x="657" y="107"/>
                  </a:cubicBezTo>
                  <a:cubicBezTo>
                    <a:pt x="656" y="109"/>
                    <a:pt x="656" y="111"/>
                    <a:pt x="657" y="113"/>
                  </a:cubicBezTo>
                  <a:cubicBezTo>
                    <a:pt x="657" y="115"/>
                    <a:pt x="659" y="118"/>
                    <a:pt x="659" y="121"/>
                  </a:cubicBezTo>
                  <a:cubicBezTo>
                    <a:pt x="658" y="123"/>
                    <a:pt x="657" y="127"/>
                    <a:pt x="654" y="128"/>
                  </a:cubicBezTo>
                  <a:cubicBezTo>
                    <a:pt x="652" y="129"/>
                    <a:pt x="653" y="124"/>
                    <a:pt x="651" y="124"/>
                  </a:cubicBezTo>
                  <a:cubicBezTo>
                    <a:pt x="650" y="123"/>
                    <a:pt x="648" y="124"/>
                    <a:pt x="647" y="125"/>
                  </a:cubicBezTo>
                  <a:cubicBezTo>
                    <a:pt x="647" y="126"/>
                    <a:pt x="648" y="129"/>
                    <a:pt x="647" y="129"/>
                  </a:cubicBezTo>
                  <a:cubicBezTo>
                    <a:pt x="643" y="130"/>
                    <a:pt x="639" y="128"/>
                    <a:pt x="635" y="128"/>
                  </a:cubicBezTo>
                  <a:cubicBezTo>
                    <a:pt x="632" y="128"/>
                    <a:pt x="629" y="129"/>
                    <a:pt x="627" y="130"/>
                  </a:cubicBezTo>
                  <a:cubicBezTo>
                    <a:pt x="623" y="131"/>
                    <a:pt x="620" y="133"/>
                    <a:pt x="617" y="135"/>
                  </a:cubicBezTo>
                  <a:cubicBezTo>
                    <a:pt x="615" y="137"/>
                    <a:pt x="614" y="139"/>
                    <a:pt x="613" y="142"/>
                  </a:cubicBezTo>
                  <a:cubicBezTo>
                    <a:pt x="613" y="143"/>
                    <a:pt x="615" y="144"/>
                    <a:pt x="615" y="145"/>
                  </a:cubicBezTo>
                  <a:cubicBezTo>
                    <a:pt x="615" y="149"/>
                    <a:pt x="614" y="153"/>
                    <a:pt x="612" y="157"/>
                  </a:cubicBezTo>
                  <a:cubicBezTo>
                    <a:pt x="610" y="160"/>
                    <a:pt x="607" y="161"/>
                    <a:pt x="604" y="164"/>
                  </a:cubicBezTo>
                  <a:cubicBezTo>
                    <a:pt x="602" y="165"/>
                    <a:pt x="601" y="167"/>
                    <a:pt x="599" y="167"/>
                  </a:cubicBezTo>
                  <a:cubicBezTo>
                    <a:pt x="598" y="167"/>
                    <a:pt x="597" y="165"/>
                    <a:pt x="596" y="165"/>
                  </a:cubicBezTo>
                  <a:cubicBezTo>
                    <a:pt x="595" y="165"/>
                    <a:pt x="596" y="167"/>
                    <a:pt x="596" y="168"/>
                  </a:cubicBezTo>
                  <a:cubicBezTo>
                    <a:pt x="596" y="169"/>
                    <a:pt x="598" y="170"/>
                    <a:pt x="597" y="172"/>
                  </a:cubicBezTo>
                  <a:cubicBezTo>
                    <a:pt x="597" y="176"/>
                    <a:pt x="596" y="181"/>
                    <a:pt x="594" y="186"/>
                  </a:cubicBezTo>
                  <a:cubicBezTo>
                    <a:pt x="593" y="188"/>
                    <a:pt x="591" y="191"/>
                    <a:pt x="588" y="192"/>
                  </a:cubicBezTo>
                  <a:cubicBezTo>
                    <a:pt x="587" y="193"/>
                    <a:pt x="587" y="191"/>
                    <a:pt x="587" y="190"/>
                  </a:cubicBezTo>
                  <a:cubicBezTo>
                    <a:pt x="586" y="188"/>
                    <a:pt x="585" y="185"/>
                    <a:pt x="585" y="183"/>
                  </a:cubicBezTo>
                  <a:cubicBezTo>
                    <a:pt x="584" y="180"/>
                    <a:pt x="585" y="178"/>
                    <a:pt x="585" y="175"/>
                  </a:cubicBezTo>
                  <a:cubicBezTo>
                    <a:pt x="585" y="172"/>
                    <a:pt x="584" y="169"/>
                    <a:pt x="585" y="167"/>
                  </a:cubicBezTo>
                  <a:cubicBezTo>
                    <a:pt x="585" y="165"/>
                    <a:pt x="588" y="165"/>
                    <a:pt x="588" y="163"/>
                  </a:cubicBezTo>
                  <a:cubicBezTo>
                    <a:pt x="589" y="162"/>
                    <a:pt x="587" y="160"/>
                    <a:pt x="586" y="161"/>
                  </a:cubicBezTo>
                  <a:cubicBezTo>
                    <a:pt x="584" y="163"/>
                    <a:pt x="582" y="166"/>
                    <a:pt x="581" y="169"/>
                  </a:cubicBezTo>
                  <a:cubicBezTo>
                    <a:pt x="580" y="171"/>
                    <a:pt x="581" y="174"/>
                    <a:pt x="581" y="177"/>
                  </a:cubicBezTo>
                  <a:cubicBezTo>
                    <a:pt x="581" y="180"/>
                    <a:pt x="581" y="183"/>
                    <a:pt x="581" y="186"/>
                  </a:cubicBezTo>
                  <a:cubicBezTo>
                    <a:pt x="581" y="188"/>
                    <a:pt x="580" y="189"/>
                    <a:pt x="580" y="190"/>
                  </a:cubicBezTo>
                  <a:cubicBezTo>
                    <a:pt x="580" y="194"/>
                    <a:pt x="579" y="197"/>
                    <a:pt x="579" y="201"/>
                  </a:cubicBezTo>
                  <a:cubicBezTo>
                    <a:pt x="579" y="203"/>
                    <a:pt x="578" y="205"/>
                    <a:pt x="579" y="206"/>
                  </a:cubicBezTo>
                  <a:cubicBezTo>
                    <a:pt x="580" y="207"/>
                    <a:pt x="583" y="206"/>
                    <a:pt x="584" y="208"/>
                  </a:cubicBezTo>
                  <a:cubicBezTo>
                    <a:pt x="585" y="210"/>
                    <a:pt x="583" y="212"/>
                    <a:pt x="584" y="215"/>
                  </a:cubicBezTo>
                  <a:cubicBezTo>
                    <a:pt x="584" y="216"/>
                    <a:pt x="586" y="217"/>
                    <a:pt x="585" y="217"/>
                  </a:cubicBezTo>
                  <a:cubicBezTo>
                    <a:pt x="583" y="218"/>
                    <a:pt x="581" y="217"/>
                    <a:pt x="579" y="218"/>
                  </a:cubicBezTo>
                  <a:cubicBezTo>
                    <a:pt x="578" y="218"/>
                    <a:pt x="579" y="219"/>
                    <a:pt x="579" y="219"/>
                  </a:cubicBezTo>
                  <a:cubicBezTo>
                    <a:pt x="581" y="221"/>
                    <a:pt x="585" y="221"/>
                    <a:pt x="585" y="223"/>
                  </a:cubicBezTo>
                  <a:cubicBezTo>
                    <a:pt x="586" y="225"/>
                    <a:pt x="583" y="227"/>
                    <a:pt x="581" y="228"/>
                  </a:cubicBezTo>
                  <a:cubicBezTo>
                    <a:pt x="579" y="229"/>
                    <a:pt x="575" y="226"/>
                    <a:pt x="573" y="227"/>
                  </a:cubicBezTo>
                  <a:cubicBezTo>
                    <a:pt x="571" y="228"/>
                    <a:pt x="572" y="231"/>
                    <a:pt x="573" y="233"/>
                  </a:cubicBezTo>
                  <a:cubicBezTo>
                    <a:pt x="574" y="234"/>
                    <a:pt x="577" y="232"/>
                    <a:pt x="578" y="234"/>
                  </a:cubicBezTo>
                  <a:cubicBezTo>
                    <a:pt x="578" y="236"/>
                    <a:pt x="576" y="238"/>
                    <a:pt x="575" y="239"/>
                  </a:cubicBezTo>
                  <a:cubicBezTo>
                    <a:pt x="572" y="240"/>
                    <a:pt x="567" y="239"/>
                    <a:pt x="564" y="240"/>
                  </a:cubicBezTo>
                  <a:cubicBezTo>
                    <a:pt x="561" y="242"/>
                    <a:pt x="559" y="246"/>
                    <a:pt x="556" y="248"/>
                  </a:cubicBezTo>
                  <a:cubicBezTo>
                    <a:pt x="553" y="250"/>
                    <a:pt x="549" y="249"/>
                    <a:pt x="546" y="251"/>
                  </a:cubicBezTo>
                  <a:cubicBezTo>
                    <a:pt x="542" y="253"/>
                    <a:pt x="539" y="256"/>
                    <a:pt x="537" y="259"/>
                  </a:cubicBezTo>
                  <a:cubicBezTo>
                    <a:pt x="536" y="260"/>
                    <a:pt x="538" y="262"/>
                    <a:pt x="538" y="263"/>
                  </a:cubicBezTo>
                  <a:cubicBezTo>
                    <a:pt x="535" y="266"/>
                    <a:pt x="531" y="269"/>
                    <a:pt x="527" y="272"/>
                  </a:cubicBezTo>
                  <a:cubicBezTo>
                    <a:pt x="525" y="273"/>
                    <a:pt x="521" y="272"/>
                    <a:pt x="520" y="274"/>
                  </a:cubicBezTo>
                  <a:cubicBezTo>
                    <a:pt x="518" y="275"/>
                    <a:pt x="518" y="279"/>
                    <a:pt x="517" y="281"/>
                  </a:cubicBezTo>
                  <a:cubicBezTo>
                    <a:pt x="515" y="283"/>
                    <a:pt x="513" y="285"/>
                    <a:pt x="511" y="287"/>
                  </a:cubicBezTo>
                  <a:cubicBezTo>
                    <a:pt x="509" y="291"/>
                    <a:pt x="508" y="296"/>
                    <a:pt x="508" y="300"/>
                  </a:cubicBezTo>
                  <a:cubicBezTo>
                    <a:pt x="507" y="302"/>
                    <a:pt x="507" y="305"/>
                    <a:pt x="507" y="307"/>
                  </a:cubicBezTo>
                  <a:cubicBezTo>
                    <a:pt x="507" y="310"/>
                    <a:pt x="506" y="314"/>
                    <a:pt x="506" y="317"/>
                  </a:cubicBezTo>
                  <a:cubicBezTo>
                    <a:pt x="508" y="322"/>
                    <a:pt x="512" y="326"/>
                    <a:pt x="514" y="331"/>
                  </a:cubicBezTo>
                  <a:cubicBezTo>
                    <a:pt x="514" y="333"/>
                    <a:pt x="514" y="336"/>
                    <a:pt x="514" y="339"/>
                  </a:cubicBezTo>
                  <a:cubicBezTo>
                    <a:pt x="514" y="340"/>
                    <a:pt x="513" y="336"/>
                    <a:pt x="512" y="337"/>
                  </a:cubicBezTo>
                  <a:cubicBezTo>
                    <a:pt x="512" y="339"/>
                    <a:pt x="512" y="341"/>
                    <a:pt x="513" y="343"/>
                  </a:cubicBezTo>
                  <a:cubicBezTo>
                    <a:pt x="514" y="346"/>
                    <a:pt x="515" y="348"/>
                    <a:pt x="517" y="351"/>
                  </a:cubicBezTo>
                  <a:cubicBezTo>
                    <a:pt x="518" y="354"/>
                    <a:pt x="519" y="357"/>
                    <a:pt x="520" y="360"/>
                  </a:cubicBezTo>
                  <a:cubicBezTo>
                    <a:pt x="520" y="363"/>
                    <a:pt x="520" y="366"/>
                    <a:pt x="520" y="369"/>
                  </a:cubicBezTo>
                  <a:cubicBezTo>
                    <a:pt x="519" y="372"/>
                    <a:pt x="516" y="375"/>
                    <a:pt x="515" y="379"/>
                  </a:cubicBezTo>
                  <a:cubicBezTo>
                    <a:pt x="514" y="382"/>
                    <a:pt x="515" y="385"/>
                    <a:pt x="514" y="388"/>
                  </a:cubicBezTo>
                  <a:cubicBezTo>
                    <a:pt x="513" y="390"/>
                    <a:pt x="512" y="391"/>
                    <a:pt x="511" y="391"/>
                  </a:cubicBezTo>
                  <a:cubicBezTo>
                    <a:pt x="510" y="391"/>
                    <a:pt x="512" y="388"/>
                    <a:pt x="511" y="388"/>
                  </a:cubicBezTo>
                  <a:cubicBezTo>
                    <a:pt x="508" y="387"/>
                    <a:pt x="505" y="389"/>
                    <a:pt x="501" y="388"/>
                  </a:cubicBezTo>
                  <a:cubicBezTo>
                    <a:pt x="501" y="388"/>
                    <a:pt x="501" y="387"/>
                    <a:pt x="501" y="386"/>
                  </a:cubicBezTo>
                  <a:cubicBezTo>
                    <a:pt x="502" y="384"/>
                    <a:pt x="505" y="383"/>
                    <a:pt x="505" y="382"/>
                  </a:cubicBezTo>
                  <a:cubicBezTo>
                    <a:pt x="504" y="380"/>
                    <a:pt x="501" y="380"/>
                    <a:pt x="499" y="379"/>
                  </a:cubicBezTo>
                  <a:cubicBezTo>
                    <a:pt x="497" y="377"/>
                    <a:pt x="496" y="376"/>
                    <a:pt x="495" y="374"/>
                  </a:cubicBezTo>
                  <a:cubicBezTo>
                    <a:pt x="493" y="370"/>
                    <a:pt x="493" y="366"/>
                    <a:pt x="492" y="362"/>
                  </a:cubicBezTo>
                  <a:cubicBezTo>
                    <a:pt x="491" y="361"/>
                    <a:pt x="492" y="359"/>
                    <a:pt x="492" y="358"/>
                  </a:cubicBezTo>
                  <a:cubicBezTo>
                    <a:pt x="491" y="358"/>
                    <a:pt x="490" y="360"/>
                    <a:pt x="489" y="360"/>
                  </a:cubicBezTo>
                  <a:cubicBezTo>
                    <a:pt x="488" y="358"/>
                    <a:pt x="489" y="356"/>
                    <a:pt x="488" y="354"/>
                  </a:cubicBezTo>
                  <a:cubicBezTo>
                    <a:pt x="488" y="352"/>
                    <a:pt x="487" y="350"/>
                    <a:pt x="487" y="348"/>
                  </a:cubicBezTo>
                  <a:cubicBezTo>
                    <a:pt x="487" y="347"/>
                    <a:pt x="487" y="346"/>
                    <a:pt x="487" y="345"/>
                  </a:cubicBezTo>
                  <a:cubicBezTo>
                    <a:pt x="487" y="343"/>
                    <a:pt x="486" y="341"/>
                    <a:pt x="486" y="339"/>
                  </a:cubicBezTo>
                  <a:cubicBezTo>
                    <a:pt x="486" y="336"/>
                    <a:pt x="489" y="334"/>
                    <a:pt x="489" y="331"/>
                  </a:cubicBezTo>
                  <a:cubicBezTo>
                    <a:pt x="489" y="329"/>
                    <a:pt x="487" y="326"/>
                    <a:pt x="486" y="324"/>
                  </a:cubicBezTo>
                  <a:cubicBezTo>
                    <a:pt x="485" y="323"/>
                    <a:pt x="482" y="323"/>
                    <a:pt x="481" y="322"/>
                  </a:cubicBezTo>
                  <a:cubicBezTo>
                    <a:pt x="478" y="319"/>
                    <a:pt x="477" y="313"/>
                    <a:pt x="473" y="311"/>
                  </a:cubicBezTo>
                  <a:cubicBezTo>
                    <a:pt x="471" y="310"/>
                    <a:pt x="469" y="313"/>
                    <a:pt x="467" y="314"/>
                  </a:cubicBezTo>
                  <a:cubicBezTo>
                    <a:pt x="465" y="315"/>
                    <a:pt x="463" y="317"/>
                    <a:pt x="461" y="318"/>
                  </a:cubicBezTo>
                  <a:cubicBezTo>
                    <a:pt x="460" y="318"/>
                    <a:pt x="457" y="319"/>
                    <a:pt x="456" y="318"/>
                  </a:cubicBezTo>
                  <a:cubicBezTo>
                    <a:pt x="454" y="316"/>
                    <a:pt x="455" y="312"/>
                    <a:pt x="453" y="310"/>
                  </a:cubicBezTo>
                  <a:cubicBezTo>
                    <a:pt x="452" y="309"/>
                    <a:pt x="450" y="309"/>
                    <a:pt x="449" y="309"/>
                  </a:cubicBezTo>
                  <a:cubicBezTo>
                    <a:pt x="447" y="308"/>
                    <a:pt x="446" y="307"/>
                    <a:pt x="445" y="307"/>
                  </a:cubicBezTo>
                  <a:cubicBezTo>
                    <a:pt x="443" y="307"/>
                    <a:pt x="442" y="308"/>
                    <a:pt x="440" y="308"/>
                  </a:cubicBezTo>
                  <a:cubicBezTo>
                    <a:pt x="439" y="308"/>
                    <a:pt x="438" y="307"/>
                    <a:pt x="437" y="307"/>
                  </a:cubicBezTo>
                  <a:cubicBezTo>
                    <a:pt x="436" y="307"/>
                    <a:pt x="435" y="308"/>
                    <a:pt x="434" y="308"/>
                  </a:cubicBezTo>
                  <a:cubicBezTo>
                    <a:pt x="433" y="308"/>
                    <a:pt x="431" y="308"/>
                    <a:pt x="430" y="308"/>
                  </a:cubicBezTo>
                  <a:cubicBezTo>
                    <a:pt x="429" y="307"/>
                    <a:pt x="427" y="306"/>
                    <a:pt x="425" y="306"/>
                  </a:cubicBezTo>
                  <a:cubicBezTo>
                    <a:pt x="421" y="306"/>
                    <a:pt x="416" y="307"/>
                    <a:pt x="412" y="307"/>
                  </a:cubicBezTo>
                  <a:cubicBezTo>
                    <a:pt x="410" y="308"/>
                    <a:pt x="408" y="309"/>
                    <a:pt x="406" y="309"/>
                  </a:cubicBezTo>
                  <a:cubicBezTo>
                    <a:pt x="404" y="309"/>
                    <a:pt x="403" y="307"/>
                    <a:pt x="401" y="307"/>
                  </a:cubicBezTo>
                  <a:cubicBezTo>
                    <a:pt x="399" y="306"/>
                    <a:pt x="397" y="305"/>
                    <a:pt x="396" y="307"/>
                  </a:cubicBezTo>
                  <a:cubicBezTo>
                    <a:pt x="395" y="308"/>
                    <a:pt x="397" y="310"/>
                    <a:pt x="398" y="311"/>
                  </a:cubicBezTo>
                  <a:cubicBezTo>
                    <a:pt x="399" y="313"/>
                    <a:pt x="400" y="314"/>
                    <a:pt x="402" y="314"/>
                  </a:cubicBezTo>
                  <a:cubicBezTo>
                    <a:pt x="403" y="314"/>
                    <a:pt x="403" y="312"/>
                    <a:pt x="404" y="312"/>
                  </a:cubicBezTo>
                  <a:cubicBezTo>
                    <a:pt x="405" y="312"/>
                    <a:pt x="406" y="313"/>
                    <a:pt x="406" y="315"/>
                  </a:cubicBezTo>
                  <a:cubicBezTo>
                    <a:pt x="406" y="316"/>
                    <a:pt x="404" y="318"/>
                    <a:pt x="405" y="319"/>
                  </a:cubicBezTo>
                  <a:cubicBezTo>
                    <a:pt x="406" y="321"/>
                    <a:pt x="409" y="321"/>
                    <a:pt x="410" y="322"/>
                  </a:cubicBezTo>
                  <a:cubicBezTo>
                    <a:pt x="411" y="324"/>
                    <a:pt x="412" y="328"/>
                    <a:pt x="410" y="328"/>
                  </a:cubicBezTo>
                  <a:cubicBezTo>
                    <a:pt x="408" y="328"/>
                    <a:pt x="407" y="324"/>
                    <a:pt x="405" y="322"/>
                  </a:cubicBezTo>
                  <a:cubicBezTo>
                    <a:pt x="402" y="320"/>
                    <a:pt x="399" y="316"/>
                    <a:pt x="395" y="316"/>
                  </a:cubicBezTo>
                  <a:cubicBezTo>
                    <a:pt x="393" y="317"/>
                    <a:pt x="397" y="322"/>
                    <a:pt x="395" y="324"/>
                  </a:cubicBezTo>
                  <a:cubicBezTo>
                    <a:pt x="394" y="326"/>
                    <a:pt x="391" y="324"/>
                    <a:pt x="389" y="324"/>
                  </a:cubicBezTo>
                  <a:cubicBezTo>
                    <a:pt x="388" y="324"/>
                    <a:pt x="387" y="326"/>
                    <a:pt x="386" y="326"/>
                  </a:cubicBezTo>
                  <a:cubicBezTo>
                    <a:pt x="384" y="325"/>
                    <a:pt x="383" y="324"/>
                    <a:pt x="381" y="322"/>
                  </a:cubicBezTo>
                  <a:cubicBezTo>
                    <a:pt x="380" y="321"/>
                    <a:pt x="380" y="319"/>
                    <a:pt x="379" y="318"/>
                  </a:cubicBezTo>
                  <a:cubicBezTo>
                    <a:pt x="378" y="316"/>
                    <a:pt x="376" y="314"/>
                    <a:pt x="374" y="315"/>
                  </a:cubicBezTo>
                  <a:cubicBezTo>
                    <a:pt x="373" y="315"/>
                    <a:pt x="374" y="317"/>
                    <a:pt x="372" y="318"/>
                  </a:cubicBezTo>
                  <a:cubicBezTo>
                    <a:pt x="370" y="319"/>
                    <a:pt x="367" y="319"/>
                    <a:pt x="364" y="319"/>
                  </a:cubicBezTo>
                  <a:cubicBezTo>
                    <a:pt x="361" y="318"/>
                    <a:pt x="359" y="315"/>
                    <a:pt x="357" y="315"/>
                  </a:cubicBezTo>
                  <a:cubicBezTo>
                    <a:pt x="353" y="315"/>
                    <a:pt x="350" y="317"/>
                    <a:pt x="347" y="318"/>
                  </a:cubicBezTo>
                  <a:cubicBezTo>
                    <a:pt x="345" y="319"/>
                    <a:pt x="343" y="321"/>
                    <a:pt x="341" y="321"/>
                  </a:cubicBezTo>
                  <a:cubicBezTo>
                    <a:pt x="340" y="320"/>
                    <a:pt x="340" y="318"/>
                    <a:pt x="339" y="318"/>
                  </a:cubicBezTo>
                  <a:cubicBezTo>
                    <a:pt x="338" y="317"/>
                    <a:pt x="336" y="317"/>
                    <a:pt x="335" y="318"/>
                  </a:cubicBezTo>
                  <a:cubicBezTo>
                    <a:pt x="335" y="320"/>
                    <a:pt x="338" y="322"/>
                    <a:pt x="337" y="324"/>
                  </a:cubicBezTo>
                  <a:cubicBezTo>
                    <a:pt x="336" y="327"/>
                    <a:pt x="333" y="327"/>
                    <a:pt x="331" y="329"/>
                  </a:cubicBezTo>
                  <a:cubicBezTo>
                    <a:pt x="329" y="331"/>
                    <a:pt x="328" y="334"/>
                    <a:pt x="325" y="335"/>
                  </a:cubicBezTo>
                  <a:cubicBezTo>
                    <a:pt x="323" y="336"/>
                    <a:pt x="320" y="335"/>
                    <a:pt x="318" y="336"/>
                  </a:cubicBezTo>
                  <a:cubicBezTo>
                    <a:pt x="315" y="337"/>
                    <a:pt x="313" y="338"/>
                    <a:pt x="312" y="339"/>
                  </a:cubicBezTo>
                  <a:cubicBezTo>
                    <a:pt x="309" y="341"/>
                    <a:pt x="306" y="343"/>
                    <a:pt x="304" y="346"/>
                  </a:cubicBezTo>
                  <a:cubicBezTo>
                    <a:pt x="303" y="347"/>
                    <a:pt x="305" y="349"/>
                    <a:pt x="304" y="351"/>
                  </a:cubicBezTo>
                  <a:cubicBezTo>
                    <a:pt x="304" y="353"/>
                    <a:pt x="300" y="355"/>
                    <a:pt x="300" y="357"/>
                  </a:cubicBezTo>
                  <a:cubicBezTo>
                    <a:pt x="300" y="361"/>
                    <a:pt x="303" y="364"/>
                    <a:pt x="304" y="368"/>
                  </a:cubicBezTo>
                  <a:cubicBezTo>
                    <a:pt x="304" y="369"/>
                    <a:pt x="304" y="371"/>
                    <a:pt x="304" y="373"/>
                  </a:cubicBezTo>
                  <a:cubicBezTo>
                    <a:pt x="303" y="375"/>
                    <a:pt x="302" y="376"/>
                    <a:pt x="302" y="377"/>
                  </a:cubicBezTo>
                  <a:cubicBezTo>
                    <a:pt x="300" y="376"/>
                    <a:pt x="299" y="373"/>
                    <a:pt x="297" y="373"/>
                  </a:cubicBezTo>
                  <a:cubicBezTo>
                    <a:pt x="295" y="372"/>
                    <a:pt x="293" y="373"/>
                    <a:pt x="291" y="373"/>
                  </a:cubicBezTo>
                  <a:cubicBezTo>
                    <a:pt x="288" y="371"/>
                    <a:pt x="285" y="370"/>
                    <a:pt x="283" y="368"/>
                  </a:cubicBezTo>
                  <a:cubicBezTo>
                    <a:pt x="280" y="365"/>
                    <a:pt x="279" y="362"/>
                    <a:pt x="277" y="359"/>
                  </a:cubicBezTo>
                  <a:cubicBezTo>
                    <a:pt x="276" y="357"/>
                    <a:pt x="277" y="354"/>
                    <a:pt x="276" y="352"/>
                  </a:cubicBezTo>
                  <a:cubicBezTo>
                    <a:pt x="275" y="350"/>
                    <a:pt x="273" y="348"/>
                    <a:pt x="272" y="345"/>
                  </a:cubicBezTo>
                  <a:cubicBezTo>
                    <a:pt x="270" y="341"/>
                    <a:pt x="268" y="337"/>
                    <a:pt x="266" y="332"/>
                  </a:cubicBezTo>
                  <a:cubicBezTo>
                    <a:pt x="265" y="329"/>
                    <a:pt x="264" y="325"/>
                    <a:pt x="263" y="322"/>
                  </a:cubicBezTo>
                  <a:cubicBezTo>
                    <a:pt x="262" y="319"/>
                    <a:pt x="260" y="316"/>
                    <a:pt x="258" y="315"/>
                  </a:cubicBezTo>
                  <a:cubicBezTo>
                    <a:pt x="255" y="314"/>
                    <a:pt x="253" y="314"/>
                    <a:pt x="250" y="314"/>
                  </a:cubicBezTo>
                  <a:cubicBezTo>
                    <a:pt x="248" y="314"/>
                    <a:pt x="246" y="314"/>
                    <a:pt x="245" y="314"/>
                  </a:cubicBezTo>
                  <a:cubicBezTo>
                    <a:pt x="243" y="315"/>
                    <a:pt x="242" y="315"/>
                    <a:pt x="241" y="316"/>
                  </a:cubicBezTo>
                  <a:cubicBezTo>
                    <a:pt x="240" y="317"/>
                    <a:pt x="240" y="318"/>
                    <a:pt x="239" y="319"/>
                  </a:cubicBezTo>
                  <a:cubicBezTo>
                    <a:pt x="239" y="321"/>
                    <a:pt x="239" y="323"/>
                    <a:pt x="238" y="325"/>
                  </a:cubicBezTo>
                  <a:cubicBezTo>
                    <a:pt x="238" y="326"/>
                    <a:pt x="236" y="327"/>
                    <a:pt x="235" y="327"/>
                  </a:cubicBezTo>
                  <a:cubicBezTo>
                    <a:pt x="232" y="326"/>
                    <a:pt x="229" y="323"/>
                    <a:pt x="226" y="322"/>
                  </a:cubicBezTo>
                  <a:cubicBezTo>
                    <a:pt x="224" y="320"/>
                    <a:pt x="220" y="320"/>
                    <a:pt x="219" y="318"/>
                  </a:cubicBezTo>
                  <a:cubicBezTo>
                    <a:pt x="216" y="315"/>
                    <a:pt x="216" y="311"/>
                    <a:pt x="214" y="308"/>
                  </a:cubicBezTo>
                  <a:cubicBezTo>
                    <a:pt x="213" y="305"/>
                    <a:pt x="213" y="302"/>
                    <a:pt x="211" y="300"/>
                  </a:cubicBezTo>
                  <a:cubicBezTo>
                    <a:pt x="209" y="297"/>
                    <a:pt x="206" y="294"/>
                    <a:pt x="203" y="291"/>
                  </a:cubicBezTo>
                  <a:cubicBezTo>
                    <a:pt x="201" y="288"/>
                    <a:pt x="200" y="286"/>
                    <a:pt x="199" y="283"/>
                  </a:cubicBezTo>
                  <a:cubicBezTo>
                    <a:pt x="192" y="283"/>
                    <a:pt x="185" y="283"/>
                    <a:pt x="177" y="283"/>
                  </a:cubicBezTo>
                  <a:cubicBezTo>
                    <a:pt x="177" y="286"/>
                    <a:pt x="176" y="288"/>
                    <a:pt x="176" y="291"/>
                  </a:cubicBezTo>
                  <a:cubicBezTo>
                    <a:pt x="165" y="290"/>
                    <a:pt x="154" y="290"/>
                    <a:pt x="142" y="290"/>
                  </a:cubicBezTo>
                  <a:cubicBezTo>
                    <a:pt x="142" y="290"/>
                    <a:pt x="141" y="290"/>
                    <a:pt x="140" y="290"/>
                  </a:cubicBezTo>
                  <a:cubicBezTo>
                    <a:pt x="125" y="284"/>
                    <a:pt x="111" y="278"/>
                    <a:pt x="96" y="272"/>
                  </a:cubicBezTo>
                  <a:cubicBezTo>
                    <a:pt x="96" y="272"/>
                    <a:pt x="96" y="271"/>
                    <a:pt x="96" y="270"/>
                  </a:cubicBezTo>
                  <a:cubicBezTo>
                    <a:pt x="88" y="270"/>
                    <a:pt x="81" y="270"/>
                    <a:pt x="73" y="270"/>
                  </a:cubicBezTo>
                  <a:cubicBezTo>
                    <a:pt x="71" y="271"/>
                    <a:pt x="70" y="272"/>
                    <a:pt x="68" y="273"/>
                  </a:cubicBezTo>
                  <a:cubicBezTo>
                    <a:pt x="68" y="272"/>
                    <a:pt x="66" y="271"/>
                    <a:pt x="66" y="269"/>
                  </a:cubicBezTo>
                  <a:cubicBezTo>
                    <a:pt x="66" y="268"/>
                    <a:pt x="67" y="266"/>
                    <a:pt x="66" y="264"/>
                  </a:cubicBezTo>
                  <a:cubicBezTo>
                    <a:pt x="66" y="261"/>
                    <a:pt x="64" y="258"/>
                    <a:pt x="63" y="255"/>
                  </a:cubicBezTo>
                  <a:cubicBezTo>
                    <a:pt x="61" y="252"/>
                    <a:pt x="59" y="249"/>
                    <a:pt x="56" y="247"/>
                  </a:cubicBezTo>
                  <a:cubicBezTo>
                    <a:pt x="54" y="245"/>
                    <a:pt x="50" y="247"/>
                    <a:pt x="48" y="246"/>
                  </a:cubicBezTo>
                  <a:cubicBezTo>
                    <a:pt x="45" y="245"/>
                    <a:pt x="43" y="242"/>
                    <a:pt x="40" y="241"/>
                  </a:cubicBezTo>
                  <a:cubicBezTo>
                    <a:pt x="37" y="240"/>
                    <a:pt x="32" y="241"/>
                    <a:pt x="29" y="239"/>
                  </a:cubicBezTo>
                  <a:cubicBezTo>
                    <a:pt x="28" y="237"/>
                    <a:pt x="30" y="234"/>
                    <a:pt x="29" y="232"/>
                  </a:cubicBezTo>
                  <a:cubicBezTo>
                    <a:pt x="29" y="228"/>
                    <a:pt x="26" y="226"/>
                    <a:pt x="25" y="223"/>
                  </a:cubicBezTo>
                  <a:cubicBezTo>
                    <a:pt x="23" y="218"/>
                    <a:pt x="21" y="213"/>
                    <a:pt x="20" y="208"/>
                  </a:cubicBezTo>
                  <a:cubicBezTo>
                    <a:pt x="19" y="206"/>
                    <a:pt x="22" y="203"/>
                    <a:pt x="21" y="201"/>
                  </a:cubicBezTo>
                  <a:cubicBezTo>
                    <a:pt x="21" y="200"/>
                    <a:pt x="19" y="200"/>
                    <a:pt x="18" y="199"/>
                  </a:cubicBezTo>
                  <a:cubicBezTo>
                    <a:pt x="17" y="198"/>
                    <a:pt x="16" y="196"/>
                    <a:pt x="16" y="194"/>
                  </a:cubicBezTo>
                  <a:cubicBezTo>
                    <a:pt x="15" y="192"/>
                    <a:pt x="15" y="189"/>
                    <a:pt x="15" y="186"/>
                  </a:cubicBezTo>
                  <a:cubicBezTo>
                    <a:pt x="15" y="185"/>
                    <a:pt x="15" y="183"/>
                    <a:pt x="16" y="184"/>
                  </a:cubicBezTo>
                  <a:cubicBezTo>
                    <a:pt x="18" y="184"/>
                    <a:pt x="18" y="187"/>
                    <a:pt x="19" y="187"/>
                  </a:cubicBezTo>
                  <a:cubicBezTo>
                    <a:pt x="20" y="187"/>
                    <a:pt x="19" y="185"/>
                    <a:pt x="19" y="184"/>
                  </a:cubicBezTo>
                  <a:cubicBezTo>
                    <a:pt x="20" y="182"/>
                    <a:pt x="21" y="181"/>
                    <a:pt x="21" y="180"/>
                  </a:cubicBezTo>
                  <a:cubicBezTo>
                    <a:pt x="21" y="179"/>
                    <a:pt x="20" y="178"/>
                    <a:pt x="19" y="178"/>
                  </a:cubicBezTo>
                  <a:cubicBezTo>
                    <a:pt x="18" y="178"/>
                    <a:pt x="18" y="180"/>
                    <a:pt x="18" y="181"/>
                  </a:cubicBezTo>
                  <a:cubicBezTo>
                    <a:pt x="17" y="182"/>
                    <a:pt x="16" y="182"/>
                    <a:pt x="15" y="181"/>
                  </a:cubicBezTo>
                  <a:cubicBezTo>
                    <a:pt x="13" y="180"/>
                    <a:pt x="12" y="179"/>
                    <a:pt x="11" y="178"/>
                  </a:cubicBezTo>
                  <a:cubicBezTo>
                    <a:pt x="10" y="176"/>
                    <a:pt x="9" y="174"/>
                    <a:pt x="7" y="172"/>
                  </a:cubicBezTo>
                  <a:cubicBezTo>
                    <a:pt x="6" y="170"/>
                    <a:pt x="3" y="168"/>
                    <a:pt x="3" y="166"/>
                  </a:cubicBezTo>
                  <a:cubicBezTo>
                    <a:pt x="2" y="163"/>
                    <a:pt x="5" y="161"/>
                    <a:pt x="4" y="158"/>
                  </a:cubicBezTo>
                  <a:cubicBezTo>
                    <a:pt x="4" y="155"/>
                    <a:pt x="1" y="152"/>
                    <a:pt x="0" y="149"/>
                  </a:cubicBezTo>
                  <a:cubicBezTo>
                    <a:pt x="0" y="147"/>
                    <a:pt x="0" y="146"/>
                    <a:pt x="0" y="144"/>
                  </a:cubicBezTo>
                  <a:cubicBezTo>
                    <a:pt x="1" y="141"/>
                    <a:pt x="2" y="138"/>
                    <a:pt x="3" y="135"/>
                  </a:cubicBezTo>
                  <a:cubicBezTo>
                    <a:pt x="4" y="133"/>
                    <a:pt x="5" y="132"/>
                    <a:pt x="5" y="130"/>
                  </a:cubicBezTo>
                  <a:cubicBezTo>
                    <a:pt x="5" y="127"/>
                    <a:pt x="4" y="125"/>
                    <a:pt x="4" y="122"/>
                  </a:cubicBezTo>
                  <a:cubicBezTo>
                    <a:pt x="4" y="121"/>
                    <a:pt x="6" y="119"/>
                    <a:pt x="6" y="118"/>
                  </a:cubicBezTo>
                  <a:cubicBezTo>
                    <a:pt x="6" y="114"/>
                    <a:pt x="5" y="110"/>
                    <a:pt x="5" y="106"/>
                  </a:cubicBezTo>
                  <a:cubicBezTo>
                    <a:pt x="5" y="105"/>
                    <a:pt x="6" y="104"/>
                    <a:pt x="6" y="102"/>
                  </a:cubicBezTo>
                  <a:cubicBezTo>
                    <a:pt x="8" y="98"/>
                    <a:pt x="10" y="94"/>
                    <a:pt x="12" y="90"/>
                  </a:cubicBezTo>
                  <a:cubicBezTo>
                    <a:pt x="14" y="82"/>
                    <a:pt x="17" y="75"/>
                    <a:pt x="19" y="67"/>
                  </a:cubicBezTo>
                  <a:cubicBezTo>
                    <a:pt x="20" y="62"/>
                    <a:pt x="21" y="56"/>
                    <a:pt x="23" y="51"/>
                  </a:cubicBezTo>
                  <a:cubicBezTo>
                    <a:pt x="23" y="50"/>
                    <a:pt x="26" y="50"/>
                    <a:pt x="26" y="49"/>
                  </a:cubicBezTo>
                  <a:cubicBezTo>
                    <a:pt x="26" y="49"/>
                    <a:pt x="24" y="50"/>
                    <a:pt x="24" y="49"/>
                  </a:cubicBezTo>
                  <a:cubicBezTo>
                    <a:pt x="23" y="47"/>
                    <a:pt x="25" y="45"/>
                    <a:pt x="25" y="44"/>
                  </a:cubicBezTo>
                  <a:cubicBezTo>
                    <a:pt x="25" y="40"/>
                    <a:pt x="26" y="36"/>
                    <a:pt x="26" y="32"/>
                  </a:cubicBezTo>
                  <a:cubicBezTo>
                    <a:pt x="25" y="27"/>
                    <a:pt x="22" y="23"/>
                    <a:pt x="21" y="18"/>
                  </a:cubicBezTo>
                  <a:cubicBezTo>
                    <a:pt x="21" y="16"/>
                    <a:pt x="21" y="15"/>
                    <a:pt x="22" y="13"/>
                  </a:cubicBezTo>
                  <a:cubicBezTo>
                    <a:pt x="22" y="12"/>
                    <a:pt x="23" y="11"/>
                    <a:pt x="25" y="11"/>
                  </a:cubicBezTo>
                  <a:cubicBezTo>
                    <a:pt x="26" y="12"/>
                    <a:pt x="27" y="13"/>
                    <a:pt x="29" y="14"/>
                  </a:cubicBezTo>
                  <a:cubicBezTo>
                    <a:pt x="31" y="14"/>
                    <a:pt x="33" y="14"/>
                    <a:pt x="35" y="14"/>
                  </a:cubicBezTo>
                  <a:cubicBezTo>
                    <a:pt x="38" y="14"/>
                    <a:pt x="41" y="13"/>
                    <a:pt x="43" y="14"/>
                  </a:cubicBezTo>
                  <a:cubicBezTo>
                    <a:pt x="45" y="14"/>
                    <a:pt x="45" y="17"/>
                    <a:pt x="46" y="18"/>
                  </a:cubicBezTo>
                  <a:cubicBezTo>
                    <a:pt x="47" y="19"/>
                    <a:pt x="47" y="20"/>
                    <a:pt x="47" y="21"/>
                  </a:cubicBezTo>
                  <a:cubicBezTo>
                    <a:pt x="47" y="22"/>
                    <a:pt x="46" y="24"/>
                    <a:pt x="45" y="25"/>
                  </a:cubicBezTo>
                  <a:cubicBezTo>
                    <a:pt x="44" y="27"/>
                    <a:pt x="42" y="27"/>
                    <a:pt x="41" y="28"/>
                  </a:cubicBezTo>
                  <a:cubicBezTo>
                    <a:pt x="40" y="29"/>
                    <a:pt x="39" y="32"/>
                    <a:pt x="40" y="32"/>
                  </a:cubicBezTo>
                  <a:cubicBezTo>
                    <a:pt x="43" y="31"/>
                    <a:pt x="45" y="29"/>
                    <a:pt x="47" y="27"/>
                  </a:cubicBezTo>
                  <a:cubicBezTo>
                    <a:pt x="48" y="25"/>
                    <a:pt x="50" y="23"/>
                    <a:pt x="50" y="20"/>
                  </a:cubicBezTo>
                  <a:cubicBezTo>
                    <a:pt x="51" y="18"/>
                    <a:pt x="50" y="15"/>
                    <a:pt x="50" y="13"/>
                  </a:cubicBezTo>
                  <a:cubicBezTo>
                    <a:pt x="50" y="10"/>
                    <a:pt x="51" y="8"/>
                    <a:pt x="51" y="6"/>
                  </a:cubicBezTo>
                  <a:cubicBezTo>
                    <a:pt x="50" y="4"/>
                    <a:pt x="50" y="2"/>
                    <a:pt x="4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69" name="Freeform 770"/>
            <p:cNvSpPr>
              <a:spLocks noChangeAspect="1"/>
            </p:cNvSpPr>
            <p:nvPr/>
          </p:nvSpPr>
          <p:spPr bwMode="auto">
            <a:xfrm>
              <a:off x="3141663" y="4029075"/>
              <a:ext cx="98425" cy="109538"/>
            </a:xfrm>
            <a:custGeom>
              <a:avLst/>
              <a:gdLst>
                <a:gd name="T0" fmla="*/ 79126 w 51"/>
                <a:gd name="T1" fmla="*/ 96318 h 58"/>
                <a:gd name="T2" fmla="*/ 75266 w 51"/>
                <a:gd name="T3" fmla="*/ 90652 h 58"/>
                <a:gd name="T4" fmla="*/ 71406 w 51"/>
                <a:gd name="T5" fmla="*/ 92541 h 58"/>
                <a:gd name="T6" fmla="*/ 63687 w 51"/>
                <a:gd name="T7" fmla="*/ 94429 h 58"/>
                <a:gd name="T8" fmla="*/ 54037 w 51"/>
                <a:gd name="T9" fmla="*/ 90652 h 58"/>
                <a:gd name="T10" fmla="*/ 46318 w 51"/>
                <a:gd name="T11" fmla="*/ 100095 h 58"/>
                <a:gd name="T12" fmla="*/ 54037 w 51"/>
                <a:gd name="T13" fmla="*/ 105761 h 58"/>
                <a:gd name="T14" fmla="*/ 46318 w 51"/>
                <a:gd name="T15" fmla="*/ 109538 h 58"/>
                <a:gd name="T16" fmla="*/ 36668 w 51"/>
                <a:gd name="T17" fmla="*/ 109538 h 58"/>
                <a:gd name="T18" fmla="*/ 30878 w 51"/>
                <a:gd name="T19" fmla="*/ 101984 h 58"/>
                <a:gd name="T20" fmla="*/ 25089 w 51"/>
                <a:gd name="T21" fmla="*/ 92541 h 58"/>
                <a:gd name="T22" fmla="*/ 21229 w 51"/>
                <a:gd name="T23" fmla="*/ 77432 h 58"/>
                <a:gd name="T24" fmla="*/ 17369 w 51"/>
                <a:gd name="T25" fmla="*/ 75543 h 58"/>
                <a:gd name="T26" fmla="*/ 17369 w 51"/>
                <a:gd name="T27" fmla="*/ 67989 h 58"/>
                <a:gd name="T28" fmla="*/ 11579 w 51"/>
                <a:gd name="T29" fmla="*/ 67989 h 58"/>
                <a:gd name="T30" fmla="*/ 0 w 51"/>
                <a:gd name="T31" fmla="*/ 50992 h 58"/>
                <a:gd name="T32" fmla="*/ 3860 w 51"/>
                <a:gd name="T33" fmla="*/ 39660 h 58"/>
                <a:gd name="T34" fmla="*/ 5790 w 51"/>
                <a:gd name="T35" fmla="*/ 28329 h 58"/>
                <a:gd name="T36" fmla="*/ 15439 w 51"/>
                <a:gd name="T37" fmla="*/ 28329 h 58"/>
                <a:gd name="T38" fmla="*/ 19299 w 51"/>
                <a:gd name="T39" fmla="*/ 20774 h 58"/>
                <a:gd name="T40" fmla="*/ 17369 w 51"/>
                <a:gd name="T41" fmla="*/ 9443 h 58"/>
                <a:gd name="T42" fmla="*/ 23159 w 51"/>
                <a:gd name="T43" fmla="*/ 1889 h 58"/>
                <a:gd name="T44" fmla="*/ 38598 w 51"/>
                <a:gd name="T45" fmla="*/ 3777 h 58"/>
                <a:gd name="T46" fmla="*/ 50177 w 51"/>
                <a:gd name="T47" fmla="*/ 7554 h 58"/>
                <a:gd name="T48" fmla="*/ 59827 w 51"/>
                <a:gd name="T49" fmla="*/ 0 h 58"/>
                <a:gd name="T50" fmla="*/ 67547 w 51"/>
                <a:gd name="T51" fmla="*/ 3777 h 58"/>
                <a:gd name="T52" fmla="*/ 75266 w 51"/>
                <a:gd name="T53" fmla="*/ 3777 h 58"/>
                <a:gd name="T54" fmla="*/ 84916 w 51"/>
                <a:gd name="T55" fmla="*/ 3777 h 58"/>
                <a:gd name="T56" fmla="*/ 92635 w 51"/>
                <a:gd name="T57" fmla="*/ 3777 h 58"/>
                <a:gd name="T58" fmla="*/ 98425 w 51"/>
                <a:gd name="T59" fmla="*/ 9443 h 58"/>
                <a:gd name="T60" fmla="*/ 94565 w 51"/>
                <a:gd name="T61" fmla="*/ 18886 h 58"/>
                <a:gd name="T62" fmla="*/ 84916 w 51"/>
                <a:gd name="T63" fmla="*/ 32106 h 58"/>
                <a:gd name="T64" fmla="*/ 90705 w 51"/>
                <a:gd name="T65" fmla="*/ 52880 h 58"/>
                <a:gd name="T66" fmla="*/ 96495 w 51"/>
                <a:gd name="T67" fmla="*/ 64212 h 58"/>
                <a:gd name="T68" fmla="*/ 90705 w 51"/>
                <a:gd name="T69" fmla="*/ 75543 h 58"/>
                <a:gd name="T70" fmla="*/ 88775 w 51"/>
                <a:gd name="T71" fmla="*/ 92541 h 58"/>
                <a:gd name="T72" fmla="*/ 79126 w 51"/>
                <a:gd name="T73" fmla="*/ 96318 h 5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1"/>
                <a:gd name="T112" fmla="*/ 0 h 58"/>
                <a:gd name="T113" fmla="*/ 51 w 51"/>
                <a:gd name="T114" fmla="*/ 58 h 5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1" h="58">
                  <a:moveTo>
                    <a:pt x="41" y="51"/>
                  </a:moveTo>
                  <a:cubicBezTo>
                    <a:pt x="41" y="50"/>
                    <a:pt x="41" y="48"/>
                    <a:pt x="39" y="48"/>
                  </a:cubicBezTo>
                  <a:cubicBezTo>
                    <a:pt x="39" y="47"/>
                    <a:pt x="38" y="49"/>
                    <a:pt x="37" y="49"/>
                  </a:cubicBezTo>
                  <a:cubicBezTo>
                    <a:pt x="36" y="49"/>
                    <a:pt x="34" y="50"/>
                    <a:pt x="33" y="50"/>
                  </a:cubicBezTo>
                  <a:cubicBezTo>
                    <a:pt x="31" y="50"/>
                    <a:pt x="30" y="48"/>
                    <a:pt x="28" y="48"/>
                  </a:cubicBezTo>
                  <a:cubicBezTo>
                    <a:pt x="26" y="49"/>
                    <a:pt x="24" y="51"/>
                    <a:pt x="24" y="53"/>
                  </a:cubicBezTo>
                  <a:cubicBezTo>
                    <a:pt x="24" y="55"/>
                    <a:pt x="28" y="54"/>
                    <a:pt x="28" y="56"/>
                  </a:cubicBezTo>
                  <a:cubicBezTo>
                    <a:pt x="28" y="57"/>
                    <a:pt x="26" y="58"/>
                    <a:pt x="24" y="58"/>
                  </a:cubicBezTo>
                  <a:cubicBezTo>
                    <a:pt x="23" y="58"/>
                    <a:pt x="20" y="58"/>
                    <a:pt x="19" y="58"/>
                  </a:cubicBezTo>
                  <a:cubicBezTo>
                    <a:pt x="18" y="57"/>
                    <a:pt x="16" y="55"/>
                    <a:pt x="16" y="54"/>
                  </a:cubicBezTo>
                  <a:cubicBezTo>
                    <a:pt x="15" y="52"/>
                    <a:pt x="14" y="51"/>
                    <a:pt x="13" y="49"/>
                  </a:cubicBezTo>
                  <a:cubicBezTo>
                    <a:pt x="12" y="46"/>
                    <a:pt x="10" y="43"/>
                    <a:pt x="11" y="41"/>
                  </a:cubicBezTo>
                  <a:cubicBezTo>
                    <a:pt x="11" y="40"/>
                    <a:pt x="9" y="41"/>
                    <a:pt x="9" y="40"/>
                  </a:cubicBezTo>
                  <a:cubicBezTo>
                    <a:pt x="8" y="39"/>
                    <a:pt x="10" y="37"/>
                    <a:pt x="9" y="36"/>
                  </a:cubicBezTo>
                  <a:cubicBezTo>
                    <a:pt x="8" y="35"/>
                    <a:pt x="7" y="37"/>
                    <a:pt x="6" y="36"/>
                  </a:cubicBezTo>
                  <a:cubicBezTo>
                    <a:pt x="4" y="33"/>
                    <a:pt x="1" y="30"/>
                    <a:pt x="0" y="27"/>
                  </a:cubicBezTo>
                  <a:cubicBezTo>
                    <a:pt x="0" y="25"/>
                    <a:pt x="2" y="23"/>
                    <a:pt x="2" y="21"/>
                  </a:cubicBezTo>
                  <a:cubicBezTo>
                    <a:pt x="3" y="19"/>
                    <a:pt x="2" y="17"/>
                    <a:pt x="3" y="15"/>
                  </a:cubicBezTo>
                  <a:cubicBezTo>
                    <a:pt x="4" y="14"/>
                    <a:pt x="6" y="15"/>
                    <a:pt x="8" y="15"/>
                  </a:cubicBezTo>
                  <a:cubicBezTo>
                    <a:pt x="9" y="14"/>
                    <a:pt x="10" y="13"/>
                    <a:pt x="10" y="11"/>
                  </a:cubicBezTo>
                  <a:cubicBezTo>
                    <a:pt x="10" y="9"/>
                    <a:pt x="9" y="7"/>
                    <a:pt x="9" y="5"/>
                  </a:cubicBezTo>
                  <a:cubicBezTo>
                    <a:pt x="9" y="4"/>
                    <a:pt x="11" y="3"/>
                    <a:pt x="12" y="1"/>
                  </a:cubicBezTo>
                  <a:cubicBezTo>
                    <a:pt x="15" y="2"/>
                    <a:pt x="17" y="1"/>
                    <a:pt x="20" y="2"/>
                  </a:cubicBezTo>
                  <a:cubicBezTo>
                    <a:pt x="22" y="2"/>
                    <a:pt x="24" y="4"/>
                    <a:pt x="26" y="4"/>
                  </a:cubicBezTo>
                  <a:cubicBezTo>
                    <a:pt x="28" y="4"/>
                    <a:pt x="29" y="1"/>
                    <a:pt x="31" y="0"/>
                  </a:cubicBezTo>
                  <a:cubicBezTo>
                    <a:pt x="32" y="0"/>
                    <a:pt x="34" y="1"/>
                    <a:pt x="35" y="2"/>
                  </a:cubicBezTo>
                  <a:cubicBezTo>
                    <a:pt x="36" y="2"/>
                    <a:pt x="38" y="2"/>
                    <a:pt x="39" y="2"/>
                  </a:cubicBezTo>
                  <a:cubicBezTo>
                    <a:pt x="41" y="3"/>
                    <a:pt x="42" y="3"/>
                    <a:pt x="44" y="2"/>
                  </a:cubicBezTo>
                  <a:cubicBezTo>
                    <a:pt x="45" y="2"/>
                    <a:pt x="46" y="1"/>
                    <a:pt x="48" y="2"/>
                  </a:cubicBezTo>
                  <a:cubicBezTo>
                    <a:pt x="49" y="2"/>
                    <a:pt x="50" y="4"/>
                    <a:pt x="51" y="5"/>
                  </a:cubicBezTo>
                  <a:cubicBezTo>
                    <a:pt x="51" y="6"/>
                    <a:pt x="49" y="9"/>
                    <a:pt x="49" y="10"/>
                  </a:cubicBezTo>
                  <a:cubicBezTo>
                    <a:pt x="47" y="12"/>
                    <a:pt x="45" y="14"/>
                    <a:pt x="44" y="17"/>
                  </a:cubicBezTo>
                  <a:cubicBezTo>
                    <a:pt x="44" y="21"/>
                    <a:pt x="46" y="24"/>
                    <a:pt x="47" y="28"/>
                  </a:cubicBezTo>
                  <a:cubicBezTo>
                    <a:pt x="48" y="30"/>
                    <a:pt x="50" y="32"/>
                    <a:pt x="50" y="34"/>
                  </a:cubicBezTo>
                  <a:cubicBezTo>
                    <a:pt x="50" y="36"/>
                    <a:pt x="48" y="38"/>
                    <a:pt x="47" y="40"/>
                  </a:cubicBezTo>
                  <a:cubicBezTo>
                    <a:pt x="46" y="43"/>
                    <a:pt x="47" y="46"/>
                    <a:pt x="46" y="49"/>
                  </a:cubicBezTo>
                  <a:cubicBezTo>
                    <a:pt x="45" y="50"/>
                    <a:pt x="43" y="50"/>
                    <a:pt x="41" y="5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0" name="Freeform 771"/>
            <p:cNvSpPr>
              <a:spLocks noChangeAspect="1"/>
            </p:cNvSpPr>
            <p:nvPr/>
          </p:nvSpPr>
          <p:spPr bwMode="auto">
            <a:xfrm>
              <a:off x="3221038" y="4037013"/>
              <a:ext cx="79375" cy="98425"/>
            </a:xfrm>
            <a:custGeom>
              <a:avLst/>
              <a:gdLst>
                <a:gd name="T0" fmla="*/ 79375 w 42"/>
                <a:gd name="T1" fmla="*/ 43534 h 52"/>
                <a:gd name="T2" fmla="*/ 73705 w 42"/>
                <a:gd name="T3" fmla="*/ 34070 h 52"/>
                <a:gd name="T4" fmla="*/ 66146 w 42"/>
                <a:gd name="T5" fmla="*/ 34070 h 52"/>
                <a:gd name="T6" fmla="*/ 52917 w 42"/>
                <a:gd name="T7" fmla="*/ 20821 h 52"/>
                <a:gd name="T8" fmla="*/ 47247 w 42"/>
                <a:gd name="T9" fmla="*/ 11357 h 52"/>
                <a:gd name="T10" fmla="*/ 35908 w 42"/>
                <a:gd name="T11" fmla="*/ 9464 h 52"/>
                <a:gd name="T12" fmla="*/ 26458 w 42"/>
                <a:gd name="T13" fmla="*/ 1893 h 52"/>
                <a:gd name="T14" fmla="*/ 18899 w 42"/>
                <a:gd name="T15" fmla="*/ 1893 h 52"/>
                <a:gd name="T16" fmla="*/ 15119 w 42"/>
                <a:gd name="T17" fmla="*/ 11357 h 52"/>
                <a:gd name="T18" fmla="*/ 5670 w 42"/>
                <a:gd name="T19" fmla="*/ 24606 h 52"/>
                <a:gd name="T20" fmla="*/ 11339 w 42"/>
                <a:gd name="T21" fmla="*/ 45427 h 52"/>
                <a:gd name="T22" fmla="*/ 17009 w 42"/>
                <a:gd name="T23" fmla="*/ 56784 h 52"/>
                <a:gd name="T24" fmla="*/ 11339 w 42"/>
                <a:gd name="T25" fmla="*/ 68140 h 52"/>
                <a:gd name="T26" fmla="*/ 9449 w 42"/>
                <a:gd name="T27" fmla="*/ 85175 h 52"/>
                <a:gd name="T28" fmla="*/ 0 w 42"/>
                <a:gd name="T29" fmla="*/ 88961 h 52"/>
                <a:gd name="T30" fmla="*/ 9449 w 42"/>
                <a:gd name="T31" fmla="*/ 96532 h 52"/>
                <a:gd name="T32" fmla="*/ 18899 w 42"/>
                <a:gd name="T33" fmla="*/ 96532 h 52"/>
                <a:gd name="T34" fmla="*/ 24568 w 42"/>
                <a:gd name="T35" fmla="*/ 92747 h 52"/>
                <a:gd name="T36" fmla="*/ 32128 w 42"/>
                <a:gd name="T37" fmla="*/ 92747 h 52"/>
                <a:gd name="T38" fmla="*/ 35908 w 42"/>
                <a:gd name="T39" fmla="*/ 96532 h 52"/>
                <a:gd name="T40" fmla="*/ 47247 w 42"/>
                <a:gd name="T41" fmla="*/ 96532 h 52"/>
                <a:gd name="T42" fmla="*/ 52917 w 42"/>
                <a:gd name="T43" fmla="*/ 85175 h 52"/>
                <a:gd name="T44" fmla="*/ 56696 w 42"/>
                <a:gd name="T45" fmla="*/ 66248 h 52"/>
                <a:gd name="T46" fmla="*/ 66146 w 42"/>
                <a:gd name="T47" fmla="*/ 52998 h 52"/>
                <a:gd name="T48" fmla="*/ 79375 w 42"/>
                <a:gd name="T49" fmla="*/ 43534 h 5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2"/>
                <a:gd name="T76" fmla="*/ 0 h 52"/>
                <a:gd name="T77" fmla="*/ 42 w 42"/>
                <a:gd name="T78" fmla="*/ 52 h 5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2" h="52">
                  <a:moveTo>
                    <a:pt x="42" y="23"/>
                  </a:moveTo>
                  <a:cubicBezTo>
                    <a:pt x="41" y="22"/>
                    <a:pt x="40" y="19"/>
                    <a:pt x="39" y="18"/>
                  </a:cubicBezTo>
                  <a:cubicBezTo>
                    <a:pt x="38" y="17"/>
                    <a:pt x="36" y="19"/>
                    <a:pt x="35" y="18"/>
                  </a:cubicBezTo>
                  <a:cubicBezTo>
                    <a:pt x="32" y="16"/>
                    <a:pt x="30" y="13"/>
                    <a:pt x="28" y="11"/>
                  </a:cubicBezTo>
                  <a:cubicBezTo>
                    <a:pt x="27" y="9"/>
                    <a:pt x="27" y="6"/>
                    <a:pt x="25" y="6"/>
                  </a:cubicBezTo>
                  <a:cubicBezTo>
                    <a:pt x="23" y="6"/>
                    <a:pt x="21" y="6"/>
                    <a:pt x="19" y="5"/>
                  </a:cubicBezTo>
                  <a:cubicBezTo>
                    <a:pt x="17" y="4"/>
                    <a:pt x="16" y="1"/>
                    <a:pt x="14" y="1"/>
                  </a:cubicBezTo>
                  <a:cubicBezTo>
                    <a:pt x="13" y="0"/>
                    <a:pt x="12" y="1"/>
                    <a:pt x="10" y="1"/>
                  </a:cubicBezTo>
                  <a:cubicBezTo>
                    <a:pt x="10" y="2"/>
                    <a:pt x="8" y="5"/>
                    <a:pt x="8" y="6"/>
                  </a:cubicBezTo>
                  <a:cubicBezTo>
                    <a:pt x="6" y="8"/>
                    <a:pt x="4" y="10"/>
                    <a:pt x="3" y="13"/>
                  </a:cubicBezTo>
                  <a:cubicBezTo>
                    <a:pt x="3" y="17"/>
                    <a:pt x="5" y="20"/>
                    <a:pt x="6" y="24"/>
                  </a:cubicBezTo>
                  <a:cubicBezTo>
                    <a:pt x="7" y="26"/>
                    <a:pt x="9" y="28"/>
                    <a:pt x="9" y="30"/>
                  </a:cubicBezTo>
                  <a:cubicBezTo>
                    <a:pt x="9" y="32"/>
                    <a:pt x="7" y="34"/>
                    <a:pt x="6" y="36"/>
                  </a:cubicBezTo>
                  <a:cubicBezTo>
                    <a:pt x="5" y="39"/>
                    <a:pt x="6" y="42"/>
                    <a:pt x="5" y="45"/>
                  </a:cubicBezTo>
                  <a:cubicBezTo>
                    <a:pt x="4" y="46"/>
                    <a:pt x="2" y="46"/>
                    <a:pt x="0" y="47"/>
                  </a:cubicBezTo>
                  <a:cubicBezTo>
                    <a:pt x="2" y="49"/>
                    <a:pt x="3" y="50"/>
                    <a:pt x="5" y="51"/>
                  </a:cubicBezTo>
                  <a:cubicBezTo>
                    <a:pt x="7" y="52"/>
                    <a:pt x="9" y="52"/>
                    <a:pt x="10" y="51"/>
                  </a:cubicBezTo>
                  <a:cubicBezTo>
                    <a:pt x="11" y="51"/>
                    <a:pt x="12" y="49"/>
                    <a:pt x="13" y="49"/>
                  </a:cubicBezTo>
                  <a:cubicBezTo>
                    <a:pt x="15" y="48"/>
                    <a:pt x="16" y="48"/>
                    <a:pt x="17" y="49"/>
                  </a:cubicBezTo>
                  <a:cubicBezTo>
                    <a:pt x="18" y="49"/>
                    <a:pt x="18" y="51"/>
                    <a:pt x="19" y="51"/>
                  </a:cubicBezTo>
                  <a:cubicBezTo>
                    <a:pt x="20" y="52"/>
                    <a:pt x="23" y="52"/>
                    <a:pt x="25" y="51"/>
                  </a:cubicBezTo>
                  <a:cubicBezTo>
                    <a:pt x="27" y="50"/>
                    <a:pt x="28" y="47"/>
                    <a:pt x="28" y="45"/>
                  </a:cubicBezTo>
                  <a:cubicBezTo>
                    <a:pt x="29" y="42"/>
                    <a:pt x="29" y="39"/>
                    <a:pt x="30" y="35"/>
                  </a:cubicBezTo>
                  <a:cubicBezTo>
                    <a:pt x="31" y="33"/>
                    <a:pt x="33" y="30"/>
                    <a:pt x="35" y="28"/>
                  </a:cubicBezTo>
                  <a:cubicBezTo>
                    <a:pt x="37" y="26"/>
                    <a:pt x="39" y="25"/>
                    <a:pt x="42" y="2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1" name="Freeform 772"/>
            <p:cNvSpPr>
              <a:spLocks noChangeAspect="1"/>
            </p:cNvSpPr>
            <p:nvPr/>
          </p:nvSpPr>
          <p:spPr bwMode="auto">
            <a:xfrm>
              <a:off x="1443038" y="1901825"/>
              <a:ext cx="1838325" cy="1076325"/>
            </a:xfrm>
            <a:custGeom>
              <a:avLst/>
              <a:gdLst>
                <a:gd name="T0" fmla="*/ 1489710 w 965"/>
                <a:gd name="T1" fmla="*/ 899160 h 565"/>
                <a:gd name="T2" fmla="*/ 1623060 w 965"/>
                <a:gd name="T3" fmla="*/ 807720 h 565"/>
                <a:gd name="T4" fmla="*/ 1777365 w 965"/>
                <a:gd name="T5" fmla="*/ 775335 h 565"/>
                <a:gd name="T6" fmla="*/ 1834515 w 965"/>
                <a:gd name="T7" fmla="*/ 712470 h 565"/>
                <a:gd name="T8" fmla="*/ 1765935 w 965"/>
                <a:gd name="T9" fmla="*/ 691515 h 565"/>
                <a:gd name="T10" fmla="*/ 1773555 w 965"/>
                <a:gd name="T11" fmla="*/ 645795 h 565"/>
                <a:gd name="T12" fmla="*/ 1704975 w 965"/>
                <a:gd name="T13" fmla="*/ 590550 h 565"/>
                <a:gd name="T14" fmla="*/ 1714500 w 965"/>
                <a:gd name="T15" fmla="*/ 539115 h 565"/>
                <a:gd name="T16" fmla="*/ 1685925 w 965"/>
                <a:gd name="T17" fmla="*/ 491490 h 565"/>
                <a:gd name="T18" fmla="*/ 1632585 w 965"/>
                <a:gd name="T19" fmla="*/ 521970 h 565"/>
                <a:gd name="T20" fmla="*/ 1548765 w 965"/>
                <a:gd name="T21" fmla="*/ 514350 h 565"/>
                <a:gd name="T22" fmla="*/ 1564005 w 965"/>
                <a:gd name="T23" fmla="*/ 445770 h 565"/>
                <a:gd name="T24" fmla="*/ 1504950 w 965"/>
                <a:gd name="T25" fmla="*/ 394335 h 565"/>
                <a:gd name="T26" fmla="*/ 1409700 w 965"/>
                <a:gd name="T27" fmla="*/ 375285 h 565"/>
                <a:gd name="T28" fmla="*/ 1392555 w 965"/>
                <a:gd name="T29" fmla="*/ 453390 h 565"/>
                <a:gd name="T30" fmla="*/ 1386840 w 965"/>
                <a:gd name="T31" fmla="*/ 554355 h 565"/>
                <a:gd name="T32" fmla="*/ 1320165 w 965"/>
                <a:gd name="T33" fmla="*/ 704850 h 565"/>
                <a:gd name="T34" fmla="*/ 1268730 w 965"/>
                <a:gd name="T35" fmla="*/ 779145 h 565"/>
                <a:gd name="T36" fmla="*/ 1253490 w 965"/>
                <a:gd name="T37" fmla="*/ 657225 h 565"/>
                <a:gd name="T38" fmla="*/ 1114425 w 965"/>
                <a:gd name="T39" fmla="*/ 588645 h 565"/>
                <a:gd name="T40" fmla="*/ 1036320 w 965"/>
                <a:gd name="T41" fmla="*/ 518160 h 565"/>
                <a:gd name="T42" fmla="*/ 1053465 w 965"/>
                <a:gd name="T43" fmla="*/ 401955 h 565"/>
                <a:gd name="T44" fmla="*/ 1089660 w 965"/>
                <a:gd name="T45" fmla="*/ 335280 h 565"/>
                <a:gd name="T46" fmla="*/ 1211580 w 965"/>
                <a:gd name="T47" fmla="*/ 291465 h 565"/>
                <a:gd name="T48" fmla="*/ 1242060 w 965"/>
                <a:gd name="T49" fmla="*/ 222885 h 565"/>
                <a:gd name="T50" fmla="*/ 1303020 w 965"/>
                <a:gd name="T51" fmla="*/ 230505 h 565"/>
                <a:gd name="T52" fmla="*/ 1356360 w 965"/>
                <a:gd name="T53" fmla="*/ 135255 h 565"/>
                <a:gd name="T54" fmla="*/ 1316355 w 965"/>
                <a:gd name="T55" fmla="*/ 91440 h 565"/>
                <a:gd name="T56" fmla="*/ 1240155 w 965"/>
                <a:gd name="T57" fmla="*/ 192405 h 565"/>
                <a:gd name="T58" fmla="*/ 1194435 w 965"/>
                <a:gd name="T59" fmla="*/ 129540 h 565"/>
                <a:gd name="T60" fmla="*/ 1144905 w 965"/>
                <a:gd name="T61" fmla="*/ 106680 h 565"/>
                <a:gd name="T62" fmla="*/ 1150620 w 965"/>
                <a:gd name="T63" fmla="*/ 32385 h 565"/>
                <a:gd name="T64" fmla="*/ 1085850 w 965"/>
                <a:gd name="T65" fmla="*/ 22860 h 565"/>
                <a:gd name="T66" fmla="*/ 1108710 w 965"/>
                <a:gd name="T67" fmla="*/ 102870 h 565"/>
                <a:gd name="T68" fmla="*/ 1104900 w 965"/>
                <a:gd name="T69" fmla="*/ 129540 h 565"/>
                <a:gd name="T70" fmla="*/ 1042035 w 965"/>
                <a:gd name="T71" fmla="*/ 211455 h 565"/>
                <a:gd name="T72" fmla="*/ 1003935 w 965"/>
                <a:gd name="T73" fmla="*/ 154305 h 565"/>
                <a:gd name="T74" fmla="*/ 895350 w 965"/>
                <a:gd name="T75" fmla="*/ 163830 h 565"/>
                <a:gd name="T76" fmla="*/ 853440 w 965"/>
                <a:gd name="T77" fmla="*/ 142875 h 565"/>
                <a:gd name="T78" fmla="*/ 792480 w 965"/>
                <a:gd name="T79" fmla="*/ 198120 h 565"/>
                <a:gd name="T80" fmla="*/ 640080 w 965"/>
                <a:gd name="T81" fmla="*/ 171450 h 565"/>
                <a:gd name="T82" fmla="*/ 558165 w 965"/>
                <a:gd name="T83" fmla="*/ 108585 h 565"/>
                <a:gd name="T84" fmla="*/ 447675 w 965"/>
                <a:gd name="T85" fmla="*/ 108585 h 565"/>
                <a:gd name="T86" fmla="*/ 323850 w 965"/>
                <a:gd name="T87" fmla="*/ 114300 h 565"/>
                <a:gd name="T88" fmla="*/ 344805 w 965"/>
                <a:gd name="T89" fmla="*/ 78105 h 565"/>
                <a:gd name="T90" fmla="*/ 169545 w 965"/>
                <a:gd name="T91" fmla="*/ 118110 h 565"/>
                <a:gd name="T92" fmla="*/ 43815 w 965"/>
                <a:gd name="T93" fmla="*/ 478155 h 565"/>
                <a:gd name="T94" fmla="*/ 137160 w 965"/>
                <a:gd name="T95" fmla="*/ 525780 h 565"/>
                <a:gd name="T96" fmla="*/ 207645 w 965"/>
                <a:gd name="T97" fmla="*/ 643890 h 565"/>
                <a:gd name="T98" fmla="*/ 209550 w 965"/>
                <a:gd name="T99" fmla="*/ 685800 h 565"/>
                <a:gd name="T100" fmla="*/ 211455 w 965"/>
                <a:gd name="T101" fmla="*/ 763905 h 565"/>
                <a:gd name="T102" fmla="*/ 268605 w 965"/>
                <a:gd name="T103" fmla="*/ 828675 h 565"/>
                <a:gd name="T104" fmla="*/ 942975 w 965"/>
                <a:gd name="T105" fmla="*/ 857250 h 565"/>
                <a:gd name="T106" fmla="*/ 1076325 w 965"/>
                <a:gd name="T107" fmla="*/ 861060 h 565"/>
                <a:gd name="T108" fmla="*/ 1156335 w 965"/>
                <a:gd name="T109" fmla="*/ 889635 h 565"/>
                <a:gd name="T110" fmla="*/ 1223010 w 965"/>
                <a:gd name="T111" fmla="*/ 950595 h 565"/>
                <a:gd name="T112" fmla="*/ 1230630 w 965"/>
                <a:gd name="T113" fmla="*/ 984885 h 565"/>
                <a:gd name="T114" fmla="*/ 1190625 w 965"/>
                <a:gd name="T115" fmla="*/ 1066800 h 565"/>
                <a:gd name="T116" fmla="*/ 1274445 w 965"/>
                <a:gd name="T117" fmla="*/ 1051560 h 565"/>
                <a:gd name="T118" fmla="*/ 1337310 w 965"/>
                <a:gd name="T119" fmla="*/ 1007745 h 56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65"/>
                <a:gd name="T181" fmla="*/ 0 h 565"/>
                <a:gd name="T182" fmla="*/ 965 w 965"/>
                <a:gd name="T183" fmla="*/ 565 h 56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65" h="565">
                  <a:moveTo>
                    <a:pt x="711" y="522"/>
                  </a:moveTo>
                  <a:cubicBezTo>
                    <a:pt x="712" y="520"/>
                    <a:pt x="713" y="519"/>
                    <a:pt x="714" y="518"/>
                  </a:cubicBezTo>
                  <a:cubicBezTo>
                    <a:pt x="716" y="516"/>
                    <a:pt x="717" y="515"/>
                    <a:pt x="721" y="514"/>
                  </a:cubicBezTo>
                  <a:cubicBezTo>
                    <a:pt x="724" y="513"/>
                    <a:pt x="726" y="512"/>
                    <a:pt x="729" y="511"/>
                  </a:cubicBezTo>
                  <a:cubicBezTo>
                    <a:pt x="731" y="510"/>
                    <a:pt x="734" y="508"/>
                    <a:pt x="736" y="506"/>
                  </a:cubicBezTo>
                  <a:cubicBezTo>
                    <a:pt x="738" y="504"/>
                    <a:pt x="740" y="502"/>
                    <a:pt x="742" y="500"/>
                  </a:cubicBezTo>
                  <a:cubicBezTo>
                    <a:pt x="744" y="498"/>
                    <a:pt x="746" y="496"/>
                    <a:pt x="749" y="495"/>
                  </a:cubicBezTo>
                  <a:cubicBezTo>
                    <a:pt x="751" y="493"/>
                    <a:pt x="754" y="492"/>
                    <a:pt x="757" y="490"/>
                  </a:cubicBezTo>
                  <a:cubicBezTo>
                    <a:pt x="760" y="488"/>
                    <a:pt x="763" y="486"/>
                    <a:pt x="767" y="484"/>
                  </a:cubicBezTo>
                  <a:cubicBezTo>
                    <a:pt x="769" y="483"/>
                    <a:pt x="772" y="482"/>
                    <a:pt x="774" y="480"/>
                  </a:cubicBezTo>
                  <a:cubicBezTo>
                    <a:pt x="777" y="478"/>
                    <a:pt x="780" y="475"/>
                    <a:pt x="782" y="472"/>
                  </a:cubicBezTo>
                  <a:cubicBezTo>
                    <a:pt x="786" y="468"/>
                    <a:pt x="789" y="463"/>
                    <a:pt x="793" y="459"/>
                  </a:cubicBezTo>
                  <a:cubicBezTo>
                    <a:pt x="796" y="456"/>
                    <a:pt x="798" y="452"/>
                    <a:pt x="801" y="450"/>
                  </a:cubicBezTo>
                  <a:cubicBezTo>
                    <a:pt x="804" y="448"/>
                    <a:pt x="807" y="446"/>
                    <a:pt x="810" y="444"/>
                  </a:cubicBezTo>
                  <a:cubicBezTo>
                    <a:pt x="811" y="443"/>
                    <a:pt x="812" y="442"/>
                    <a:pt x="813" y="441"/>
                  </a:cubicBezTo>
                  <a:cubicBezTo>
                    <a:pt x="815" y="440"/>
                    <a:pt x="816" y="441"/>
                    <a:pt x="818" y="440"/>
                  </a:cubicBezTo>
                  <a:cubicBezTo>
                    <a:pt x="820" y="440"/>
                    <a:pt x="822" y="439"/>
                    <a:pt x="823" y="438"/>
                  </a:cubicBezTo>
                  <a:cubicBezTo>
                    <a:pt x="824" y="437"/>
                    <a:pt x="824" y="434"/>
                    <a:pt x="825" y="433"/>
                  </a:cubicBezTo>
                  <a:cubicBezTo>
                    <a:pt x="825" y="431"/>
                    <a:pt x="827" y="430"/>
                    <a:pt x="828" y="429"/>
                  </a:cubicBezTo>
                  <a:cubicBezTo>
                    <a:pt x="830" y="427"/>
                    <a:pt x="832" y="427"/>
                    <a:pt x="834" y="426"/>
                  </a:cubicBezTo>
                  <a:cubicBezTo>
                    <a:pt x="838" y="425"/>
                    <a:pt x="841" y="426"/>
                    <a:pt x="844" y="425"/>
                  </a:cubicBezTo>
                  <a:cubicBezTo>
                    <a:pt x="847" y="425"/>
                    <a:pt x="849" y="424"/>
                    <a:pt x="852" y="424"/>
                  </a:cubicBezTo>
                  <a:cubicBezTo>
                    <a:pt x="856" y="424"/>
                    <a:pt x="860" y="424"/>
                    <a:pt x="864" y="424"/>
                  </a:cubicBezTo>
                  <a:cubicBezTo>
                    <a:pt x="866" y="424"/>
                    <a:pt x="868" y="426"/>
                    <a:pt x="871" y="426"/>
                  </a:cubicBezTo>
                  <a:cubicBezTo>
                    <a:pt x="873" y="426"/>
                    <a:pt x="876" y="424"/>
                    <a:pt x="879" y="424"/>
                  </a:cubicBezTo>
                  <a:cubicBezTo>
                    <a:pt x="882" y="424"/>
                    <a:pt x="885" y="426"/>
                    <a:pt x="888" y="426"/>
                  </a:cubicBezTo>
                  <a:cubicBezTo>
                    <a:pt x="889" y="427"/>
                    <a:pt x="890" y="428"/>
                    <a:pt x="891" y="428"/>
                  </a:cubicBezTo>
                  <a:cubicBezTo>
                    <a:pt x="897" y="427"/>
                    <a:pt x="903" y="427"/>
                    <a:pt x="909" y="426"/>
                  </a:cubicBezTo>
                  <a:cubicBezTo>
                    <a:pt x="912" y="425"/>
                    <a:pt x="914" y="423"/>
                    <a:pt x="916" y="422"/>
                  </a:cubicBezTo>
                  <a:cubicBezTo>
                    <a:pt x="918" y="420"/>
                    <a:pt x="918" y="417"/>
                    <a:pt x="921" y="415"/>
                  </a:cubicBezTo>
                  <a:cubicBezTo>
                    <a:pt x="922" y="415"/>
                    <a:pt x="923" y="417"/>
                    <a:pt x="924" y="417"/>
                  </a:cubicBezTo>
                  <a:cubicBezTo>
                    <a:pt x="926" y="414"/>
                    <a:pt x="926" y="410"/>
                    <a:pt x="928" y="408"/>
                  </a:cubicBezTo>
                  <a:cubicBezTo>
                    <a:pt x="929" y="407"/>
                    <a:pt x="932" y="407"/>
                    <a:pt x="933" y="407"/>
                  </a:cubicBezTo>
                  <a:cubicBezTo>
                    <a:pt x="936" y="406"/>
                    <a:pt x="938" y="404"/>
                    <a:pt x="941" y="403"/>
                  </a:cubicBezTo>
                  <a:cubicBezTo>
                    <a:pt x="943" y="403"/>
                    <a:pt x="945" y="404"/>
                    <a:pt x="947" y="404"/>
                  </a:cubicBezTo>
                  <a:cubicBezTo>
                    <a:pt x="950" y="403"/>
                    <a:pt x="953" y="402"/>
                    <a:pt x="956" y="400"/>
                  </a:cubicBezTo>
                  <a:cubicBezTo>
                    <a:pt x="959" y="398"/>
                    <a:pt x="962" y="396"/>
                    <a:pt x="963" y="393"/>
                  </a:cubicBezTo>
                  <a:cubicBezTo>
                    <a:pt x="964" y="391"/>
                    <a:pt x="960" y="390"/>
                    <a:pt x="961" y="388"/>
                  </a:cubicBezTo>
                  <a:cubicBezTo>
                    <a:pt x="961" y="387"/>
                    <a:pt x="965" y="389"/>
                    <a:pt x="964" y="388"/>
                  </a:cubicBezTo>
                  <a:cubicBezTo>
                    <a:pt x="962" y="386"/>
                    <a:pt x="957" y="387"/>
                    <a:pt x="955" y="384"/>
                  </a:cubicBezTo>
                  <a:cubicBezTo>
                    <a:pt x="954" y="382"/>
                    <a:pt x="960" y="385"/>
                    <a:pt x="962" y="384"/>
                  </a:cubicBezTo>
                  <a:cubicBezTo>
                    <a:pt x="963" y="384"/>
                    <a:pt x="961" y="382"/>
                    <a:pt x="961" y="381"/>
                  </a:cubicBezTo>
                  <a:cubicBezTo>
                    <a:pt x="962" y="380"/>
                    <a:pt x="964" y="379"/>
                    <a:pt x="964" y="378"/>
                  </a:cubicBezTo>
                  <a:cubicBezTo>
                    <a:pt x="965" y="377"/>
                    <a:pt x="963" y="375"/>
                    <a:pt x="963" y="374"/>
                  </a:cubicBezTo>
                  <a:cubicBezTo>
                    <a:pt x="963" y="373"/>
                    <a:pt x="965" y="375"/>
                    <a:pt x="965" y="374"/>
                  </a:cubicBezTo>
                  <a:cubicBezTo>
                    <a:pt x="965" y="372"/>
                    <a:pt x="965" y="369"/>
                    <a:pt x="964" y="367"/>
                  </a:cubicBezTo>
                  <a:cubicBezTo>
                    <a:pt x="962" y="365"/>
                    <a:pt x="960" y="364"/>
                    <a:pt x="958" y="363"/>
                  </a:cubicBezTo>
                  <a:cubicBezTo>
                    <a:pt x="957" y="362"/>
                    <a:pt x="955" y="362"/>
                    <a:pt x="953" y="363"/>
                  </a:cubicBezTo>
                  <a:cubicBezTo>
                    <a:pt x="951" y="364"/>
                    <a:pt x="950" y="367"/>
                    <a:pt x="948" y="368"/>
                  </a:cubicBezTo>
                  <a:cubicBezTo>
                    <a:pt x="947" y="368"/>
                    <a:pt x="946" y="366"/>
                    <a:pt x="946" y="365"/>
                  </a:cubicBezTo>
                  <a:cubicBezTo>
                    <a:pt x="946" y="363"/>
                    <a:pt x="949" y="362"/>
                    <a:pt x="949" y="360"/>
                  </a:cubicBezTo>
                  <a:cubicBezTo>
                    <a:pt x="949" y="358"/>
                    <a:pt x="947" y="358"/>
                    <a:pt x="945" y="357"/>
                  </a:cubicBezTo>
                  <a:cubicBezTo>
                    <a:pt x="944" y="356"/>
                    <a:pt x="941" y="355"/>
                    <a:pt x="939" y="355"/>
                  </a:cubicBezTo>
                  <a:cubicBezTo>
                    <a:pt x="938" y="355"/>
                    <a:pt x="938" y="357"/>
                    <a:pt x="937" y="358"/>
                  </a:cubicBezTo>
                  <a:cubicBezTo>
                    <a:pt x="934" y="360"/>
                    <a:pt x="930" y="362"/>
                    <a:pt x="927" y="363"/>
                  </a:cubicBezTo>
                  <a:cubicBezTo>
                    <a:pt x="923" y="365"/>
                    <a:pt x="920" y="368"/>
                    <a:pt x="916" y="368"/>
                  </a:cubicBezTo>
                  <a:cubicBezTo>
                    <a:pt x="915" y="368"/>
                    <a:pt x="913" y="365"/>
                    <a:pt x="914" y="364"/>
                  </a:cubicBezTo>
                  <a:cubicBezTo>
                    <a:pt x="917" y="362"/>
                    <a:pt x="921" y="361"/>
                    <a:pt x="925" y="360"/>
                  </a:cubicBezTo>
                  <a:cubicBezTo>
                    <a:pt x="928" y="358"/>
                    <a:pt x="932" y="357"/>
                    <a:pt x="935" y="356"/>
                  </a:cubicBezTo>
                  <a:cubicBezTo>
                    <a:pt x="937" y="354"/>
                    <a:pt x="940" y="353"/>
                    <a:pt x="942" y="351"/>
                  </a:cubicBezTo>
                  <a:cubicBezTo>
                    <a:pt x="945" y="350"/>
                    <a:pt x="948" y="351"/>
                    <a:pt x="950" y="348"/>
                  </a:cubicBezTo>
                  <a:cubicBezTo>
                    <a:pt x="950" y="347"/>
                    <a:pt x="946" y="349"/>
                    <a:pt x="944" y="347"/>
                  </a:cubicBezTo>
                  <a:cubicBezTo>
                    <a:pt x="943" y="346"/>
                    <a:pt x="946" y="344"/>
                    <a:pt x="944" y="344"/>
                  </a:cubicBezTo>
                  <a:cubicBezTo>
                    <a:pt x="942" y="343"/>
                    <a:pt x="940" y="345"/>
                    <a:pt x="937" y="345"/>
                  </a:cubicBezTo>
                  <a:cubicBezTo>
                    <a:pt x="935" y="345"/>
                    <a:pt x="932" y="344"/>
                    <a:pt x="931" y="342"/>
                  </a:cubicBezTo>
                  <a:cubicBezTo>
                    <a:pt x="930" y="341"/>
                    <a:pt x="932" y="340"/>
                    <a:pt x="931" y="339"/>
                  </a:cubicBezTo>
                  <a:cubicBezTo>
                    <a:pt x="930" y="338"/>
                    <a:pt x="928" y="339"/>
                    <a:pt x="926" y="339"/>
                  </a:cubicBezTo>
                  <a:cubicBezTo>
                    <a:pt x="925" y="338"/>
                    <a:pt x="924" y="337"/>
                    <a:pt x="922" y="337"/>
                  </a:cubicBezTo>
                  <a:cubicBezTo>
                    <a:pt x="920" y="336"/>
                    <a:pt x="917" y="338"/>
                    <a:pt x="915" y="336"/>
                  </a:cubicBezTo>
                  <a:cubicBezTo>
                    <a:pt x="914" y="334"/>
                    <a:pt x="917" y="330"/>
                    <a:pt x="916" y="327"/>
                  </a:cubicBezTo>
                  <a:cubicBezTo>
                    <a:pt x="916" y="326"/>
                    <a:pt x="913" y="328"/>
                    <a:pt x="912" y="327"/>
                  </a:cubicBezTo>
                  <a:cubicBezTo>
                    <a:pt x="910" y="326"/>
                    <a:pt x="907" y="325"/>
                    <a:pt x="906" y="323"/>
                  </a:cubicBezTo>
                  <a:cubicBezTo>
                    <a:pt x="905" y="322"/>
                    <a:pt x="908" y="321"/>
                    <a:pt x="907" y="320"/>
                  </a:cubicBezTo>
                  <a:cubicBezTo>
                    <a:pt x="906" y="319"/>
                    <a:pt x="903" y="319"/>
                    <a:pt x="901" y="317"/>
                  </a:cubicBezTo>
                  <a:cubicBezTo>
                    <a:pt x="900" y="317"/>
                    <a:pt x="898" y="316"/>
                    <a:pt x="899" y="315"/>
                  </a:cubicBezTo>
                  <a:cubicBezTo>
                    <a:pt x="899" y="314"/>
                    <a:pt x="904" y="314"/>
                    <a:pt x="903" y="313"/>
                  </a:cubicBezTo>
                  <a:cubicBezTo>
                    <a:pt x="901" y="310"/>
                    <a:pt x="897" y="312"/>
                    <a:pt x="895" y="310"/>
                  </a:cubicBezTo>
                  <a:cubicBezTo>
                    <a:pt x="894" y="310"/>
                    <a:pt x="895" y="308"/>
                    <a:pt x="895" y="308"/>
                  </a:cubicBezTo>
                  <a:cubicBezTo>
                    <a:pt x="898" y="307"/>
                    <a:pt x="901" y="308"/>
                    <a:pt x="904" y="308"/>
                  </a:cubicBezTo>
                  <a:cubicBezTo>
                    <a:pt x="905" y="308"/>
                    <a:pt x="907" y="307"/>
                    <a:pt x="908" y="305"/>
                  </a:cubicBezTo>
                  <a:cubicBezTo>
                    <a:pt x="908" y="304"/>
                    <a:pt x="909" y="302"/>
                    <a:pt x="908" y="301"/>
                  </a:cubicBezTo>
                  <a:cubicBezTo>
                    <a:pt x="906" y="300"/>
                    <a:pt x="904" y="302"/>
                    <a:pt x="903" y="301"/>
                  </a:cubicBezTo>
                  <a:cubicBezTo>
                    <a:pt x="902" y="300"/>
                    <a:pt x="903" y="298"/>
                    <a:pt x="902" y="298"/>
                  </a:cubicBezTo>
                  <a:cubicBezTo>
                    <a:pt x="901" y="296"/>
                    <a:pt x="896" y="298"/>
                    <a:pt x="896" y="295"/>
                  </a:cubicBezTo>
                  <a:cubicBezTo>
                    <a:pt x="896" y="293"/>
                    <a:pt x="902" y="295"/>
                    <a:pt x="903" y="292"/>
                  </a:cubicBezTo>
                  <a:cubicBezTo>
                    <a:pt x="904" y="291"/>
                    <a:pt x="902" y="288"/>
                    <a:pt x="901" y="287"/>
                  </a:cubicBezTo>
                  <a:cubicBezTo>
                    <a:pt x="900" y="286"/>
                    <a:pt x="896" y="288"/>
                    <a:pt x="896" y="287"/>
                  </a:cubicBezTo>
                  <a:cubicBezTo>
                    <a:pt x="895" y="285"/>
                    <a:pt x="900" y="285"/>
                    <a:pt x="900" y="283"/>
                  </a:cubicBezTo>
                  <a:cubicBezTo>
                    <a:pt x="900" y="282"/>
                    <a:pt x="897" y="283"/>
                    <a:pt x="896" y="281"/>
                  </a:cubicBezTo>
                  <a:cubicBezTo>
                    <a:pt x="896" y="280"/>
                    <a:pt x="898" y="277"/>
                    <a:pt x="897" y="276"/>
                  </a:cubicBezTo>
                  <a:cubicBezTo>
                    <a:pt x="894" y="275"/>
                    <a:pt x="891" y="278"/>
                    <a:pt x="888" y="277"/>
                  </a:cubicBezTo>
                  <a:cubicBezTo>
                    <a:pt x="887" y="277"/>
                    <a:pt x="887" y="275"/>
                    <a:pt x="888" y="275"/>
                  </a:cubicBezTo>
                  <a:cubicBezTo>
                    <a:pt x="890" y="274"/>
                    <a:pt x="893" y="275"/>
                    <a:pt x="894" y="273"/>
                  </a:cubicBezTo>
                  <a:cubicBezTo>
                    <a:pt x="895" y="273"/>
                    <a:pt x="895" y="271"/>
                    <a:pt x="894" y="270"/>
                  </a:cubicBezTo>
                  <a:cubicBezTo>
                    <a:pt x="893" y="270"/>
                    <a:pt x="891" y="271"/>
                    <a:pt x="890" y="270"/>
                  </a:cubicBezTo>
                  <a:cubicBezTo>
                    <a:pt x="889" y="269"/>
                    <a:pt x="892" y="266"/>
                    <a:pt x="890" y="265"/>
                  </a:cubicBezTo>
                  <a:cubicBezTo>
                    <a:pt x="889" y="264"/>
                    <a:pt x="885" y="268"/>
                    <a:pt x="884" y="266"/>
                  </a:cubicBezTo>
                  <a:cubicBezTo>
                    <a:pt x="883" y="264"/>
                    <a:pt x="888" y="263"/>
                    <a:pt x="888" y="261"/>
                  </a:cubicBezTo>
                  <a:cubicBezTo>
                    <a:pt x="889" y="260"/>
                    <a:pt x="886" y="259"/>
                    <a:pt x="885" y="258"/>
                  </a:cubicBezTo>
                  <a:cubicBezTo>
                    <a:pt x="884" y="256"/>
                    <a:pt x="885" y="254"/>
                    <a:pt x="884" y="252"/>
                  </a:cubicBezTo>
                  <a:cubicBezTo>
                    <a:pt x="884" y="250"/>
                    <a:pt x="881" y="249"/>
                    <a:pt x="881" y="247"/>
                  </a:cubicBezTo>
                  <a:cubicBezTo>
                    <a:pt x="880" y="245"/>
                    <a:pt x="881" y="243"/>
                    <a:pt x="881" y="240"/>
                  </a:cubicBezTo>
                  <a:cubicBezTo>
                    <a:pt x="880" y="237"/>
                    <a:pt x="878" y="240"/>
                    <a:pt x="877" y="240"/>
                  </a:cubicBezTo>
                  <a:cubicBezTo>
                    <a:pt x="875" y="244"/>
                    <a:pt x="873" y="248"/>
                    <a:pt x="871" y="252"/>
                  </a:cubicBezTo>
                  <a:cubicBezTo>
                    <a:pt x="870" y="254"/>
                    <a:pt x="869" y="256"/>
                    <a:pt x="868" y="258"/>
                  </a:cubicBezTo>
                  <a:cubicBezTo>
                    <a:pt x="868" y="260"/>
                    <a:pt x="867" y="261"/>
                    <a:pt x="866" y="263"/>
                  </a:cubicBezTo>
                  <a:cubicBezTo>
                    <a:pt x="866" y="264"/>
                    <a:pt x="867" y="265"/>
                    <a:pt x="866" y="266"/>
                  </a:cubicBezTo>
                  <a:cubicBezTo>
                    <a:pt x="865" y="268"/>
                    <a:pt x="861" y="267"/>
                    <a:pt x="860" y="269"/>
                  </a:cubicBezTo>
                  <a:cubicBezTo>
                    <a:pt x="858" y="272"/>
                    <a:pt x="860" y="276"/>
                    <a:pt x="858" y="279"/>
                  </a:cubicBezTo>
                  <a:cubicBezTo>
                    <a:pt x="857" y="280"/>
                    <a:pt x="858" y="275"/>
                    <a:pt x="857" y="274"/>
                  </a:cubicBezTo>
                  <a:cubicBezTo>
                    <a:pt x="856" y="272"/>
                    <a:pt x="855" y="270"/>
                    <a:pt x="854" y="270"/>
                  </a:cubicBezTo>
                  <a:cubicBezTo>
                    <a:pt x="851" y="271"/>
                    <a:pt x="852" y="275"/>
                    <a:pt x="850" y="277"/>
                  </a:cubicBezTo>
                  <a:cubicBezTo>
                    <a:pt x="848" y="278"/>
                    <a:pt x="845" y="278"/>
                    <a:pt x="844" y="279"/>
                  </a:cubicBezTo>
                  <a:cubicBezTo>
                    <a:pt x="841" y="280"/>
                    <a:pt x="840" y="286"/>
                    <a:pt x="837" y="285"/>
                  </a:cubicBezTo>
                  <a:cubicBezTo>
                    <a:pt x="834" y="284"/>
                    <a:pt x="838" y="277"/>
                    <a:pt x="835" y="276"/>
                  </a:cubicBezTo>
                  <a:cubicBezTo>
                    <a:pt x="832" y="276"/>
                    <a:pt x="834" y="284"/>
                    <a:pt x="831" y="284"/>
                  </a:cubicBezTo>
                  <a:cubicBezTo>
                    <a:pt x="828" y="284"/>
                    <a:pt x="832" y="278"/>
                    <a:pt x="831" y="276"/>
                  </a:cubicBezTo>
                  <a:cubicBezTo>
                    <a:pt x="831" y="273"/>
                    <a:pt x="831" y="270"/>
                    <a:pt x="828" y="269"/>
                  </a:cubicBezTo>
                  <a:cubicBezTo>
                    <a:pt x="825" y="268"/>
                    <a:pt x="821" y="269"/>
                    <a:pt x="818" y="270"/>
                  </a:cubicBezTo>
                  <a:cubicBezTo>
                    <a:pt x="816" y="271"/>
                    <a:pt x="816" y="274"/>
                    <a:pt x="814" y="274"/>
                  </a:cubicBezTo>
                  <a:cubicBezTo>
                    <a:pt x="812" y="274"/>
                    <a:pt x="812" y="272"/>
                    <a:pt x="813" y="270"/>
                  </a:cubicBezTo>
                  <a:cubicBezTo>
                    <a:pt x="813" y="269"/>
                    <a:pt x="815" y="268"/>
                    <a:pt x="816" y="267"/>
                  </a:cubicBezTo>
                  <a:cubicBezTo>
                    <a:pt x="817" y="266"/>
                    <a:pt x="819" y="265"/>
                    <a:pt x="820" y="263"/>
                  </a:cubicBezTo>
                  <a:cubicBezTo>
                    <a:pt x="821" y="262"/>
                    <a:pt x="820" y="260"/>
                    <a:pt x="819" y="259"/>
                  </a:cubicBezTo>
                  <a:cubicBezTo>
                    <a:pt x="818" y="258"/>
                    <a:pt x="816" y="260"/>
                    <a:pt x="816" y="259"/>
                  </a:cubicBezTo>
                  <a:cubicBezTo>
                    <a:pt x="815" y="258"/>
                    <a:pt x="815" y="256"/>
                    <a:pt x="816" y="254"/>
                  </a:cubicBezTo>
                  <a:cubicBezTo>
                    <a:pt x="816" y="253"/>
                    <a:pt x="818" y="254"/>
                    <a:pt x="818" y="253"/>
                  </a:cubicBezTo>
                  <a:cubicBezTo>
                    <a:pt x="819" y="252"/>
                    <a:pt x="820" y="249"/>
                    <a:pt x="818" y="248"/>
                  </a:cubicBezTo>
                  <a:cubicBezTo>
                    <a:pt x="816" y="247"/>
                    <a:pt x="808" y="250"/>
                    <a:pt x="809" y="248"/>
                  </a:cubicBezTo>
                  <a:cubicBezTo>
                    <a:pt x="811" y="244"/>
                    <a:pt x="817" y="247"/>
                    <a:pt x="820" y="245"/>
                  </a:cubicBezTo>
                  <a:cubicBezTo>
                    <a:pt x="821" y="244"/>
                    <a:pt x="819" y="241"/>
                    <a:pt x="820" y="239"/>
                  </a:cubicBezTo>
                  <a:cubicBezTo>
                    <a:pt x="820" y="237"/>
                    <a:pt x="820" y="236"/>
                    <a:pt x="821" y="234"/>
                  </a:cubicBezTo>
                  <a:cubicBezTo>
                    <a:pt x="822" y="233"/>
                    <a:pt x="825" y="233"/>
                    <a:pt x="826" y="231"/>
                  </a:cubicBezTo>
                  <a:cubicBezTo>
                    <a:pt x="826" y="230"/>
                    <a:pt x="826" y="228"/>
                    <a:pt x="825" y="228"/>
                  </a:cubicBezTo>
                  <a:cubicBezTo>
                    <a:pt x="823" y="228"/>
                    <a:pt x="822" y="230"/>
                    <a:pt x="820" y="230"/>
                  </a:cubicBezTo>
                  <a:cubicBezTo>
                    <a:pt x="819" y="230"/>
                    <a:pt x="818" y="227"/>
                    <a:pt x="817" y="226"/>
                  </a:cubicBezTo>
                  <a:cubicBezTo>
                    <a:pt x="812" y="226"/>
                    <a:pt x="808" y="227"/>
                    <a:pt x="803" y="226"/>
                  </a:cubicBezTo>
                  <a:cubicBezTo>
                    <a:pt x="802" y="226"/>
                    <a:pt x="800" y="224"/>
                    <a:pt x="800" y="223"/>
                  </a:cubicBezTo>
                  <a:cubicBezTo>
                    <a:pt x="799" y="221"/>
                    <a:pt x="801" y="219"/>
                    <a:pt x="800" y="218"/>
                  </a:cubicBezTo>
                  <a:cubicBezTo>
                    <a:pt x="799" y="217"/>
                    <a:pt x="797" y="218"/>
                    <a:pt x="796" y="217"/>
                  </a:cubicBezTo>
                  <a:cubicBezTo>
                    <a:pt x="796" y="216"/>
                    <a:pt x="797" y="215"/>
                    <a:pt x="796" y="214"/>
                  </a:cubicBezTo>
                  <a:cubicBezTo>
                    <a:pt x="795" y="212"/>
                    <a:pt x="792" y="212"/>
                    <a:pt x="790" y="210"/>
                  </a:cubicBezTo>
                  <a:cubicBezTo>
                    <a:pt x="790" y="209"/>
                    <a:pt x="790" y="208"/>
                    <a:pt x="790" y="207"/>
                  </a:cubicBezTo>
                  <a:cubicBezTo>
                    <a:pt x="787" y="205"/>
                    <a:pt x="784" y="203"/>
                    <a:pt x="782" y="201"/>
                  </a:cubicBezTo>
                  <a:cubicBezTo>
                    <a:pt x="781" y="201"/>
                    <a:pt x="780" y="200"/>
                    <a:pt x="780" y="200"/>
                  </a:cubicBezTo>
                  <a:cubicBezTo>
                    <a:pt x="777" y="202"/>
                    <a:pt x="775" y="204"/>
                    <a:pt x="772" y="205"/>
                  </a:cubicBezTo>
                  <a:cubicBezTo>
                    <a:pt x="771" y="206"/>
                    <a:pt x="770" y="204"/>
                    <a:pt x="769" y="205"/>
                  </a:cubicBezTo>
                  <a:cubicBezTo>
                    <a:pt x="769" y="205"/>
                    <a:pt x="769" y="208"/>
                    <a:pt x="768" y="207"/>
                  </a:cubicBezTo>
                  <a:cubicBezTo>
                    <a:pt x="765" y="207"/>
                    <a:pt x="764" y="203"/>
                    <a:pt x="761" y="203"/>
                  </a:cubicBezTo>
                  <a:cubicBezTo>
                    <a:pt x="760" y="202"/>
                    <a:pt x="759" y="204"/>
                    <a:pt x="758" y="204"/>
                  </a:cubicBezTo>
                  <a:cubicBezTo>
                    <a:pt x="757" y="204"/>
                    <a:pt x="758" y="202"/>
                    <a:pt x="757" y="201"/>
                  </a:cubicBezTo>
                  <a:cubicBezTo>
                    <a:pt x="755" y="201"/>
                    <a:pt x="753" y="202"/>
                    <a:pt x="752" y="201"/>
                  </a:cubicBezTo>
                  <a:cubicBezTo>
                    <a:pt x="749" y="200"/>
                    <a:pt x="747" y="199"/>
                    <a:pt x="745" y="198"/>
                  </a:cubicBezTo>
                  <a:cubicBezTo>
                    <a:pt x="743" y="198"/>
                    <a:pt x="742" y="197"/>
                    <a:pt x="740" y="197"/>
                  </a:cubicBezTo>
                  <a:cubicBezTo>
                    <a:pt x="738" y="197"/>
                    <a:pt x="736" y="199"/>
                    <a:pt x="734" y="201"/>
                  </a:cubicBezTo>
                  <a:cubicBezTo>
                    <a:pt x="733" y="202"/>
                    <a:pt x="731" y="202"/>
                    <a:pt x="730" y="203"/>
                  </a:cubicBezTo>
                  <a:cubicBezTo>
                    <a:pt x="729" y="205"/>
                    <a:pt x="729" y="207"/>
                    <a:pt x="729" y="209"/>
                  </a:cubicBezTo>
                  <a:cubicBezTo>
                    <a:pt x="729" y="211"/>
                    <a:pt x="728" y="213"/>
                    <a:pt x="729" y="215"/>
                  </a:cubicBezTo>
                  <a:cubicBezTo>
                    <a:pt x="730" y="216"/>
                    <a:pt x="734" y="216"/>
                    <a:pt x="734" y="217"/>
                  </a:cubicBezTo>
                  <a:cubicBezTo>
                    <a:pt x="734" y="219"/>
                    <a:pt x="731" y="220"/>
                    <a:pt x="730" y="221"/>
                  </a:cubicBezTo>
                  <a:cubicBezTo>
                    <a:pt x="729" y="223"/>
                    <a:pt x="729" y="226"/>
                    <a:pt x="728" y="228"/>
                  </a:cubicBezTo>
                  <a:cubicBezTo>
                    <a:pt x="726" y="231"/>
                    <a:pt x="719" y="230"/>
                    <a:pt x="720" y="234"/>
                  </a:cubicBezTo>
                  <a:cubicBezTo>
                    <a:pt x="720" y="237"/>
                    <a:pt x="726" y="232"/>
                    <a:pt x="729" y="234"/>
                  </a:cubicBezTo>
                  <a:cubicBezTo>
                    <a:pt x="731" y="234"/>
                    <a:pt x="727" y="236"/>
                    <a:pt x="728" y="237"/>
                  </a:cubicBezTo>
                  <a:cubicBezTo>
                    <a:pt x="728" y="238"/>
                    <a:pt x="730" y="237"/>
                    <a:pt x="731" y="238"/>
                  </a:cubicBezTo>
                  <a:cubicBezTo>
                    <a:pt x="731" y="239"/>
                    <a:pt x="728" y="239"/>
                    <a:pt x="728" y="240"/>
                  </a:cubicBezTo>
                  <a:cubicBezTo>
                    <a:pt x="727" y="242"/>
                    <a:pt x="728" y="244"/>
                    <a:pt x="728" y="245"/>
                  </a:cubicBezTo>
                  <a:cubicBezTo>
                    <a:pt x="729" y="247"/>
                    <a:pt x="732" y="247"/>
                    <a:pt x="732" y="248"/>
                  </a:cubicBezTo>
                  <a:cubicBezTo>
                    <a:pt x="732" y="251"/>
                    <a:pt x="730" y="253"/>
                    <a:pt x="728" y="255"/>
                  </a:cubicBezTo>
                  <a:cubicBezTo>
                    <a:pt x="727" y="255"/>
                    <a:pt x="726" y="255"/>
                    <a:pt x="726" y="255"/>
                  </a:cubicBezTo>
                  <a:cubicBezTo>
                    <a:pt x="725" y="257"/>
                    <a:pt x="726" y="259"/>
                    <a:pt x="725" y="261"/>
                  </a:cubicBezTo>
                  <a:cubicBezTo>
                    <a:pt x="723" y="263"/>
                    <a:pt x="720" y="265"/>
                    <a:pt x="718" y="267"/>
                  </a:cubicBezTo>
                  <a:cubicBezTo>
                    <a:pt x="717" y="268"/>
                    <a:pt x="715" y="270"/>
                    <a:pt x="715" y="272"/>
                  </a:cubicBezTo>
                  <a:cubicBezTo>
                    <a:pt x="714" y="273"/>
                    <a:pt x="714" y="276"/>
                    <a:pt x="715" y="277"/>
                  </a:cubicBezTo>
                  <a:cubicBezTo>
                    <a:pt x="717" y="280"/>
                    <a:pt x="721" y="281"/>
                    <a:pt x="723" y="284"/>
                  </a:cubicBezTo>
                  <a:cubicBezTo>
                    <a:pt x="725" y="286"/>
                    <a:pt x="727" y="288"/>
                    <a:pt x="728" y="291"/>
                  </a:cubicBezTo>
                  <a:cubicBezTo>
                    <a:pt x="729" y="294"/>
                    <a:pt x="730" y="298"/>
                    <a:pt x="729" y="301"/>
                  </a:cubicBezTo>
                  <a:cubicBezTo>
                    <a:pt x="729" y="306"/>
                    <a:pt x="729" y="311"/>
                    <a:pt x="728" y="315"/>
                  </a:cubicBezTo>
                  <a:cubicBezTo>
                    <a:pt x="727" y="319"/>
                    <a:pt x="725" y="323"/>
                    <a:pt x="722" y="326"/>
                  </a:cubicBezTo>
                  <a:cubicBezTo>
                    <a:pt x="720" y="329"/>
                    <a:pt x="717" y="331"/>
                    <a:pt x="714" y="334"/>
                  </a:cubicBezTo>
                  <a:cubicBezTo>
                    <a:pt x="710" y="336"/>
                    <a:pt x="707" y="339"/>
                    <a:pt x="704" y="341"/>
                  </a:cubicBezTo>
                  <a:cubicBezTo>
                    <a:pt x="701" y="343"/>
                    <a:pt x="698" y="344"/>
                    <a:pt x="695" y="345"/>
                  </a:cubicBezTo>
                  <a:cubicBezTo>
                    <a:pt x="693" y="346"/>
                    <a:pt x="689" y="345"/>
                    <a:pt x="688" y="347"/>
                  </a:cubicBezTo>
                  <a:cubicBezTo>
                    <a:pt x="686" y="350"/>
                    <a:pt x="688" y="353"/>
                    <a:pt x="689" y="356"/>
                  </a:cubicBezTo>
                  <a:cubicBezTo>
                    <a:pt x="690" y="358"/>
                    <a:pt x="693" y="357"/>
                    <a:pt x="694" y="359"/>
                  </a:cubicBezTo>
                  <a:cubicBezTo>
                    <a:pt x="695" y="361"/>
                    <a:pt x="692" y="364"/>
                    <a:pt x="692" y="366"/>
                  </a:cubicBezTo>
                  <a:cubicBezTo>
                    <a:pt x="692" y="367"/>
                    <a:pt x="693" y="369"/>
                    <a:pt x="693" y="370"/>
                  </a:cubicBezTo>
                  <a:cubicBezTo>
                    <a:pt x="693" y="373"/>
                    <a:pt x="693" y="376"/>
                    <a:pt x="694" y="378"/>
                  </a:cubicBezTo>
                  <a:cubicBezTo>
                    <a:pt x="694" y="382"/>
                    <a:pt x="696" y="386"/>
                    <a:pt x="695" y="389"/>
                  </a:cubicBezTo>
                  <a:cubicBezTo>
                    <a:pt x="694" y="393"/>
                    <a:pt x="690" y="395"/>
                    <a:pt x="689" y="399"/>
                  </a:cubicBezTo>
                  <a:cubicBezTo>
                    <a:pt x="689" y="401"/>
                    <a:pt x="691" y="402"/>
                    <a:pt x="691" y="404"/>
                  </a:cubicBezTo>
                  <a:cubicBezTo>
                    <a:pt x="691" y="406"/>
                    <a:pt x="691" y="409"/>
                    <a:pt x="689" y="410"/>
                  </a:cubicBezTo>
                  <a:cubicBezTo>
                    <a:pt x="688" y="410"/>
                    <a:pt x="687" y="407"/>
                    <a:pt x="686" y="406"/>
                  </a:cubicBezTo>
                  <a:cubicBezTo>
                    <a:pt x="685" y="405"/>
                    <a:pt x="683" y="404"/>
                    <a:pt x="683" y="405"/>
                  </a:cubicBezTo>
                  <a:cubicBezTo>
                    <a:pt x="681" y="406"/>
                    <a:pt x="681" y="409"/>
                    <a:pt x="680" y="410"/>
                  </a:cubicBezTo>
                  <a:cubicBezTo>
                    <a:pt x="679" y="411"/>
                    <a:pt x="677" y="410"/>
                    <a:pt x="676" y="410"/>
                  </a:cubicBezTo>
                  <a:cubicBezTo>
                    <a:pt x="674" y="410"/>
                    <a:pt x="672" y="409"/>
                    <a:pt x="671" y="408"/>
                  </a:cubicBezTo>
                  <a:cubicBezTo>
                    <a:pt x="669" y="408"/>
                    <a:pt x="667" y="410"/>
                    <a:pt x="666" y="409"/>
                  </a:cubicBezTo>
                  <a:cubicBezTo>
                    <a:pt x="666" y="407"/>
                    <a:pt x="670" y="406"/>
                    <a:pt x="670" y="404"/>
                  </a:cubicBezTo>
                  <a:cubicBezTo>
                    <a:pt x="670" y="402"/>
                    <a:pt x="668" y="400"/>
                    <a:pt x="667" y="398"/>
                  </a:cubicBezTo>
                  <a:cubicBezTo>
                    <a:pt x="666" y="396"/>
                    <a:pt x="664" y="394"/>
                    <a:pt x="662" y="392"/>
                  </a:cubicBezTo>
                  <a:cubicBezTo>
                    <a:pt x="661" y="391"/>
                    <a:pt x="658" y="393"/>
                    <a:pt x="657" y="392"/>
                  </a:cubicBezTo>
                  <a:cubicBezTo>
                    <a:pt x="656" y="390"/>
                    <a:pt x="660" y="389"/>
                    <a:pt x="660" y="388"/>
                  </a:cubicBezTo>
                  <a:cubicBezTo>
                    <a:pt x="658" y="384"/>
                    <a:pt x="654" y="382"/>
                    <a:pt x="653" y="379"/>
                  </a:cubicBezTo>
                  <a:cubicBezTo>
                    <a:pt x="652" y="377"/>
                    <a:pt x="653" y="376"/>
                    <a:pt x="653" y="374"/>
                  </a:cubicBezTo>
                  <a:cubicBezTo>
                    <a:pt x="654" y="372"/>
                    <a:pt x="654" y="370"/>
                    <a:pt x="655" y="368"/>
                  </a:cubicBezTo>
                  <a:cubicBezTo>
                    <a:pt x="656" y="366"/>
                    <a:pt x="657" y="364"/>
                    <a:pt x="657" y="362"/>
                  </a:cubicBezTo>
                  <a:cubicBezTo>
                    <a:pt x="656" y="359"/>
                    <a:pt x="654" y="355"/>
                    <a:pt x="655" y="352"/>
                  </a:cubicBezTo>
                  <a:cubicBezTo>
                    <a:pt x="655" y="349"/>
                    <a:pt x="657" y="348"/>
                    <a:pt x="658" y="345"/>
                  </a:cubicBezTo>
                  <a:cubicBezTo>
                    <a:pt x="659" y="344"/>
                    <a:pt x="659" y="341"/>
                    <a:pt x="658" y="340"/>
                  </a:cubicBezTo>
                  <a:cubicBezTo>
                    <a:pt x="656" y="338"/>
                    <a:pt x="652" y="338"/>
                    <a:pt x="649" y="338"/>
                  </a:cubicBezTo>
                  <a:cubicBezTo>
                    <a:pt x="645" y="337"/>
                    <a:pt x="640" y="337"/>
                    <a:pt x="636" y="337"/>
                  </a:cubicBezTo>
                  <a:cubicBezTo>
                    <a:pt x="634" y="337"/>
                    <a:pt x="632" y="339"/>
                    <a:pt x="630" y="339"/>
                  </a:cubicBezTo>
                  <a:cubicBezTo>
                    <a:pt x="628" y="340"/>
                    <a:pt x="626" y="339"/>
                    <a:pt x="624" y="338"/>
                  </a:cubicBezTo>
                  <a:cubicBezTo>
                    <a:pt x="622" y="337"/>
                    <a:pt x="622" y="333"/>
                    <a:pt x="620" y="332"/>
                  </a:cubicBezTo>
                  <a:cubicBezTo>
                    <a:pt x="618" y="330"/>
                    <a:pt x="615" y="329"/>
                    <a:pt x="612" y="328"/>
                  </a:cubicBezTo>
                  <a:cubicBezTo>
                    <a:pt x="610" y="327"/>
                    <a:pt x="607" y="326"/>
                    <a:pt x="604" y="325"/>
                  </a:cubicBezTo>
                  <a:cubicBezTo>
                    <a:pt x="602" y="325"/>
                    <a:pt x="600" y="324"/>
                    <a:pt x="598" y="323"/>
                  </a:cubicBezTo>
                  <a:cubicBezTo>
                    <a:pt x="596" y="321"/>
                    <a:pt x="594" y="318"/>
                    <a:pt x="592" y="316"/>
                  </a:cubicBezTo>
                  <a:cubicBezTo>
                    <a:pt x="590" y="314"/>
                    <a:pt x="588" y="311"/>
                    <a:pt x="585" y="309"/>
                  </a:cubicBezTo>
                  <a:cubicBezTo>
                    <a:pt x="583" y="308"/>
                    <a:pt x="581" y="307"/>
                    <a:pt x="578" y="306"/>
                  </a:cubicBezTo>
                  <a:cubicBezTo>
                    <a:pt x="576" y="306"/>
                    <a:pt x="574" y="305"/>
                    <a:pt x="572" y="304"/>
                  </a:cubicBezTo>
                  <a:cubicBezTo>
                    <a:pt x="570" y="303"/>
                    <a:pt x="570" y="300"/>
                    <a:pt x="567" y="300"/>
                  </a:cubicBezTo>
                  <a:cubicBezTo>
                    <a:pt x="565" y="299"/>
                    <a:pt x="562" y="300"/>
                    <a:pt x="560" y="301"/>
                  </a:cubicBezTo>
                  <a:cubicBezTo>
                    <a:pt x="556" y="302"/>
                    <a:pt x="552" y="304"/>
                    <a:pt x="548" y="305"/>
                  </a:cubicBezTo>
                  <a:cubicBezTo>
                    <a:pt x="546" y="306"/>
                    <a:pt x="542" y="309"/>
                    <a:pt x="543" y="307"/>
                  </a:cubicBezTo>
                  <a:cubicBezTo>
                    <a:pt x="543" y="304"/>
                    <a:pt x="547" y="304"/>
                    <a:pt x="549" y="302"/>
                  </a:cubicBezTo>
                  <a:cubicBezTo>
                    <a:pt x="549" y="300"/>
                    <a:pt x="549" y="299"/>
                    <a:pt x="549" y="297"/>
                  </a:cubicBezTo>
                  <a:cubicBezTo>
                    <a:pt x="548" y="294"/>
                    <a:pt x="547" y="292"/>
                    <a:pt x="547" y="290"/>
                  </a:cubicBezTo>
                  <a:cubicBezTo>
                    <a:pt x="546" y="287"/>
                    <a:pt x="547" y="285"/>
                    <a:pt x="547" y="282"/>
                  </a:cubicBezTo>
                  <a:cubicBezTo>
                    <a:pt x="546" y="279"/>
                    <a:pt x="546" y="274"/>
                    <a:pt x="544" y="272"/>
                  </a:cubicBezTo>
                  <a:cubicBezTo>
                    <a:pt x="542" y="270"/>
                    <a:pt x="538" y="271"/>
                    <a:pt x="536" y="272"/>
                  </a:cubicBezTo>
                  <a:cubicBezTo>
                    <a:pt x="533" y="273"/>
                    <a:pt x="533" y="278"/>
                    <a:pt x="530" y="278"/>
                  </a:cubicBezTo>
                  <a:cubicBezTo>
                    <a:pt x="528" y="278"/>
                    <a:pt x="531" y="274"/>
                    <a:pt x="530" y="272"/>
                  </a:cubicBezTo>
                  <a:cubicBezTo>
                    <a:pt x="530" y="270"/>
                    <a:pt x="526" y="270"/>
                    <a:pt x="526" y="268"/>
                  </a:cubicBezTo>
                  <a:cubicBezTo>
                    <a:pt x="526" y="267"/>
                    <a:pt x="528" y="266"/>
                    <a:pt x="529" y="265"/>
                  </a:cubicBezTo>
                  <a:cubicBezTo>
                    <a:pt x="529" y="262"/>
                    <a:pt x="528" y="258"/>
                    <a:pt x="529" y="254"/>
                  </a:cubicBezTo>
                  <a:cubicBezTo>
                    <a:pt x="530" y="250"/>
                    <a:pt x="532" y="247"/>
                    <a:pt x="534" y="243"/>
                  </a:cubicBezTo>
                  <a:cubicBezTo>
                    <a:pt x="535" y="240"/>
                    <a:pt x="536" y="237"/>
                    <a:pt x="538" y="234"/>
                  </a:cubicBezTo>
                  <a:cubicBezTo>
                    <a:pt x="540" y="230"/>
                    <a:pt x="543" y="227"/>
                    <a:pt x="546" y="224"/>
                  </a:cubicBezTo>
                  <a:cubicBezTo>
                    <a:pt x="549" y="221"/>
                    <a:pt x="553" y="219"/>
                    <a:pt x="555" y="215"/>
                  </a:cubicBezTo>
                  <a:cubicBezTo>
                    <a:pt x="556" y="214"/>
                    <a:pt x="553" y="213"/>
                    <a:pt x="553" y="211"/>
                  </a:cubicBezTo>
                  <a:cubicBezTo>
                    <a:pt x="554" y="209"/>
                    <a:pt x="557" y="209"/>
                    <a:pt x="558" y="208"/>
                  </a:cubicBezTo>
                  <a:cubicBezTo>
                    <a:pt x="560" y="207"/>
                    <a:pt x="561" y="205"/>
                    <a:pt x="563" y="204"/>
                  </a:cubicBezTo>
                  <a:cubicBezTo>
                    <a:pt x="564" y="203"/>
                    <a:pt x="566" y="201"/>
                    <a:pt x="567" y="200"/>
                  </a:cubicBezTo>
                  <a:cubicBezTo>
                    <a:pt x="569" y="199"/>
                    <a:pt x="571" y="200"/>
                    <a:pt x="573" y="198"/>
                  </a:cubicBezTo>
                  <a:cubicBezTo>
                    <a:pt x="573" y="197"/>
                    <a:pt x="571" y="195"/>
                    <a:pt x="572" y="195"/>
                  </a:cubicBezTo>
                  <a:cubicBezTo>
                    <a:pt x="575" y="194"/>
                    <a:pt x="578" y="196"/>
                    <a:pt x="581" y="195"/>
                  </a:cubicBezTo>
                  <a:cubicBezTo>
                    <a:pt x="585" y="194"/>
                    <a:pt x="588" y="192"/>
                    <a:pt x="590" y="189"/>
                  </a:cubicBezTo>
                  <a:cubicBezTo>
                    <a:pt x="591" y="187"/>
                    <a:pt x="590" y="184"/>
                    <a:pt x="589" y="182"/>
                  </a:cubicBezTo>
                  <a:cubicBezTo>
                    <a:pt x="588" y="181"/>
                    <a:pt x="587" y="181"/>
                    <a:pt x="586" y="180"/>
                  </a:cubicBezTo>
                  <a:cubicBezTo>
                    <a:pt x="584" y="179"/>
                    <a:pt x="583" y="177"/>
                    <a:pt x="581" y="177"/>
                  </a:cubicBezTo>
                  <a:cubicBezTo>
                    <a:pt x="578" y="176"/>
                    <a:pt x="575" y="177"/>
                    <a:pt x="572" y="176"/>
                  </a:cubicBezTo>
                  <a:cubicBezTo>
                    <a:pt x="571" y="175"/>
                    <a:pt x="566" y="174"/>
                    <a:pt x="567" y="173"/>
                  </a:cubicBezTo>
                  <a:cubicBezTo>
                    <a:pt x="570" y="171"/>
                    <a:pt x="573" y="174"/>
                    <a:pt x="575" y="174"/>
                  </a:cubicBezTo>
                  <a:cubicBezTo>
                    <a:pt x="579" y="175"/>
                    <a:pt x="582" y="175"/>
                    <a:pt x="585" y="175"/>
                  </a:cubicBezTo>
                  <a:cubicBezTo>
                    <a:pt x="587" y="176"/>
                    <a:pt x="589" y="178"/>
                    <a:pt x="591" y="178"/>
                  </a:cubicBezTo>
                  <a:cubicBezTo>
                    <a:pt x="594" y="177"/>
                    <a:pt x="596" y="176"/>
                    <a:pt x="598" y="175"/>
                  </a:cubicBezTo>
                  <a:cubicBezTo>
                    <a:pt x="600" y="174"/>
                    <a:pt x="600" y="172"/>
                    <a:pt x="601" y="171"/>
                  </a:cubicBezTo>
                  <a:cubicBezTo>
                    <a:pt x="602" y="169"/>
                    <a:pt x="601" y="166"/>
                    <a:pt x="603" y="165"/>
                  </a:cubicBezTo>
                  <a:cubicBezTo>
                    <a:pt x="605" y="165"/>
                    <a:pt x="607" y="168"/>
                    <a:pt x="609" y="169"/>
                  </a:cubicBezTo>
                  <a:cubicBezTo>
                    <a:pt x="611" y="170"/>
                    <a:pt x="615" y="171"/>
                    <a:pt x="617" y="170"/>
                  </a:cubicBezTo>
                  <a:cubicBezTo>
                    <a:pt x="621" y="169"/>
                    <a:pt x="623" y="165"/>
                    <a:pt x="626" y="162"/>
                  </a:cubicBezTo>
                  <a:cubicBezTo>
                    <a:pt x="630" y="159"/>
                    <a:pt x="633" y="156"/>
                    <a:pt x="636" y="153"/>
                  </a:cubicBezTo>
                  <a:cubicBezTo>
                    <a:pt x="638" y="151"/>
                    <a:pt x="641" y="147"/>
                    <a:pt x="639" y="145"/>
                  </a:cubicBezTo>
                  <a:cubicBezTo>
                    <a:pt x="636" y="142"/>
                    <a:pt x="630" y="143"/>
                    <a:pt x="625" y="142"/>
                  </a:cubicBezTo>
                  <a:cubicBezTo>
                    <a:pt x="622" y="142"/>
                    <a:pt x="618" y="142"/>
                    <a:pt x="615" y="140"/>
                  </a:cubicBezTo>
                  <a:cubicBezTo>
                    <a:pt x="612" y="138"/>
                    <a:pt x="606" y="134"/>
                    <a:pt x="608" y="130"/>
                  </a:cubicBezTo>
                  <a:cubicBezTo>
                    <a:pt x="611" y="127"/>
                    <a:pt x="616" y="133"/>
                    <a:pt x="620" y="134"/>
                  </a:cubicBezTo>
                  <a:cubicBezTo>
                    <a:pt x="624" y="136"/>
                    <a:pt x="627" y="139"/>
                    <a:pt x="631" y="140"/>
                  </a:cubicBezTo>
                  <a:cubicBezTo>
                    <a:pt x="633" y="141"/>
                    <a:pt x="636" y="142"/>
                    <a:pt x="639" y="141"/>
                  </a:cubicBezTo>
                  <a:cubicBezTo>
                    <a:pt x="644" y="138"/>
                    <a:pt x="649" y="133"/>
                    <a:pt x="653" y="129"/>
                  </a:cubicBezTo>
                  <a:cubicBezTo>
                    <a:pt x="654" y="128"/>
                    <a:pt x="656" y="127"/>
                    <a:pt x="656" y="126"/>
                  </a:cubicBezTo>
                  <a:cubicBezTo>
                    <a:pt x="655" y="123"/>
                    <a:pt x="651" y="122"/>
                    <a:pt x="649" y="119"/>
                  </a:cubicBezTo>
                  <a:cubicBezTo>
                    <a:pt x="649" y="118"/>
                    <a:pt x="651" y="117"/>
                    <a:pt x="652" y="117"/>
                  </a:cubicBezTo>
                  <a:cubicBezTo>
                    <a:pt x="656" y="117"/>
                    <a:pt x="659" y="118"/>
                    <a:pt x="662" y="119"/>
                  </a:cubicBezTo>
                  <a:cubicBezTo>
                    <a:pt x="664" y="119"/>
                    <a:pt x="665" y="121"/>
                    <a:pt x="666" y="122"/>
                  </a:cubicBezTo>
                  <a:cubicBezTo>
                    <a:pt x="668" y="123"/>
                    <a:pt x="669" y="125"/>
                    <a:pt x="671" y="125"/>
                  </a:cubicBezTo>
                  <a:cubicBezTo>
                    <a:pt x="672" y="125"/>
                    <a:pt x="671" y="123"/>
                    <a:pt x="672" y="123"/>
                  </a:cubicBezTo>
                  <a:cubicBezTo>
                    <a:pt x="674" y="123"/>
                    <a:pt x="677" y="126"/>
                    <a:pt x="680" y="125"/>
                  </a:cubicBezTo>
                  <a:cubicBezTo>
                    <a:pt x="681" y="124"/>
                    <a:pt x="680" y="121"/>
                    <a:pt x="679" y="120"/>
                  </a:cubicBezTo>
                  <a:cubicBezTo>
                    <a:pt x="678" y="117"/>
                    <a:pt x="675" y="115"/>
                    <a:pt x="673" y="112"/>
                  </a:cubicBezTo>
                  <a:cubicBezTo>
                    <a:pt x="672" y="112"/>
                    <a:pt x="669" y="111"/>
                    <a:pt x="670" y="110"/>
                  </a:cubicBezTo>
                  <a:cubicBezTo>
                    <a:pt x="672" y="109"/>
                    <a:pt x="674" y="109"/>
                    <a:pt x="676" y="110"/>
                  </a:cubicBezTo>
                  <a:cubicBezTo>
                    <a:pt x="678" y="111"/>
                    <a:pt x="679" y="114"/>
                    <a:pt x="680" y="115"/>
                  </a:cubicBezTo>
                  <a:cubicBezTo>
                    <a:pt x="682" y="117"/>
                    <a:pt x="682" y="121"/>
                    <a:pt x="684" y="121"/>
                  </a:cubicBezTo>
                  <a:cubicBezTo>
                    <a:pt x="689" y="120"/>
                    <a:pt x="693" y="115"/>
                    <a:pt x="697" y="113"/>
                  </a:cubicBezTo>
                  <a:cubicBezTo>
                    <a:pt x="701" y="111"/>
                    <a:pt x="705" y="111"/>
                    <a:pt x="708" y="108"/>
                  </a:cubicBezTo>
                  <a:cubicBezTo>
                    <a:pt x="710" y="107"/>
                    <a:pt x="710" y="104"/>
                    <a:pt x="711" y="102"/>
                  </a:cubicBezTo>
                  <a:cubicBezTo>
                    <a:pt x="711" y="101"/>
                    <a:pt x="712" y="100"/>
                    <a:pt x="712" y="98"/>
                  </a:cubicBezTo>
                  <a:cubicBezTo>
                    <a:pt x="712" y="96"/>
                    <a:pt x="709" y="94"/>
                    <a:pt x="708" y="91"/>
                  </a:cubicBezTo>
                  <a:cubicBezTo>
                    <a:pt x="707" y="89"/>
                    <a:pt x="707" y="87"/>
                    <a:pt x="706" y="86"/>
                  </a:cubicBezTo>
                  <a:cubicBezTo>
                    <a:pt x="705" y="84"/>
                    <a:pt x="703" y="82"/>
                    <a:pt x="704" y="80"/>
                  </a:cubicBezTo>
                  <a:cubicBezTo>
                    <a:pt x="705" y="78"/>
                    <a:pt x="708" y="79"/>
                    <a:pt x="710" y="79"/>
                  </a:cubicBezTo>
                  <a:cubicBezTo>
                    <a:pt x="711" y="77"/>
                    <a:pt x="716" y="76"/>
                    <a:pt x="719" y="75"/>
                  </a:cubicBezTo>
                  <a:cubicBezTo>
                    <a:pt x="720" y="74"/>
                    <a:pt x="720" y="72"/>
                    <a:pt x="719" y="71"/>
                  </a:cubicBezTo>
                  <a:cubicBezTo>
                    <a:pt x="717" y="70"/>
                    <a:pt x="715" y="70"/>
                    <a:pt x="712" y="71"/>
                  </a:cubicBezTo>
                  <a:cubicBezTo>
                    <a:pt x="711" y="71"/>
                    <a:pt x="710" y="74"/>
                    <a:pt x="708" y="74"/>
                  </a:cubicBezTo>
                  <a:cubicBezTo>
                    <a:pt x="706" y="75"/>
                    <a:pt x="702" y="75"/>
                    <a:pt x="703" y="74"/>
                  </a:cubicBezTo>
                  <a:cubicBezTo>
                    <a:pt x="704" y="71"/>
                    <a:pt x="708" y="70"/>
                    <a:pt x="711" y="68"/>
                  </a:cubicBezTo>
                  <a:cubicBezTo>
                    <a:pt x="713" y="67"/>
                    <a:pt x="715" y="65"/>
                    <a:pt x="717" y="64"/>
                  </a:cubicBezTo>
                  <a:cubicBezTo>
                    <a:pt x="718" y="64"/>
                    <a:pt x="722" y="64"/>
                    <a:pt x="721" y="63"/>
                  </a:cubicBezTo>
                  <a:cubicBezTo>
                    <a:pt x="718" y="61"/>
                    <a:pt x="715" y="61"/>
                    <a:pt x="712" y="59"/>
                  </a:cubicBezTo>
                  <a:cubicBezTo>
                    <a:pt x="709" y="58"/>
                    <a:pt x="706" y="57"/>
                    <a:pt x="705" y="54"/>
                  </a:cubicBezTo>
                  <a:cubicBezTo>
                    <a:pt x="704" y="53"/>
                    <a:pt x="708" y="53"/>
                    <a:pt x="708" y="52"/>
                  </a:cubicBezTo>
                  <a:cubicBezTo>
                    <a:pt x="707" y="51"/>
                    <a:pt x="705" y="51"/>
                    <a:pt x="703" y="50"/>
                  </a:cubicBezTo>
                  <a:cubicBezTo>
                    <a:pt x="702" y="50"/>
                    <a:pt x="701" y="51"/>
                    <a:pt x="699" y="51"/>
                  </a:cubicBezTo>
                  <a:cubicBezTo>
                    <a:pt x="696" y="50"/>
                    <a:pt x="694" y="48"/>
                    <a:pt x="691" y="48"/>
                  </a:cubicBezTo>
                  <a:cubicBezTo>
                    <a:pt x="688" y="48"/>
                    <a:pt x="686" y="49"/>
                    <a:pt x="683" y="49"/>
                  </a:cubicBezTo>
                  <a:cubicBezTo>
                    <a:pt x="682" y="49"/>
                    <a:pt x="680" y="47"/>
                    <a:pt x="680" y="48"/>
                  </a:cubicBezTo>
                  <a:cubicBezTo>
                    <a:pt x="677" y="52"/>
                    <a:pt x="676" y="56"/>
                    <a:pt x="676" y="60"/>
                  </a:cubicBezTo>
                  <a:cubicBezTo>
                    <a:pt x="677" y="63"/>
                    <a:pt x="682" y="65"/>
                    <a:pt x="682" y="68"/>
                  </a:cubicBezTo>
                  <a:cubicBezTo>
                    <a:pt x="683" y="69"/>
                    <a:pt x="679" y="67"/>
                    <a:pt x="678" y="68"/>
                  </a:cubicBezTo>
                  <a:cubicBezTo>
                    <a:pt x="677" y="69"/>
                    <a:pt x="679" y="70"/>
                    <a:pt x="678" y="71"/>
                  </a:cubicBezTo>
                  <a:cubicBezTo>
                    <a:pt x="676" y="72"/>
                    <a:pt x="672" y="69"/>
                    <a:pt x="672" y="73"/>
                  </a:cubicBezTo>
                  <a:cubicBezTo>
                    <a:pt x="670" y="73"/>
                    <a:pt x="669" y="75"/>
                    <a:pt x="668" y="76"/>
                  </a:cubicBezTo>
                  <a:cubicBezTo>
                    <a:pt x="665" y="81"/>
                    <a:pt x="662" y="86"/>
                    <a:pt x="659" y="92"/>
                  </a:cubicBezTo>
                  <a:cubicBezTo>
                    <a:pt x="658" y="94"/>
                    <a:pt x="659" y="97"/>
                    <a:pt x="658" y="98"/>
                  </a:cubicBezTo>
                  <a:cubicBezTo>
                    <a:pt x="656" y="100"/>
                    <a:pt x="653" y="100"/>
                    <a:pt x="651" y="101"/>
                  </a:cubicBezTo>
                  <a:cubicBezTo>
                    <a:pt x="649" y="103"/>
                    <a:pt x="647" y="105"/>
                    <a:pt x="644" y="105"/>
                  </a:cubicBezTo>
                  <a:cubicBezTo>
                    <a:pt x="643" y="105"/>
                    <a:pt x="645" y="102"/>
                    <a:pt x="644" y="101"/>
                  </a:cubicBezTo>
                  <a:cubicBezTo>
                    <a:pt x="643" y="97"/>
                    <a:pt x="639" y="93"/>
                    <a:pt x="639" y="89"/>
                  </a:cubicBezTo>
                  <a:cubicBezTo>
                    <a:pt x="639" y="87"/>
                    <a:pt x="641" y="86"/>
                    <a:pt x="641" y="84"/>
                  </a:cubicBezTo>
                  <a:cubicBezTo>
                    <a:pt x="642" y="83"/>
                    <a:pt x="641" y="81"/>
                    <a:pt x="641" y="80"/>
                  </a:cubicBezTo>
                  <a:cubicBezTo>
                    <a:pt x="642" y="79"/>
                    <a:pt x="644" y="80"/>
                    <a:pt x="644" y="79"/>
                  </a:cubicBezTo>
                  <a:cubicBezTo>
                    <a:pt x="646" y="76"/>
                    <a:pt x="646" y="73"/>
                    <a:pt x="645" y="70"/>
                  </a:cubicBezTo>
                  <a:cubicBezTo>
                    <a:pt x="645" y="68"/>
                    <a:pt x="642" y="67"/>
                    <a:pt x="641" y="65"/>
                  </a:cubicBezTo>
                  <a:cubicBezTo>
                    <a:pt x="639" y="63"/>
                    <a:pt x="638" y="59"/>
                    <a:pt x="635" y="57"/>
                  </a:cubicBezTo>
                  <a:cubicBezTo>
                    <a:pt x="634" y="57"/>
                    <a:pt x="633" y="60"/>
                    <a:pt x="631" y="62"/>
                  </a:cubicBezTo>
                  <a:cubicBezTo>
                    <a:pt x="630" y="64"/>
                    <a:pt x="628" y="66"/>
                    <a:pt x="627" y="68"/>
                  </a:cubicBezTo>
                  <a:cubicBezTo>
                    <a:pt x="625" y="70"/>
                    <a:pt x="625" y="74"/>
                    <a:pt x="623" y="76"/>
                  </a:cubicBezTo>
                  <a:cubicBezTo>
                    <a:pt x="622" y="79"/>
                    <a:pt x="621" y="82"/>
                    <a:pt x="619" y="82"/>
                  </a:cubicBezTo>
                  <a:cubicBezTo>
                    <a:pt x="617" y="83"/>
                    <a:pt x="617" y="80"/>
                    <a:pt x="617" y="79"/>
                  </a:cubicBezTo>
                  <a:cubicBezTo>
                    <a:pt x="617" y="75"/>
                    <a:pt x="618" y="72"/>
                    <a:pt x="618" y="69"/>
                  </a:cubicBezTo>
                  <a:cubicBezTo>
                    <a:pt x="618" y="67"/>
                    <a:pt x="617" y="64"/>
                    <a:pt x="616" y="62"/>
                  </a:cubicBezTo>
                  <a:cubicBezTo>
                    <a:pt x="615" y="60"/>
                    <a:pt x="612" y="58"/>
                    <a:pt x="613" y="56"/>
                  </a:cubicBezTo>
                  <a:cubicBezTo>
                    <a:pt x="613" y="54"/>
                    <a:pt x="617" y="55"/>
                    <a:pt x="617" y="53"/>
                  </a:cubicBezTo>
                  <a:cubicBezTo>
                    <a:pt x="618" y="52"/>
                    <a:pt x="616" y="50"/>
                    <a:pt x="615" y="50"/>
                  </a:cubicBezTo>
                  <a:cubicBezTo>
                    <a:pt x="612" y="51"/>
                    <a:pt x="612" y="54"/>
                    <a:pt x="609" y="54"/>
                  </a:cubicBezTo>
                  <a:cubicBezTo>
                    <a:pt x="608" y="55"/>
                    <a:pt x="607" y="53"/>
                    <a:pt x="605" y="53"/>
                  </a:cubicBezTo>
                  <a:cubicBezTo>
                    <a:pt x="604" y="54"/>
                    <a:pt x="603" y="56"/>
                    <a:pt x="601" y="56"/>
                  </a:cubicBezTo>
                  <a:cubicBezTo>
                    <a:pt x="600" y="55"/>
                    <a:pt x="603" y="52"/>
                    <a:pt x="602" y="51"/>
                  </a:cubicBezTo>
                  <a:cubicBezTo>
                    <a:pt x="602" y="50"/>
                    <a:pt x="599" y="50"/>
                    <a:pt x="600" y="50"/>
                  </a:cubicBezTo>
                  <a:cubicBezTo>
                    <a:pt x="601" y="47"/>
                    <a:pt x="606" y="47"/>
                    <a:pt x="607" y="44"/>
                  </a:cubicBezTo>
                  <a:cubicBezTo>
                    <a:pt x="607" y="42"/>
                    <a:pt x="603" y="43"/>
                    <a:pt x="602" y="41"/>
                  </a:cubicBezTo>
                  <a:cubicBezTo>
                    <a:pt x="602" y="40"/>
                    <a:pt x="603" y="39"/>
                    <a:pt x="604" y="39"/>
                  </a:cubicBezTo>
                  <a:cubicBezTo>
                    <a:pt x="605" y="39"/>
                    <a:pt x="607" y="40"/>
                    <a:pt x="608" y="40"/>
                  </a:cubicBezTo>
                  <a:cubicBezTo>
                    <a:pt x="609" y="40"/>
                    <a:pt x="611" y="40"/>
                    <a:pt x="612" y="39"/>
                  </a:cubicBezTo>
                  <a:cubicBezTo>
                    <a:pt x="612" y="37"/>
                    <a:pt x="611" y="36"/>
                    <a:pt x="610" y="35"/>
                  </a:cubicBezTo>
                  <a:cubicBezTo>
                    <a:pt x="609" y="34"/>
                    <a:pt x="608" y="33"/>
                    <a:pt x="607" y="32"/>
                  </a:cubicBezTo>
                  <a:cubicBezTo>
                    <a:pt x="605" y="30"/>
                    <a:pt x="601" y="28"/>
                    <a:pt x="600" y="25"/>
                  </a:cubicBezTo>
                  <a:cubicBezTo>
                    <a:pt x="600" y="22"/>
                    <a:pt x="603" y="20"/>
                    <a:pt x="604" y="17"/>
                  </a:cubicBezTo>
                  <a:cubicBezTo>
                    <a:pt x="604" y="15"/>
                    <a:pt x="604" y="12"/>
                    <a:pt x="603" y="10"/>
                  </a:cubicBezTo>
                  <a:cubicBezTo>
                    <a:pt x="602" y="9"/>
                    <a:pt x="599" y="9"/>
                    <a:pt x="598" y="8"/>
                  </a:cubicBezTo>
                  <a:cubicBezTo>
                    <a:pt x="597" y="8"/>
                    <a:pt x="597" y="7"/>
                    <a:pt x="596" y="6"/>
                  </a:cubicBezTo>
                  <a:cubicBezTo>
                    <a:pt x="594" y="5"/>
                    <a:pt x="592" y="5"/>
                    <a:pt x="590" y="4"/>
                  </a:cubicBezTo>
                  <a:cubicBezTo>
                    <a:pt x="589" y="3"/>
                    <a:pt x="589" y="1"/>
                    <a:pt x="588" y="1"/>
                  </a:cubicBezTo>
                  <a:cubicBezTo>
                    <a:pt x="586" y="0"/>
                    <a:pt x="584" y="1"/>
                    <a:pt x="582" y="2"/>
                  </a:cubicBezTo>
                  <a:cubicBezTo>
                    <a:pt x="580" y="3"/>
                    <a:pt x="578" y="5"/>
                    <a:pt x="576" y="6"/>
                  </a:cubicBezTo>
                  <a:cubicBezTo>
                    <a:pt x="575" y="7"/>
                    <a:pt x="573" y="9"/>
                    <a:pt x="574" y="10"/>
                  </a:cubicBezTo>
                  <a:cubicBezTo>
                    <a:pt x="574" y="11"/>
                    <a:pt x="578" y="10"/>
                    <a:pt x="578" y="12"/>
                  </a:cubicBezTo>
                  <a:cubicBezTo>
                    <a:pt x="578" y="13"/>
                    <a:pt x="576" y="15"/>
                    <a:pt x="574" y="15"/>
                  </a:cubicBezTo>
                  <a:cubicBezTo>
                    <a:pt x="573" y="15"/>
                    <a:pt x="572" y="12"/>
                    <a:pt x="570" y="12"/>
                  </a:cubicBezTo>
                  <a:cubicBezTo>
                    <a:pt x="567" y="14"/>
                    <a:pt x="566" y="18"/>
                    <a:pt x="565" y="21"/>
                  </a:cubicBezTo>
                  <a:cubicBezTo>
                    <a:pt x="564" y="22"/>
                    <a:pt x="564" y="24"/>
                    <a:pt x="564" y="25"/>
                  </a:cubicBezTo>
                  <a:cubicBezTo>
                    <a:pt x="565" y="27"/>
                    <a:pt x="567" y="27"/>
                    <a:pt x="568" y="29"/>
                  </a:cubicBezTo>
                  <a:cubicBezTo>
                    <a:pt x="568" y="30"/>
                    <a:pt x="569" y="31"/>
                    <a:pt x="568" y="31"/>
                  </a:cubicBezTo>
                  <a:cubicBezTo>
                    <a:pt x="566" y="32"/>
                    <a:pt x="564" y="31"/>
                    <a:pt x="562" y="32"/>
                  </a:cubicBezTo>
                  <a:cubicBezTo>
                    <a:pt x="560" y="33"/>
                    <a:pt x="558" y="36"/>
                    <a:pt x="557" y="39"/>
                  </a:cubicBezTo>
                  <a:cubicBezTo>
                    <a:pt x="556" y="41"/>
                    <a:pt x="557" y="44"/>
                    <a:pt x="559" y="46"/>
                  </a:cubicBezTo>
                  <a:cubicBezTo>
                    <a:pt x="560" y="47"/>
                    <a:pt x="563" y="47"/>
                    <a:pt x="565" y="48"/>
                  </a:cubicBezTo>
                  <a:cubicBezTo>
                    <a:pt x="568" y="49"/>
                    <a:pt x="571" y="52"/>
                    <a:pt x="575" y="52"/>
                  </a:cubicBezTo>
                  <a:cubicBezTo>
                    <a:pt x="576" y="52"/>
                    <a:pt x="577" y="49"/>
                    <a:pt x="578" y="50"/>
                  </a:cubicBezTo>
                  <a:cubicBezTo>
                    <a:pt x="580" y="50"/>
                    <a:pt x="580" y="54"/>
                    <a:pt x="582" y="54"/>
                  </a:cubicBezTo>
                  <a:cubicBezTo>
                    <a:pt x="585" y="55"/>
                    <a:pt x="588" y="53"/>
                    <a:pt x="591" y="53"/>
                  </a:cubicBezTo>
                  <a:cubicBezTo>
                    <a:pt x="592" y="53"/>
                    <a:pt x="595" y="53"/>
                    <a:pt x="595" y="54"/>
                  </a:cubicBezTo>
                  <a:cubicBezTo>
                    <a:pt x="595" y="57"/>
                    <a:pt x="593" y="58"/>
                    <a:pt x="591" y="59"/>
                  </a:cubicBezTo>
                  <a:cubicBezTo>
                    <a:pt x="590" y="60"/>
                    <a:pt x="588" y="61"/>
                    <a:pt x="586" y="60"/>
                  </a:cubicBezTo>
                  <a:cubicBezTo>
                    <a:pt x="585" y="60"/>
                    <a:pt x="585" y="58"/>
                    <a:pt x="584" y="57"/>
                  </a:cubicBezTo>
                  <a:cubicBezTo>
                    <a:pt x="582" y="57"/>
                    <a:pt x="580" y="56"/>
                    <a:pt x="579" y="57"/>
                  </a:cubicBezTo>
                  <a:cubicBezTo>
                    <a:pt x="577" y="59"/>
                    <a:pt x="578" y="62"/>
                    <a:pt x="577" y="63"/>
                  </a:cubicBezTo>
                  <a:cubicBezTo>
                    <a:pt x="575" y="65"/>
                    <a:pt x="572" y="66"/>
                    <a:pt x="570" y="69"/>
                  </a:cubicBezTo>
                  <a:cubicBezTo>
                    <a:pt x="570" y="70"/>
                    <a:pt x="569" y="73"/>
                    <a:pt x="570" y="73"/>
                  </a:cubicBezTo>
                  <a:cubicBezTo>
                    <a:pt x="572" y="74"/>
                    <a:pt x="575" y="72"/>
                    <a:pt x="577" y="71"/>
                  </a:cubicBezTo>
                  <a:cubicBezTo>
                    <a:pt x="578" y="70"/>
                    <a:pt x="579" y="69"/>
                    <a:pt x="580" y="68"/>
                  </a:cubicBezTo>
                  <a:cubicBezTo>
                    <a:pt x="580" y="67"/>
                    <a:pt x="579" y="65"/>
                    <a:pt x="580" y="66"/>
                  </a:cubicBezTo>
                  <a:cubicBezTo>
                    <a:pt x="581" y="67"/>
                    <a:pt x="582" y="69"/>
                    <a:pt x="583" y="71"/>
                  </a:cubicBezTo>
                  <a:cubicBezTo>
                    <a:pt x="583" y="73"/>
                    <a:pt x="584" y="74"/>
                    <a:pt x="583" y="76"/>
                  </a:cubicBezTo>
                  <a:cubicBezTo>
                    <a:pt x="580" y="78"/>
                    <a:pt x="577" y="80"/>
                    <a:pt x="574" y="81"/>
                  </a:cubicBezTo>
                  <a:cubicBezTo>
                    <a:pt x="571" y="83"/>
                    <a:pt x="568" y="85"/>
                    <a:pt x="565" y="86"/>
                  </a:cubicBezTo>
                  <a:cubicBezTo>
                    <a:pt x="563" y="87"/>
                    <a:pt x="561" y="85"/>
                    <a:pt x="560" y="86"/>
                  </a:cubicBezTo>
                  <a:cubicBezTo>
                    <a:pt x="557" y="87"/>
                    <a:pt x="554" y="89"/>
                    <a:pt x="553" y="92"/>
                  </a:cubicBezTo>
                  <a:cubicBezTo>
                    <a:pt x="553" y="94"/>
                    <a:pt x="558" y="95"/>
                    <a:pt x="558" y="97"/>
                  </a:cubicBezTo>
                  <a:cubicBezTo>
                    <a:pt x="559" y="100"/>
                    <a:pt x="559" y="103"/>
                    <a:pt x="558" y="105"/>
                  </a:cubicBezTo>
                  <a:cubicBezTo>
                    <a:pt x="558" y="107"/>
                    <a:pt x="559" y="110"/>
                    <a:pt x="557" y="111"/>
                  </a:cubicBezTo>
                  <a:cubicBezTo>
                    <a:pt x="554" y="112"/>
                    <a:pt x="550" y="111"/>
                    <a:pt x="547" y="111"/>
                  </a:cubicBezTo>
                  <a:cubicBezTo>
                    <a:pt x="546" y="110"/>
                    <a:pt x="543" y="108"/>
                    <a:pt x="544" y="107"/>
                  </a:cubicBezTo>
                  <a:cubicBezTo>
                    <a:pt x="548" y="106"/>
                    <a:pt x="552" y="110"/>
                    <a:pt x="555" y="108"/>
                  </a:cubicBezTo>
                  <a:cubicBezTo>
                    <a:pt x="557" y="107"/>
                    <a:pt x="556" y="103"/>
                    <a:pt x="555" y="102"/>
                  </a:cubicBezTo>
                  <a:cubicBezTo>
                    <a:pt x="553" y="100"/>
                    <a:pt x="550" y="103"/>
                    <a:pt x="548" y="102"/>
                  </a:cubicBezTo>
                  <a:cubicBezTo>
                    <a:pt x="546" y="101"/>
                    <a:pt x="545" y="99"/>
                    <a:pt x="545" y="97"/>
                  </a:cubicBezTo>
                  <a:cubicBezTo>
                    <a:pt x="546" y="95"/>
                    <a:pt x="548" y="93"/>
                    <a:pt x="549" y="91"/>
                  </a:cubicBezTo>
                  <a:cubicBezTo>
                    <a:pt x="551" y="88"/>
                    <a:pt x="554" y="85"/>
                    <a:pt x="553" y="82"/>
                  </a:cubicBezTo>
                  <a:cubicBezTo>
                    <a:pt x="553" y="80"/>
                    <a:pt x="550" y="82"/>
                    <a:pt x="548" y="82"/>
                  </a:cubicBezTo>
                  <a:cubicBezTo>
                    <a:pt x="546" y="82"/>
                    <a:pt x="544" y="81"/>
                    <a:pt x="542" y="81"/>
                  </a:cubicBezTo>
                  <a:cubicBezTo>
                    <a:pt x="539" y="80"/>
                    <a:pt x="537" y="77"/>
                    <a:pt x="534" y="77"/>
                  </a:cubicBezTo>
                  <a:cubicBezTo>
                    <a:pt x="531" y="77"/>
                    <a:pt x="528" y="79"/>
                    <a:pt x="527" y="81"/>
                  </a:cubicBezTo>
                  <a:cubicBezTo>
                    <a:pt x="527" y="83"/>
                    <a:pt x="528" y="86"/>
                    <a:pt x="530" y="87"/>
                  </a:cubicBezTo>
                  <a:cubicBezTo>
                    <a:pt x="532" y="89"/>
                    <a:pt x="535" y="89"/>
                    <a:pt x="538" y="91"/>
                  </a:cubicBezTo>
                  <a:cubicBezTo>
                    <a:pt x="539" y="92"/>
                    <a:pt x="539" y="94"/>
                    <a:pt x="538" y="95"/>
                  </a:cubicBezTo>
                  <a:cubicBezTo>
                    <a:pt x="537" y="96"/>
                    <a:pt x="535" y="97"/>
                    <a:pt x="533" y="96"/>
                  </a:cubicBezTo>
                  <a:cubicBezTo>
                    <a:pt x="531" y="95"/>
                    <a:pt x="530" y="92"/>
                    <a:pt x="527" y="91"/>
                  </a:cubicBezTo>
                  <a:cubicBezTo>
                    <a:pt x="524" y="91"/>
                    <a:pt x="521" y="92"/>
                    <a:pt x="518" y="92"/>
                  </a:cubicBezTo>
                  <a:cubicBezTo>
                    <a:pt x="516" y="92"/>
                    <a:pt x="514" y="91"/>
                    <a:pt x="513" y="90"/>
                  </a:cubicBezTo>
                  <a:cubicBezTo>
                    <a:pt x="506" y="90"/>
                    <a:pt x="500" y="91"/>
                    <a:pt x="494" y="91"/>
                  </a:cubicBezTo>
                  <a:cubicBezTo>
                    <a:pt x="490" y="91"/>
                    <a:pt x="486" y="92"/>
                    <a:pt x="483" y="91"/>
                  </a:cubicBezTo>
                  <a:cubicBezTo>
                    <a:pt x="480" y="91"/>
                    <a:pt x="478" y="90"/>
                    <a:pt x="476" y="89"/>
                  </a:cubicBezTo>
                  <a:cubicBezTo>
                    <a:pt x="474" y="88"/>
                    <a:pt x="472" y="86"/>
                    <a:pt x="470" y="86"/>
                  </a:cubicBezTo>
                  <a:cubicBezTo>
                    <a:pt x="467" y="85"/>
                    <a:pt x="463" y="87"/>
                    <a:pt x="460" y="86"/>
                  </a:cubicBezTo>
                  <a:cubicBezTo>
                    <a:pt x="458" y="85"/>
                    <a:pt x="457" y="83"/>
                    <a:pt x="456" y="82"/>
                  </a:cubicBezTo>
                  <a:cubicBezTo>
                    <a:pt x="454" y="81"/>
                    <a:pt x="452" y="80"/>
                    <a:pt x="451" y="78"/>
                  </a:cubicBezTo>
                  <a:cubicBezTo>
                    <a:pt x="450" y="76"/>
                    <a:pt x="452" y="73"/>
                    <a:pt x="451" y="71"/>
                  </a:cubicBezTo>
                  <a:cubicBezTo>
                    <a:pt x="450" y="69"/>
                    <a:pt x="446" y="66"/>
                    <a:pt x="444" y="68"/>
                  </a:cubicBezTo>
                  <a:cubicBezTo>
                    <a:pt x="436" y="72"/>
                    <a:pt x="428" y="74"/>
                    <a:pt x="421" y="75"/>
                  </a:cubicBezTo>
                  <a:cubicBezTo>
                    <a:pt x="419" y="76"/>
                    <a:pt x="414" y="80"/>
                    <a:pt x="414" y="82"/>
                  </a:cubicBezTo>
                  <a:cubicBezTo>
                    <a:pt x="415" y="85"/>
                    <a:pt x="420" y="83"/>
                    <a:pt x="424" y="83"/>
                  </a:cubicBezTo>
                  <a:cubicBezTo>
                    <a:pt x="424" y="79"/>
                    <a:pt x="428" y="80"/>
                    <a:pt x="431" y="79"/>
                  </a:cubicBezTo>
                  <a:cubicBezTo>
                    <a:pt x="436" y="79"/>
                    <a:pt x="441" y="77"/>
                    <a:pt x="445" y="74"/>
                  </a:cubicBezTo>
                  <a:cubicBezTo>
                    <a:pt x="446" y="73"/>
                    <a:pt x="448" y="73"/>
                    <a:pt x="448" y="75"/>
                  </a:cubicBezTo>
                  <a:cubicBezTo>
                    <a:pt x="448" y="76"/>
                    <a:pt x="447" y="78"/>
                    <a:pt x="445" y="79"/>
                  </a:cubicBezTo>
                  <a:cubicBezTo>
                    <a:pt x="441" y="81"/>
                    <a:pt x="437" y="84"/>
                    <a:pt x="433" y="85"/>
                  </a:cubicBezTo>
                  <a:cubicBezTo>
                    <a:pt x="430" y="86"/>
                    <a:pt x="426" y="85"/>
                    <a:pt x="423" y="87"/>
                  </a:cubicBezTo>
                  <a:cubicBezTo>
                    <a:pt x="421" y="87"/>
                    <a:pt x="419" y="89"/>
                    <a:pt x="418" y="91"/>
                  </a:cubicBezTo>
                  <a:cubicBezTo>
                    <a:pt x="418" y="94"/>
                    <a:pt x="420" y="97"/>
                    <a:pt x="421" y="100"/>
                  </a:cubicBezTo>
                  <a:cubicBezTo>
                    <a:pt x="421" y="104"/>
                    <a:pt x="422" y="108"/>
                    <a:pt x="421" y="111"/>
                  </a:cubicBezTo>
                  <a:cubicBezTo>
                    <a:pt x="421" y="114"/>
                    <a:pt x="420" y="108"/>
                    <a:pt x="418" y="110"/>
                  </a:cubicBezTo>
                  <a:cubicBezTo>
                    <a:pt x="417" y="110"/>
                    <a:pt x="418" y="117"/>
                    <a:pt x="417" y="117"/>
                  </a:cubicBezTo>
                  <a:cubicBezTo>
                    <a:pt x="415" y="117"/>
                    <a:pt x="413" y="114"/>
                    <a:pt x="411" y="112"/>
                  </a:cubicBezTo>
                  <a:cubicBezTo>
                    <a:pt x="411" y="110"/>
                    <a:pt x="410" y="107"/>
                    <a:pt x="411" y="106"/>
                  </a:cubicBezTo>
                  <a:cubicBezTo>
                    <a:pt x="412" y="104"/>
                    <a:pt x="416" y="106"/>
                    <a:pt x="416" y="104"/>
                  </a:cubicBezTo>
                  <a:cubicBezTo>
                    <a:pt x="417" y="101"/>
                    <a:pt x="415" y="96"/>
                    <a:pt x="412" y="95"/>
                  </a:cubicBezTo>
                  <a:cubicBezTo>
                    <a:pt x="410" y="94"/>
                    <a:pt x="409" y="100"/>
                    <a:pt x="407" y="100"/>
                  </a:cubicBezTo>
                  <a:cubicBezTo>
                    <a:pt x="405" y="100"/>
                    <a:pt x="408" y="96"/>
                    <a:pt x="407" y="94"/>
                  </a:cubicBezTo>
                  <a:cubicBezTo>
                    <a:pt x="406" y="93"/>
                    <a:pt x="404" y="91"/>
                    <a:pt x="402" y="91"/>
                  </a:cubicBezTo>
                  <a:cubicBezTo>
                    <a:pt x="400" y="91"/>
                    <a:pt x="399" y="94"/>
                    <a:pt x="398" y="93"/>
                  </a:cubicBezTo>
                  <a:cubicBezTo>
                    <a:pt x="396" y="92"/>
                    <a:pt x="399" y="87"/>
                    <a:pt x="397" y="87"/>
                  </a:cubicBezTo>
                  <a:cubicBezTo>
                    <a:pt x="391" y="87"/>
                    <a:pt x="387" y="92"/>
                    <a:pt x="381" y="93"/>
                  </a:cubicBezTo>
                  <a:cubicBezTo>
                    <a:pt x="377" y="94"/>
                    <a:pt x="374" y="92"/>
                    <a:pt x="370" y="92"/>
                  </a:cubicBezTo>
                  <a:cubicBezTo>
                    <a:pt x="366" y="92"/>
                    <a:pt x="361" y="94"/>
                    <a:pt x="356" y="93"/>
                  </a:cubicBezTo>
                  <a:cubicBezTo>
                    <a:pt x="352" y="93"/>
                    <a:pt x="348" y="91"/>
                    <a:pt x="344" y="90"/>
                  </a:cubicBezTo>
                  <a:cubicBezTo>
                    <a:pt x="341" y="90"/>
                    <a:pt x="338" y="92"/>
                    <a:pt x="336" y="90"/>
                  </a:cubicBezTo>
                  <a:cubicBezTo>
                    <a:pt x="335" y="88"/>
                    <a:pt x="337" y="85"/>
                    <a:pt x="339" y="84"/>
                  </a:cubicBezTo>
                  <a:cubicBezTo>
                    <a:pt x="341" y="82"/>
                    <a:pt x="344" y="81"/>
                    <a:pt x="346" y="81"/>
                  </a:cubicBezTo>
                  <a:cubicBezTo>
                    <a:pt x="348" y="80"/>
                    <a:pt x="351" y="82"/>
                    <a:pt x="352" y="81"/>
                  </a:cubicBezTo>
                  <a:cubicBezTo>
                    <a:pt x="353" y="80"/>
                    <a:pt x="353" y="78"/>
                    <a:pt x="353" y="76"/>
                  </a:cubicBezTo>
                  <a:cubicBezTo>
                    <a:pt x="351" y="74"/>
                    <a:pt x="349" y="71"/>
                    <a:pt x="347" y="69"/>
                  </a:cubicBezTo>
                  <a:cubicBezTo>
                    <a:pt x="344" y="67"/>
                    <a:pt x="341" y="65"/>
                    <a:pt x="338" y="65"/>
                  </a:cubicBezTo>
                  <a:cubicBezTo>
                    <a:pt x="335" y="65"/>
                    <a:pt x="334" y="68"/>
                    <a:pt x="331" y="68"/>
                  </a:cubicBezTo>
                  <a:cubicBezTo>
                    <a:pt x="328" y="69"/>
                    <a:pt x="324" y="68"/>
                    <a:pt x="320" y="67"/>
                  </a:cubicBezTo>
                  <a:cubicBezTo>
                    <a:pt x="317" y="67"/>
                    <a:pt x="314" y="65"/>
                    <a:pt x="311" y="64"/>
                  </a:cubicBezTo>
                  <a:cubicBezTo>
                    <a:pt x="308" y="62"/>
                    <a:pt x="307" y="59"/>
                    <a:pt x="305" y="59"/>
                  </a:cubicBezTo>
                  <a:cubicBezTo>
                    <a:pt x="301" y="57"/>
                    <a:pt x="297" y="58"/>
                    <a:pt x="293" y="57"/>
                  </a:cubicBezTo>
                  <a:cubicBezTo>
                    <a:pt x="290" y="57"/>
                    <a:pt x="286" y="57"/>
                    <a:pt x="284" y="56"/>
                  </a:cubicBezTo>
                  <a:cubicBezTo>
                    <a:pt x="282" y="54"/>
                    <a:pt x="282" y="50"/>
                    <a:pt x="279" y="50"/>
                  </a:cubicBezTo>
                  <a:cubicBezTo>
                    <a:pt x="274" y="48"/>
                    <a:pt x="268" y="46"/>
                    <a:pt x="262" y="48"/>
                  </a:cubicBezTo>
                  <a:cubicBezTo>
                    <a:pt x="259" y="48"/>
                    <a:pt x="260" y="53"/>
                    <a:pt x="258" y="55"/>
                  </a:cubicBezTo>
                  <a:cubicBezTo>
                    <a:pt x="255" y="58"/>
                    <a:pt x="252" y="59"/>
                    <a:pt x="248" y="59"/>
                  </a:cubicBezTo>
                  <a:cubicBezTo>
                    <a:pt x="246" y="60"/>
                    <a:pt x="242" y="61"/>
                    <a:pt x="242" y="59"/>
                  </a:cubicBezTo>
                  <a:cubicBezTo>
                    <a:pt x="241" y="56"/>
                    <a:pt x="246" y="54"/>
                    <a:pt x="247" y="51"/>
                  </a:cubicBezTo>
                  <a:cubicBezTo>
                    <a:pt x="247" y="49"/>
                    <a:pt x="246" y="47"/>
                    <a:pt x="246" y="46"/>
                  </a:cubicBezTo>
                  <a:cubicBezTo>
                    <a:pt x="246" y="45"/>
                    <a:pt x="248" y="42"/>
                    <a:pt x="246" y="42"/>
                  </a:cubicBezTo>
                  <a:cubicBezTo>
                    <a:pt x="244" y="42"/>
                    <a:pt x="241" y="44"/>
                    <a:pt x="240" y="46"/>
                  </a:cubicBezTo>
                  <a:cubicBezTo>
                    <a:pt x="237" y="49"/>
                    <a:pt x="237" y="54"/>
                    <a:pt x="235" y="57"/>
                  </a:cubicBezTo>
                  <a:cubicBezTo>
                    <a:pt x="234" y="58"/>
                    <a:pt x="231" y="59"/>
                    <a:pt x="230" y="58"/>
                  </a:cubicBezTo>
                  <a:cubicBezTo>
                    <a:pt x="227" y="57"/>
                    <a:pt x="224" y="55"/>
                    <a:pt x="222" y="53"/>
                  </a:cubicBezTo>
                  <a:cubicBezTo>
                    <a:pt x="220" y="51"/>
                    <a:pt x="220" y="49"/>
                    <a:pt x="219" y="46"/>
                  </a:cubicBezTo>
                  <a:cubicBezTo>
                    <a:pt x="218" y="44"/>
                    <a:pt x="218" y="41"/>
                    <a:pt x="217" y="39"/>
                  </a:cubicBezTo>
                  <a:cubicBezTo>
                    <a:pt x="216" y="36"/>
                    <a:pt x="215" y="33"/>
                    <a:pt x="212" y="31"/>
                  </a:cubicBezTo>
                  <a:cubicBezTo>
                    <a:pt x="211" y="31"/>
                    <a:pt x="210" y="33"/>
                    <a:pt x="209" y="34"/>
                  </a:cubicBezTo>
                  <a:cubicBezTo>
                    <a:pt x="211" y="37"/>
                    <a:pt x="210" y="39"/>
                    <a:pt x="205" y="39"/>
                  </a:cubicBezTo>
                  <a:cubicBezTo>
                    <a:pt x="204" y="46"/>
                    <a:pt x="197" y="49"/>
                    <a:pt x="194" y="49"/>
                  </a:cubicBezTo>
                  <a:cubicBezTo>
                    <a:pt x="196" y="47"/>
                    <a:pt x="197" y="45"/>
                    <a:pt x="195" y="45"/>
                  </a:cubicBezTo>
                  <a:cubicBezTo>
                    <a:pt x="193" y="45"/>
                    <a:pt x="183" y="50"/>
                    <a:pt x="180" y="51"/>
                  </a:cubicBezTo>
                  <a:cubicBezTo>
                    <a:pt x="176" y="53"/>
                    <a:pt x="174" y="58"/>
                    <a:pt x="170" y="60"/>
                  </a:cubicBezTo>
                  <a:cubicBezTo>
                    <a:pt x="169" y="60"/>
                    <a:pt x="170" y="56"/>
                    <a:pt x="169" y="56"/>
                  </a:cubicBezTo>
                  <a:cubicBezTo>
                    <a:pt x="166" y="56"/>
                    <a:pt x="163" y="58"/>
                    <a:pt x="160" y="59"/>
                  </a:cubicBezTo>
                  <a:cubicBezTo>
                    <a:pt x="158" y="60"/>
                    <a:pt x="155" y="61"/>
                    <a:pt x="152" y="63"/>
                  </a:cubicBezTo>
                  <a:cubicBezTo>
                    <a:pt x="151" y="64"/>
                    <a:pt x="151" y="67"/>
                    <a:pt x="149" y="68"/>
                  </a:cubicBezTo>
                  <a:cubicBezTo>
                    <a:pt x="147" y="69"/>
                    <a:pt x="143" y="70"/>
                    <a:pt x="143" y="68"/>
                  </a:cubicBezTo>
                  <a:cubicBezTo>
                    <a:pt x="144" y="65"/>
                    <a:pt x="147" y="63"/>
                    <a:pt x="150" y="60"/>
                  </a:cubicBezTo>
                  <a:cubicBezTo>
                    <a:pt x="152" y="58"/>
                    <a:pt x="155" y="56"/>
                    <a:pt x="158" y="55"/>
                  </a:cubicBezTo>
                  <a:cubicBezTo>
                    <a:pt x="163" y="53"/>
                    <a:pt x="168" y="53"/>
                    <a:pt x="172" y="52"/>
                  </a:cubicBezTo>
                  <a:cubicBezTo>
                    <a:pt x="179" y="49"/>
                    <a:pt x="187" y="47"/>
                    <a:pt x="192" y="42"/>
                  </a:cubicBezTo>
                  <a:cubicBezTo>
                    <a:pt x="194" y="41"/>
                    <a:pt x="191" y="39"/>
                    <a:pt x="189" y="39"/>
                  </a:cubicBezTo>
                  <a:cubicBezTo>
                    <a:pt x="187" y="41"/>
                    <a:pt x="184" y="40"/>
                    <a:pt x="181" y="41"/>
                  </a:cubicBezTo>
                  <a:cubicBezTo>
                    <a:pt x="178" y="42"/>
                    <a:pt x="176" y="45"/>
                    <a:pt x="173" y="46"/>
                  </a:cubicBezTo>
                  <a:cubicBezTo>
                    <a:pt x="168" y="47"/>
                    <a:pt x="163" y="48"/>
                    <a:pt x="158" y="50"/>
                  </a:cubicBezTo>
                  <a:cubicBezTo>
                    <a:pt x="155" y="51"/>
                    <a:pt x="153" y="52"/>
                    <a:pt x="150" y="54"/>
                  </a:cubicBezTo>
                  <a:cubicBezTo>
                    <a:pt x="149" y="54"/>
                    <a:pt x="148" y="55"/>
                    <a:pt x="146" y="56"/>
                  </a:cubicBezTo>
                  <a:cubicBezTo>
                    <a:pt x="145" y="57"/>
                    <a:pt x="142" y="57"/>
                    <a:pt x="141" y="57"/>
                  </a:cubicBezTo>
                  <a:cubicBezTo>
                    <a:pt x="137" y="60"/>
                    <a:pt x="133" y="62"/>
                    <a:pt x="130" y="65"/>
                  </a:cubicBezTo>
                  <a:cubicBezTo>
                    <a:pt x="129" y="66"/>
                    <a:pt x="128" y="68"/>
                    <a:pt x="127" y="68"/>
                  </a:cubicBezTo>
                  <a:cubicBezTo>
                    <a:pt x="125" y="69"/>
                    <a:pt x="122" y="68"/>
                    <a:pt x="119" y="68"/>
                  </a:cubicBezTo>
                  <a:cubicBezTo>
                    <a:pt x="116" y="68"/>
                    <a:pt x="112" y="68"/>
                    <a:pt x="109" y="68"/>
                  </a:cubicBezTo>
                  <a:cubicBezTo>
                    <a:pt x="106" y="68"/>
                    <a:pt x="102" y="68"/>
                    <a:pt x="99" y="67"/>
                  </a:cubicBezTo>
                  <a:cubicBezTo>
                    <a:pt x="95" y="66"/>
                    <a:pt x="92" y="64"/>
                    <a:pt x="89" y="62"/>
                  </a:cubicBezTo>
                  <a:cubicBezTo>
                    <a:pt x="87" y="60"/>
                    <a:pt x="85" y="57"/>
                    <a:pt x="82" y="55"/>
                  </a:cubicBezTo>
                  <a:cubicBezTo>
                    <a:pt x="83" y="54"/>
                    <a:pt x="85" y="53"/>
                    <a:pt x="83" y="52"/>
                  </a:cubicBezTo>
                  <a:cubicBezTo>
                    <a:pt x="83" y="51"/>
                    <a:pt x="79" y="54"/>
                    <a:pt x="79" y="53"/>
                  </a:cubicBezTo>
                  <a:cubicBezTo>
                    <a:pt x="77" y="52"/>
                    <a:pt x="75" y="52"/>
                    <a:pt x="74" y="51"/>
                  </a:cubicBezTo>
                  <a:cubicBezTo>
                    <a:pt x="70" y="51"/>
                    <a:pt x="65" y="52"/>
                    <a:pt x="62" y="53"/>
                  </a:cubicBezTo>
                  <a:lnTo>
                    <a:pt x="0" y="241"/>
                  </a:lnTo>
                  <a:lnTo>
                    <a:pt x="5" y="244"/>
                  </a:lnTo>
                  <a:cubicBezTo>
                    <a:pt x="7" y="245"/>
                    <a:pt x="7" y="247"/>
                    <a:pt x="9" y="246"/>
                  </a:cubicBezTo>
                  <a:cubicBezTo>
                    <a:pt x="11" y="245"/>
                    <a:pt x="12" y="238"/>
                    <a:pt x="15" y="239"/>
                  </a:cubicBezTo>
                  <a:lnTo>
                    <a:pt x="21" y="242"/>
                  </a:lnTo>
                  <a:cubicBezTo>
                    <a:pt x="24" y="243"/>
                    <a:pt x="22" y="248"/>
                    <a:pt x="23" y="251"/>
                  </a:cubicBezTo>
                  <a:cubicBezTo>
                    <a:pt x="25" y="256"/>
                    <a:pt x="28" y="260"/>
                    <a:pt x="30" y="264"/>
                  </a:cubicBezTo>
                  <a:cubicBezTo>
                    <a:pt x="31" y="266"/>
                    <a:pt x="31" y="268"/>
                    <a:pt x="33" y="268"/>
                  </a:cubicBezTo>
                  <a:cubicBezTo>
                    <a:pt x="36" y="269"/>
                    <a:pt x="36" y="266"/>
                    <a:pt x="38" y="265"/>
                  </a:cubicBezTo>
                  <a:cubicBezTo>
                    <a:pt x="40" y="264"/>
                    <a:pt x="44" y="267"/>
                    <a:pt x="45" y="265"/>
                  </a:cubicBezTo>
                  <a:cubicBezTo>
                    <a:pt x="45" y="262"/>
                    <a:pt x="47" y="260"/>
                    <a:pt x="50" y="259"/>
                  </a:cubicBezTo>
                  <a:cubicBezTo>
                    <a:pt x="51" y="259"/>
                    <a:pt x="50" y="257"/>
                    <a:pt x="50" y="256"/>
                  </a:cubicBezTo>
                  <a:cubicBezTo>
                    <a:pt x="53" y="254"/>
                    <a:pt x="57" y="252"/>
                    <a:pt x="60" y="253"/>
                  </a:cubicBezTo>
                  <a:cubicBezTo>
                    <a:pt x="62" y="253"/>
                    <a:pt x="63" y="256"/>
                    <a:pt x="64" y="259"/>
                  </a:cubicBezTo>
                  <a:cubicBezTo>
                    <a:pt x="65" y="261"/>
                    <a:pt x="62" y="263"/>
                    <a:pt x="63" y="265"/>
                  </a:cubicBezTo>
                  <a:cubicBezTo>
                    <a:pt x="64" y="267"/>
                    <a:pt x="67" y="266"/>
                    <a:pt x="69" y="268"/>
                  </a:cubicBezTo>
                  <a:cubicBezTo>
                    <a:pt x="70" y="270"/>
                    <a:pt x="70" y="274"/>
                    <a:pt x="72" y="276"/>
                  </a:cubicBezTo>
                  <a:cubicBezTo>
                    <a:pt x="74" y="280"/>
                    <a:pt x="79" y="282"/>
                    <a:pt x="81" y="286"/>
                  </a:cubicBezTo>
                  <a:cubicBezTo>
                    <a:pt x="82" y="289"/>
                    <a:pt x="79" y="294"/>
                    <a:pt x="81" y="298"/>
                  </a:cubicBezTo>
                  <a:cubicBezTo>
                    <a:pt x="83" y="302"/>
                    <a:pt x="84" y="307"/>
                    <a:pt x="87" y="311"/>
                  </a:cubicBezTo>
                  <a:cubicBezTo>
                    <a:pt x="89" y="315"/>
                    <a:pt x="94" y="314"/>
                    <a:pt x="97" y="317"/>
                  </a:cubicBezTo>
                  <a:cubicBezTo>
                    <a:pt x="98" y="317"/>
                    <a:pt x="97" y="319"/>
                    <a:pt x="98" y="320"/>
                  </a:cubicBezTo>
                  <a:cubicBezTo>
                    <a:pt x="99" y="322"/>
                    <a:pt x="101" y="322"/>
                    <a:pt x="103" y="322"/>
                  </a:cubicBezTo>
                  <a:cubicBezTo>
                    <a:pt x="102" y="324"/>
                    <a:pt x="101" y="326"/>
                    <a:pt x="101" y="328"/>
                  </a:cubicBezTo>
                  <a:cubicBezTo>
                    <a:pt x="101" y="330"/>
                    <a:pt x="100" y="333"/>
                    <a:pt x="101" y="335"/>
                  </a:cubicBezTo>
                  <a:cubicBezTo>
                    <a:pt x="102" y="336"/>
                    <a:pt x="104" y="330"/>
                    <a:pt x="104" y="332"/>
                  </a:cubicBezTo>
                  <a:cubicBezTo>
                    <a:pt x="104" y="334"/>
                    <a:pt x="99" y="337"/>
                    <a:pt x="101" y="339"/>
                  </a:cubicBezTo>
                  <a:cubicBezTo>
                    <a:pt x="103" y="341"/>
                    <a:pt x="111" y="336"/>
                    <a:pt x="109" y="338"/>
                  </a:cubicBezTo>
                  <a:cubicBezTo>
                    <a:pt x="107" y="341"/>
                    <a:pt x="102" y="340"/>
                    <a:pt x="99" y="342"/>
                  </a:cubicBezTo>
                  <a:cubicBezTo>
                    <a:pt x="97" y="343"/>
                    <a:pt x="96" y="345"/>
                    <a:pt x="96" y="347"/>
                  </a:cubicBezTo>
                  <a:cubicBezTo>
                    <a:pt x="96" y="349"/>
                    <a:pt x="96" y="351"/>
                    <a:pt x="98" y="351"/>
                  </a:cubicBezTo>
                  <a:cubicBezTo>
                    <a:pt x="101" y="352"/>
                    <a:pt x="105" y="348"/>
                    <a:pt x="109" y="350"/>
                  </a:cubicBezTo>
                  <a:cubicBezTo>
                    <a:pt x="111" y="351"/>
                    <a:pt x="106" y="354"/>
                    <a:pt x="103" y="354"/>
                  </a:cubicBezTo>
                  <a:cubicBezTo>
                    <a:pt x="100" y="355"/>
                    <a:pt x="97" y="354"/>
                    <a:pt x="94" y="354"/>
                  </a:cubicBezTo>
                  <a:cubicBezTo>
                    <a:pt x="93" y="355"/>
                    <a:pt x="93" y="356"/>
                    <a:pt x="93" y="357"/>
                  </a:cubicBezTo>
                  <a:cubicBezTo>
                    <a:pt x="93" y="359"/>
                    <a:pt x="93" y="361"/>
                    <a:pt x="94" y="362"/>
                  </a:cubicBezTo>
                  <a:cubicBezTo>
                    <a:pt x="95" y="364"/>
                    <a:pt x="96" y="365"/>
                    <a:pt x="98" y="366"/>
                  </a:cubicBezTo>
                  <a:cubicBezTo>
                    <a:pt x="100" y="366"/>
                    <a:pt x="103" y="366"/>
                    <a:pt x="104" y="365"/>
                  </a:cubicBezTo>
                  <a:cubicBezTo>
                    <a:pt x="107" y="364"/>
                    <a:pt x="108" y="359"/>
                    <a:pt x="110" y="360"/>
                  </a:cubicBezTo>
                  <a:cubicBezTo>
                    <a:pt x="112" y="361"/>
                    <a:pt x="108" y="364"/>
                    <a:pt x="107" y="366"/>
                  </a:cubicBezTo>
                  <a:cubicBezTo>
                    <a:pt x="106" y="368"/>
                    <a:pt x="105" y="369"/>
                    <a:pt x="104" y="371"/>
                  </a:cubicBezTo>
                  <a:cubicBezTo>
                    <a:pt x="103" y="373"/>
                    <a:pt x="101" y="374"/>
                    <a:pt x="101" y="376"/>
                  </a:cubicBezTo>
                  <a:cubicBezTo>
                    <a:pt x="101" y="378"/>
                    <a:pt x="103" y="380"/>
                    <a:pt x="104" y="380"/>
                  </a:cubicBezTo>
                  <a:cubicBezTo>
                    <a:pt x="106" y="380"/>
                    <a:pt x="105" y="377"/>
                    <a:pt x="107" y="376"/>
                  </a:cubicBezTo>
                  <a:cubicBezTo>
                    <a:pt x="109" y="376"/>
                    <a:pt x="112" y="377"/>
                    <a:pt x="112" y="378"/>
                  </a:cubicBezTo>
                  <a:cubicBezTo>
                    <a:pt x="114" y="381"/>
                    <a:pt x="112" y="385"/>
                    <a:pt x="112" y="388"/>
                  </a:cubicBezTo>
                  <a:cubicBezTo>
                    <a:pt x="113" y="390"/>
                    <a:pt x="115" y="390"/>
                    <a:pt x="115" y="392"/>
                  </a:cubicBezTo>
                  <a:cubicBezTo>
                    <a:pt x="114" y="394"/>
                    <a:pt x="111" y="394"/>
                    <a:pt x="111" y="396"/>
                  </a:cubicBezTo>
                  <a:cubicBezTo>
                    <a:pt x="110" y="398"/>
                    <a:pt x="113" y="398"/>
                    <a:pt x="114" y="400"/>
                  </a:cubicBezTo>
                  <a:cubicBezTo>
                    <a:pt x="114" y="401"/>
                    <a:pt x="111" y="401"/>
                    <a:pt x="111" y="401"/>
                  </a:cubicBezTo>
                  <a:cubicBezTo>
                    <a:pt x="112" y="403"/>
                    <a:pt x="115" y="402"/>
                    <a:pt x="115" y="403"/>
                  </a:cubicBezTo>
                  <a:cubicBezTo>
                    <a:pt x="116" y="405"/>
                    <a:pt x="114" y="408"/>
                    <a:pt x="115" y="409"/>
                  </a:cubicBezTo>
                  <a:cubicBezTo>
                    <a:pt x="117" y="411"/>
                    <a:pt x="120" y="411"/>
                    <a:pt x="122" y="412"/>
                  </a:cubicBezTo>
                  <a:cubicBezTo>
                    <a:pt x="124" y="413"/>
                    <a:pt x="125" y="415"/>
                    <a:pt x="127" y="417"/>
                  </a:cubicBezTo>
                  <a:cubicBezTo>
                    <a:pt x="129" y="418"/>
                    <a:pt x="131" y="420"/>
                    <a:pt x="133" y="421"/>
                  </a:cubicBezTo>
                  <a:cubicBezTo>
                    <a:pt x="134" y="422"/>
                    <a:pt x="136" y="420"/>
                    <a:pt x="137" y="420"/>
                  </a:cubicBezTo>
                  <a:cubicBezTo>
                    <a:pt x="139" y="420"/>
                    <a:pt x="141" y="419"/>
                    <a:pt x="142" y="421"/>
                  </a:cubicBezTo>
                  <a:cubicBezTo>
                    <a:pt x="143" y="422"/>
                    <a:pt x="140" y="424"/>
                    <a:pt x="140" y="425"/>
                  </a:cubicBezTo>
                  <a:cubicBezTo>
                    <a:pt x="139" y="428"/>
                    <a:pt x="139" y="431"/>
                    <a:pt x="139" y="434"/>
                  </a:cubicBezTo>
                  <a:cubicBezTo>
                    <a:pt x="139" y="435"/>
                    <a:pt x="139" y="437"/>
                    <a:pt x="141" y="437"/>
                  </a:cubicBezTo>
                  <a:cubicBezTo>
                    <a:pt x="142" y="438"/>
                    <a:pt x="141" y="435"/>
                    <a:pt x="141" y="435"/>
                  </a:cubicBezTo>
                  <a:cubicBezTo>
                    <a:pt x="144" y="434"/>
                    <a:pt x="147" y="432"/>
                    <a:pt x="149" y="433"/>
                  </a:cubicBezTo>
                  <a:cubicBezTo>
                    <a:pt x="151" y="435"/>
                    <a:pt x="147" y="439"/>
                    <a:pt x="149" y="441"/>
                  </a:cubicBezTo>
                  <a:cubicBezTo>
                    <a:pt x="151" y="442"/>
                    <a:pt x="153" y="438"/>
                    <a:pt x="155" y="438"/>
                  </a:cubicBezTo>
                  <a:cubicBezTo>
                    <a:pt x="156" y="438"/>
                    <a:pt x="155" y="441"/>
                    <a:pt x="155" y="442"/>
                  </a:cubicBezTo>
                  <a:cubicBezTo>
                    <a:pt x="156" y="444"/>
                    <a:pt x="157" y="446"/>
                    <a:pt x="158" y="448"/>
                  </a:cubicBezTo>
                  <a:cubicBezTo>
                    <a:pt x="167" y="448"/>
                    <a:pt x="176" y="449"/>
                    <a:pt x="184" y="449"/>
                  </a:cubicBezTo>
                  <a:cubicBezTo>
                    <a:pt x="226" y="449"/>
                    <a:pt x="268" y="449"/>
                    <a:pt x="310" y="449"/>
                  </a:cubicBezTo>
                  <a:cubicBezTo>
                    <a:pt x="345" y="449"/>
                    <a:pt x="380" y="450"/>
                    <a:pt x="415" y="450"/>
                  </a:cubicBezTo>
                  <a:cubicBezTo>
                    <a:pt x="432" y="450"/>
                    <a:pt x="450" y="450"/>
                    <a:pt x="467" y="449"/>
                  </a:cubicBezTo>
                  <a:cubicBezTo>
                    <a:pt x="474" y="449"/>
                    <a:pt x="481" y="448"/>
                    <a:pt x="488" y="448"/>
                  </a:cubicBezTo>
                  <a:cubicBezTo>
                    <a:pt x="490" y="448"/>
                    <a:pt x="492" y="449"/>
                    <a:pt x="495" y="450"/>
                  </a:cubicBezTo>
                  <a:cubicBezTo>
                    <a:pt x="498" y="451"/>
                    <a:pt x="500" y="453"/>
                    <a:pt x="503" y="454"/>
                  </a:cubicBezTo>
                  <a:cubicBezTo>
                    <a:pt x="506" y="455"/>
                    <a:pt x="510" y="454"/>
                    <a:pt x="513" y="455"/>
                  </a:cubicBezTo>
                  <a:cubicBezTo>
                    <a:pt x="515" y="456"/>
                    <a:pt x="517" y="458"/>
                    <a:pt x="519" y="459"/>
                  </a:cubicBezTo>
                  <a:cubicBezTo>
                    <a:pt x="523" y="461"/>
                    <a:pt x="526" y="463"/>
                    <a:pt x="530" y="463"/>
                  </a:cubicBezTo>
                  <a:cubicBezTo>
                    <a:pt x="532" y="464"/>
                    <a:pt x="535" y="463"/>
                    <a:pt x="538" y="463"/>
                  </a:cubicBezTo>
                  <a:cubicBezTo>
                    <a:pt x="542" y="464"/>
                    <a:pt x="546" y="466"/>
                    <a:pt x="549" y="466"/>
                  </a:cubicBezTo>
                  <a:cubicBezTo>
                    <a:pt x="551" y="465"/>
                    <a:pt x="552" y="464"/>
                    <a:pt x="554" y="463"/>
                  </a:cubicBezTo>
                  <a:cubicBezTo>
                    <a:pt x="555" y="462"/>
                    <a:pt x="556" y="460"/>
                    <a:pt x="557" y="459"/>
                  </a:cubicBezTo>
                  <a:cubicBezTo>
                    <a:pt x="559" y="458"/>
                    <a:pt x="560" y="456"/>
                    <a:pt x="562" y="456"/>
                  </a:cubicBezTo>
                  <a:cubicBezTo>
                    <a:pt x="562" y="456"/>
                    <a:pt x="561" y="459"/>
                    <a:pt x="562" y="458"/>
                  </a:cubicBezTo>
                  <a:cubicBezTo>
                    <a:pt x="564" y="457"/>
                    <a:pt x="564" y="454"/>
                    <a:pt x="565" y="452"/>
                  </a:cubicBezTo>
                  <a:cubicBezTo>
                    <a:pt x="566" y="452"/>
                    <a:pt x="567" y="452"/>
                    <a:pt x="567" y="453"/>
                  </a:cubicBezTo>
                  <a:cubicBezTo>
                    <a:pt x="567" y="454"/>
                    <a:pt x="564" y="457"/>
                    <a:pt x="566" y="457"/>
                  </a:cubicBezTo>
                  <a:cubicBezTo>
                    <a:pt x="567" y="458"/>
                    <a:pt x="569" y="455"/>
                    <a:pt x="570" y="454"/>
                  </a:cubicBezTo>
                  <a:cubicBezTo>
                    <a:pt x="571" y="452"/>
                    <a:pt x="570" y="450"/>
                    <a:pt x="572" y="449"/>
                  </a:cubicBezTo>
                  <a:cubicBezTo>
                    <a:pt x="573" y="449"/>
                    <a:pt x="575" y="451"/>
                    <a:pt x="577" y="451"/>
                  </a:cubicBezTo>
                  <a:cubicBezTo>
                    <a:pt x="580" y="452"/>
                    <a:pt x="583" y="452"/>
                    <a:pt x="586" y="452"/>
                  </a:cubicBezTo>
                  <a:cubicBezTo>
                    <a:pt x="588" y="452"/>
                    <a:pt x="591" y="452"/>
                    <a:pt x="593" y="453"/>
                  </a:cubicBezTo>
                  <a:cubicBezTo>
                    <a:pt x="594" y="455"/>
                    <a:pt x="593" y="458"/>
                    <a:pt x="594" y="460"/>
                  </a:cubicBezTo>
                  <a:cubicBezTo>
                    <a:pt x="595" y="462"/>
                    <a:pt x="595" y="465"/>
                    <a:pt x="597" y="466"/>
                  </a:cubicBezTo>
                  <a:cubicBezTo>
                    <a:pt x="598" y="468"/>
                    <a:pt x="599" y="468"/>
                    <a:pt x="601" y="469"/>
                  </a:cubicBezTo>
                  <a:cubicBezTo>
                    <a:pt x="603" y="469"/>
                    <a:pt x="605" y="467"/>
                    <a:pt x="607" y="467"/>
                  </a:cubicBezTo>
                  <a:cubicBezTo>
                    <a:pt x="608" y="468"/>
                    <a:pt x="606" y="470"/>
                    <a:pt x="606" y="471"/>
                  </a:cubicBezTo>
                  <a:cubicBezTo>
                    <a:pt x="606" y="472"/>
                    <a:pt x="604" y="472"/>
                    <a:pt x="604" y="473"/>
                  </a:cubicBezTo>
                  <a:cubicBezTo>
                    <a:pt x="605" y="476"/>
                    <a:pt x="607" y="477"/>
                    <a:pt x="608" y="479"/>
                  </a:cubicBezTo>
                  <a:cubicBezTo>
                    <a:pt x="608" y="481"/>
                    <a:pt x="606" y="482"/>
                    <a:pt x="607" y="484"/>
                  </a:cubicBezTo>
                  <a:cubicBezTo>
                    <a:pt x="608" y="486"/>
                    <a:pt x="611" y="486"/>
                    <a:pt x="612" y="487"/>
                  </a:cubicBezTo>
                  <a:cubicBezTo>
                    <a:pt x="612" y="489"/>
                    <a:pt x="609" y="489"/>
                    <a:pt x="609" y="490"/>
                  </a:cubicBezTo>
                  <a:cubicBezTo>
                    <a:pt x="609" y="491"/>
                    <a:pt x="610" y="493"/>
                    <a:pt x="611" y="493"/>
                  </a:cubicBezTo>
                  <a:cubicBezTo>
                    <a:pt x="612" y="494"/>
                    <a:pt x="614" y="494"/>
                    <a:pt x="616" y="494"/>
                  </a:cubicBezTo>
                  <a:cubicBezTo>
                    <a:pt x="618" y="495"/>
                    <a:pt x="621" y="494"/>
                    <a:pt x="624" y="495"/>
                  </a:cubicBezTo>
                  <a:cubicBezTo>
                    <a:pt x="628" y="496"/>
                    <a:pt x="632" y="497"/>
                    <a:pt x="636" y="498"/>
                  </a:cubicBezTo>
                  <a:cubicBezTo>
                    <a:pt x="638" y="498"/>
                    <a:pt x="640" y="499"/>
                    <a:pt x="642" y="499"/>
                  </a:cubicBezTo>
                  <a:cubicBezTo>
                    <a:pt x="645" y="500"/>
                    <a:pt x="648" y="500"/>
                    <a:pt x="651" y="502"/>
                  </a:cubicBezTo>
                  <a:cubicBezTo>
                    <a:pt x="653" y="504"/>
                    <a:pt x="656" y="506"/>
                    <a:pt x="658" y="509"/>
                  </a:cubicBezTo>
                  <a:cubicBezTo>
                    <a:pt x="659" y="510"/>
                    <a:pt x="659" y="513"/>
                    <a:pt x="660" y="515"/>
                  </a:cubicBezTo>
                  <a:cubicBezTo>
                    <a:pt x="660" y="517"/>
                    <a:pt x="662" y="519"/>
                    <a:pt x="660" y="521"/>
                  </a:cubicBezTo>
                  <a:cubicBezTo>
                    <a:pt x="659" y="522"/>
                    <a:pt x="658" y="517"/>
                    <a:pt x="657" y="518"/>
                  </a:cubicBezTo>
                  <a:cubicBezTo>
                    <a:pt x="656" y="520"/>
                    <a:pt x="659" y="522"/>
                    <a:pt x="658" y="524"/>
                  </a:cubicBezTo>
                  <a:cubicBezTo>
                    <a:pt x="657" y="525"/>
                    <a:pt x="654" y="524"/>
                    <a:pt x="653" y="523"/>
                  </a:cubicBezTo>
                  <a:cubicBezTo>
                    <a:pt x="652" y="523"/>
                    <a:pt x="652" y="521"/>
                    <a:pt x="651" y="521"/>
                  </a:cubicBezTo>
                  <a:cubicBezTo>
                    <a:pt x="650" y="521"/>
                    <a:pt x="649" y="523"/>
                    <a:pt x="648" y="522"/>
                  </a:cubicBezTo>
                  <a:cubicBezTo>
                    <a:pt x="647" y="520"/>
                    <a:pt x="648" y="517"/>
                    <a:pt x="647" y="515"/>
                  </a:cubicBezTo>
                  <a:cubicBezTo>
                    <a:pt x="646" y="514"/>
                    <a:pt x="646" y="518"/>
                    <a:pt x="646" y="517"/>
                  </a:cubicBezTo>
                  <a:cubicBezTo>
                    <a:pt x="644" y="516"/>
                    <a:pt x="644" y="513"/>
                    <a:pt x="642" y="512"/>
                  </a:cubicBezTo>
                  <a:cubicBezTo>
                    <a:pt x="641" y="512"/>
                    <a:pt x="639" y="511"/>
                    <a:pt x="639" y="512"/>
                  </a:cubicBezTo>
                  <a:cubicBezTo>
                    <a:pt x="639" y="515"/>
                    <a:pt x="642" y="518"/>
                    <a:pt x="642" y="521"/>
                  </a:cubicBezTo>
                  <a:cubicBezTo>
                    <a:pt x="642" y="524"/>
                    <a:pt x="639" y="526"/>
                    <a:pt x="638" y="529"/>
                  </a:cubicBezTo>
                  <a:cubicBezTo>
                    <a:pt x="637" y="531"/>
                    <a:pt x="636" y="532"/>
                    <a:pt x="636" y="534"/>
                  </a:cubicBezTo>
                  <a:cubicBezTo>
                    <a:pt x="636" y="536"/>
                    <a:pt x="637" y="538"/>
                    <a:pt x="637" y="540"/>
                  </a:cubicBezTo>
                  <a:cubicBezTo>
                    <a:pt x="637" y="542"/>
                    <a:pt x="636" y="543"/>
                    <a:pt x="634" y="545"/>
                  </a:cubicBezTo>
                  <a:cubicBezTo>
                    <a:pt x="632" y="547"/>
                    <a:pt x="629" y="548"/>
                    <a:pt x="627" y="550"/>
                  </a:cubicBezTo>
                  <a:cubicBezTo>
                    <a:pt x="626" y="552"/>
                    <a:pt x="626" y="554"/>
                    <a:pt x="625" y="555"/>
                  </a:cubicBezTo>
                  <a:cubicBezTo>
                    <a:pt x="625" y="556"/>
                    <a:pt x="627" y="557"/>
                    <a:pt x="627" y="558"/>
                  </a:cubicBezTo>
                  <a:cubicBezTo>
                    <a:pt x="627" y="559"/>
                    <a:pt x="626" y="560"/>
                    <a:pt x="625" y="560"/>
                  </a:cubicBezTo>
                  <a:cubicBezTo>
                    <a:pt x="622" y="561"/>
                    <a:pt x="620" y="559"/>
                    <a:pt x="617" y="559"/>
                  </a:cubicBezTo>
                  <a:cubicBezTo>
                    <a:pt x="617" y="560"/>
                    <a:pt x="616" y="562"/>
                    <a:pt x="615" y="563"/>
                  </a:cubicBezTo>
                  <a:cubicBezTo>
                    <a:pt x="618" y="564"/>
                    <a:pt x="620" y="565"/>
                    <a:pt x="623" y="564"/>
                  </a:cubicBezTo>
                  <a:cubicBezTo>
                    <a:pt x="626" y="564"/>
                    <a:pt x="630" y="562"/>
                    <a:pt x="633" y="560"/>
                  </a:cubicBezTo>
                  <a:cubicBezTo>
                    <a:pt x="635" y="559"/>
                    <a:pt x="636" y="556"/>
                    <a:pt x="638" y="555"/>
                  </a:cubicBezTo>
                  <a:cubicBezTo>
                    <a:pt x="640" y="554"/>
                    <a:pt x="643" y="554"/>
                    <a:pt x="645" y="554"/>
                  </a:cubicBezTo>
                  <a:cubicBezTo>
                    <a:pt x="648" y="554"/>
                    <a:pt x="650" y="556"/>
                    <a:pt x="652" y="555"/>
                  </a:cubicBezTo>
                  <a:cubicBezTo>
                    <a:pt x="652" y="555"/>
                    <a:pt x="650" y="553"/>
                    <a:pt x="651" y="553"/>
                  </a:cubicBezTo>
                  <a:cubicBezTo>
                    <a:pt x="652" y="552"/>
                    <a:pt x="655" y="552"/>
                    <a:pt x="657" y="552"/>
                  </a:cubicBezTo>
                  <a:cubicBezTo>
                    <a:pt x="659" y="552"/>
                    <a:pt x="661" y="552"/>
                    <a:pt x="663" y="552"/>
                  </a:cubicBezTo>
                  <a:cubicBezTo>
                    <a:pt x="665" y="552"/>
                    <a:pt x="667" y="552"/>
                    <a:pt x="669" y="552"/>
                  </a:cubicBezTo>
                  <a:cubicBezTo>
                    <a:pt x="668" y="551"/>
                    <a:pt x="668" y="550"/>
                    <a:pt x="668" y="549"/>
                  </a:cubicBezTo>
                  <a:cubicBezTo>
                    <a:pt x="668" y="547"/>
                    <a:pt x="668" y="546"/>
                    <a:pt x="668" y="545"/>
                  </a:cubicBezTo>
                  <a:cubicBezTo>
                    <a:pt x="667" y="545"/>
                    <a:pt x="666" y="545"/>
                    <a:pt x="664" y="545"/>
                  </a:cubicBezTo>
                  <a:cubicBezTo>
                    <a:pt x="663" y="545"/>
                    <a:pt x="660" y="547"/>
                    <a:pt x="660" y="545"/>
                  </a:cubicBezTo>
                  <a:cubicBezTo>
                    <a:pt x="659" y="544"/>
                    <a:pt x="661" y="542"/>
                    <a:pt x="662" y="541"/>
                  </a:cubicBezTo>
                  <a:cubicBezTo>
                    <a:pt x="663" y="539"/>
                    <a:pt x="664" y="537"/>
                    <a:pt x="666" y="536"/>
                  </a:cubicBezTo>
                  <a:cubicBezTo>
                    <a:pt x="668" y="535"/>
                    <a:pt x="671" y="535"/>
                    <a:pt x="673" y="535"/>
                  </a:cubicBezTo>
                  <a:cubicBezTo>
                    <a:pt x="676" y="535"/>
                    <a:pt x="679" y="534"/>
                    <a:pt x="681" y="533"/>
                  </a:cubicBezTo>
                  <a:cubicBezTo>
                    <a:pt x="684" y="532"/>
                    <a:pt x="686" y="531"/>
                    <a:pt x="689" y="531"/>
                  </a:cubicBezTo>
                  <a:cubicBezTo>
                    <a:pt x="690" y="530"/>
                    <a:pt x="691" y="530"/>
                    <a:pt x="693" y="530"/>
                  </a:cubicBezTo>
                  <a:cubicBezTo>
                    <a:pt x="696" y="529"/>
                    <a:pt x="699" y="530"/>
                    <a:pt x="702" y="529"/>
                  </a:cubicBezTo>
                  <a:cubicBezTo>
                    <a:pt x="703" y="529"/>
                    <a:pt x="706" y="529"/>
                    <a:pt x="707" y="528"/>
                  </a:cubicBezTo>
                  <a:cubicBezTo>
                    <a:pt x="709" y="527"/>
                    <a:pt x="710" y="523"/>
                    <a:pt x="711" y="5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2" name="Freeform 773"/>
            <p:cNvSpPr>
              <a:spLocks noChangeAspect="1"/>
            </p:cNvSpPr>
            <p:nvPr/>
          </p:nvSpPr>
          <p:spPr bwMode="auto">
            <a:xfrm>
              <a:off x="2798763" y="2740025"/>
              <a:ext cx="339725" cy="196850"/>
            </a:xfrm>
            <a:custGeom>
              <a:avLst/>
              <a:gdLst>
                <a:gd name="T0" fmla="*/ 206125 w 178"/>
                <a:gd name="T1" fmla="*/ 143337 h 103"/>
                <a:gd name="T2" fmla="*/ 217577 w 178"/>
                <a:gd name="T3" fmla="*/ 133782 h 103"/>
                <a:gd name="T4" fmla="*/ 227120 w 178"/>
                <a:gd name="T5" fmla="*/ 131870 h 103"/>
                <a:gd name="T6" fmla="*/ 232845 w 178"/>
                <a:gd name="T7" fmla="*/ 139515 h 103"/>
                <a:gd name="T8" fmla="*/ 261474 w 178"/>
                <a:gd name="T9" fmla="*/ 122315 h 103"/>
                <a:gd name="T10" fmla="*/ 253839 w 178"/>
                <a:gd name="T11" fmla="*/ 133782 h 103"/>
                <a:gd name="T12" fmla="*/ 284377 w 178"/>
                <a:gd name="T13" fmla="*/ 137604 h 103"/>
                <a:gd name="T14" fmla="*/ 261474 w 178"/>
                <a:gd name="T15" fmla="*/ 147160 h 103"/>
                <a:gd name="T16" fmla="*/ 238571 w 178"/>
                <a:gd name="T17" fmla="*/ 145249 h 103"/>
                <a:gd name="T18" fmla="*/ 215668 w 178"/>
                <a:gd name="T19" fmla="*/ 173916 h 103"/>
                <a:gd name="T20" fmla="*/ 225211 w 178"/>
                <a:gd name="T21" fmla="*/ 194939 h 103"/>
                <a:gd name="T22" fmla="*/ 250022 w 178"/>
                <a:gd name="T23" fmla="*/ 173916 h 103"/>
                <a:gd name="T24" fmla="*/ 269108 w 178"/>
                <a:gd name="T25" fmla="*/ 162449 h 103"/>
                <a:gd name="T26" fmla="*/ 316822 w 178"/>
                <a:gd name="T27" fmla="*/ 145249 h 103"/>
                <a:gd name="T28" fmla="*/ 330182 w 178"/>
                <a:gd name="T29" fmla="*/ 128048 h 103"/>
                <a:gd name="T30" fmla="*/ 318731 w 178"/>
                <a:gd name="T31" fmla="*/ 118492 h 103"/>
                <a:gd name="T32" fmla="*/ 299645 w 178"/>
                <a:gd name="T33" fmla="*/ 120403 h 103"/>
                <a:gd name="T34" fmla="*/ 271017 w 178"/>
                <a:gd name="T35" fmla="*/ 112759 h 103"/>
                <a:gd name="T36" fmla="*/ 271017 w 178"/>
                <a:gd name="T37" fmla="*/ 107025 h 103"/>
                <a:gd name="T38" fmla="*/ 251931 w 178"/>
                <a:gd name="T39" fmla="*/ 93647 h 103"/>
                <a:gd name="T40" fmla="*/ 250022 w 178"/>
                <a:gd name="T41" fmla="*/ 78358 h 103"/>
                <a:gd name="T42" fmla="*/ 253839 w 178"/>
                <a:gd name="T43" fmla="*/ 68802 h 103"/>
                <a:gd name="T44" fmla="*/ 253839 w 178"/>
                <a:gd name="T45" fmla="*/ 53513 h 103"/>
                <a:gd name="T46" fmla="*/ 234754 w 178"/>
                <a:gd name="T47" fmla="*/ 55424 h 103"/>
                <a:gd name="T48" fmla="*/ 211851 w 178"/>
                <a:gd name="T49" fmla="*/ 43957 h 103"/>
                <a:gd name="T50" fmla="*/ 250022 w 178"/>
                <a:gd name="T51" fmla="*/ 42046 h 103"/>
                <a:gd name="T52" fmla="*/ 272925 w 178"/>
                <a:gd name="T53" fmla="*/ 19112 h 103"/>
                <a:gd name="T54" fmla="*/ 253839 w 178"/>
                <a:gd name="T55" fmla="*/ 1911 h 103"/>
                <a:gd name="T56" fmla="*/ 211851 w 178"/>
                <a:gd name="T57" fmla="*/ 15289 h 103"/>
                <a:gd name="T58" fmla="*/ 177497 w 178"/>
                <a:gd name="T59" fmla="*/ 30579 h 103"/>
                <a:gd name="T60" fmla="*/ 143143 w 178"/>
                <a:gd name="T61" fmla="*/ 61157 h 103"/>
                <a:gd name="T62" fmla="*/ 118331 w 178"/>
                <a:gd name="T63" fmla="*/ 84091 h 103"/>
                <a:gd name="T64" fmla="*/ 89703 w 178"/>
                <a:gd name="T65" fmla="*/ 95558 h 103"/>
                <a:gd name="T66" fmla="*/ 62983 w 178"/>
                <a:gd name="T67" fmla="*/ 112759 h 103"/>
                <a:gd name="T68" fmla="*/ 36263 w 178"/>
                <a:gd name="T69" fmla="*/ 137604 h 103"/>
                <a:gd name="T70" fmla="*/ 11451 w 178"/>
                <a:gd name="T71" fmla="*/ 147160 h 103"/>
                <a:gd name="T72" fmla="*/ 11451 w 178"/>
                <a:gd name="T73" fmla="*/ 147160 h 103"/>
                <a:gd name="T74" fmla="*/ 95428 w 178"/>
                <a:gd name="T75" fmla="*/ 147160 h 103"/>
                <a:gd name="T76" fmla="*/ 103063 w 178"/>
                <a:gd name="T77" fmla="*/ 135693 h 103"/>
                <a:gd name="T78" fmla="*/ 118331 w 178"/>
                <a:gd name="T79" fmla="*/ 126137 h 103"/>
                <a:gd name="T80" fmla="*/ 127874 w 178"/>
                <a:gd name="T81" fmla="*/ 108936 h 103"/>
                <a:gd name="T82" fmla="*/ 137417 w 178"/>
                <a:gd name="T83" fmla="*/ 91736 h 103"/>
                <a:gd name="T84" fmla="*/ 160320 w 178"/>
                <a:gd name="T85" fmla="*/ 64980 h 103"/>
                <a:gd name="T86" fmla="*/ 175588 w 178"/>
                <a:gd name="T87" fmla="*/ 68802 h 103"/>
                <a:gd name="T88" fmla="*/ 190857 w 178"/>
                <a:gd name="T89" fmla="*/ 74535 h 103"/>
                <a:gd name="T90" fmla="*/ 190857 w 178"/>
                <a:gd name="T91" fmla="*/ 116581 h 10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78"/>
                <a:gd name="T139" fmla="*/ 0 h 103"/>
                <a:gd name="T140" fmla="*/ 178 w 178"/>
                <a:gd name="T141" fmla="*/ 103 h 10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78" h="103">
                  <a:moveTo>
                    <a:pt x="100" y="75"/>
                  </a:moveTo>
                  <a:cubicBezTo>
                    <a:pt x="103" y="75"/>
                    <a:pt x="106" y="75"/>
                    <a:pt x="108" y="75"/>
                  </a:cubicBezTo>
                  <a:cubicBezTo>
                    <a:pt x="110" y="75"/>
                    <a:pt x="113" y="76"/>
                    <a:pt x="114" y="75"/>
                  </a:cubicBezTo>
                  <a:cubicBezTo>
                    <a:pt x="115" y="74"/>
                    <a:pt x="113" y="71"/>
                    <a:pt x="114" y="70"/>
                  </a:cubicBezTo>
                  <a:cubicBezTo>
                    <a:pt x="114" y="68"/>
                    <a:pt x="115" y="64"/>
                    <a:pt x="118" y="64"/>
                  </a:cubicBezTo>
                  <a:cubicBezTo>
                    <a:pt x="119" y="64"/>
                    <a:pt x="118" y="67"/>
                    <a:pt x="119" y="69"/>
                  </a:cubicBezTo>
                  <a:cubicBezTo>
                    <a:pt x="119" y="70"/>
                    <a:pt x="118" y="72"/>
                    <a:pt x="119" y="73"/>
                  </a:cubicBezTo>
                  <a:cubicBezTo>
                    <a:pt x="119" y="74"/>
                    <a:pt x="121" y="74"/>
                    <a:pt x="122" y="73"/>
                  </a:cubicBezTo>
                  <a:cubicBezTo>
                    <a:pt x="126" y="72"/>
                    <a:pt x="128" y="69"/>
                    <a:pt x="131" y="67"/>
                  </a:cubicBezTo>
                  <a:cubicBezTo>
                    <a:pt x="133" y="66"/>
                    <a:pt x="135" y="63"/>
                    <a:pt x="137" y="64"/>
                  </a:cubicBezTo>
                  <a:cubicBezTo>
                    <a:pt x="139" y="65"/>
                    <a:pt x="135" y="66"/>
                    <a:pt x="134" y="68"/>
                  </a:cubicBezTo>
                  <a:cubicBezTo>
                    <a:pt x="133" y="69"/>
                    <a:pt x="132" y="70"/>
                    <a:pt x="133" y="70"/>
                  </a:cubicBezTo>
                  <a:cubicBezTo>
                    <a:pt x="135" y="71"/>
                    <a:pt x="137" y="70"/>
                    <a:pt x="139" y="70"/>
                  </a:cubicBezTo>
                  <a:cubicBezTo>
                    <a:pt x="143" y="71"/>
                    <a:pt x="149" y="69"/>
                    <a:pt x="149" y="72"/>
                  </a:cubicBezTo>
                  <a:cubicBezTo>
                    <a:pt x="149" y="75"/>
                    <a:pt x="142" y="72"/>
                    <a:pt x="139" y="74"/>
                  </a:cubicBezTo>
                  <a:cubicBezTo>
                    <a:pt x="138" y="74"/>
                    <a:pt x="138" y="76"/>
                    <a:pt x="137" y="77"/>
                  </a:cubicBezTo>
                  <a:cubicBezTo>
                    <a:pt x="136" y="77"/>
                    <a:pt x="136" y="74"/>
                    <a:pt x="135" y="74"/>
                  </a:cubicBezTo>
                  <a:cubicBezTo>
                    <a:pt x="132" y="74"/>
                    <a:pt x="128" y="75"/>
                    <a:pt x="125" y="76"/>
                  </a:cubicBezTo>
                  <a:cubicBezTo>
                    <a:pt x="122" y="78"/>
                    <a:pt x="118" y="80"/>
                    <a:pt x="116" y="83"/>
                  </a:cubicBezTo>
                  <a:cubicBezTo>
                    <a:pt x="114" y="85"/>
                    <a:pt x="113" y="88"/>
                    <a:pt x="113" y="91"/>
                  </a:cubicBezTo>
                  <a:cubicBezTo>
                    <a:pt x="112" y="93"/>
                    <a:pt x="113" y="95"/>
                    <a:pt x="114" y="96"/>
                  </a:cubicBezTo>
                  <a:cubicBezTo>
                    <a:pt x="115" y="98"/>
                    <a:pt x="116" y="102"/>
                    <a:pt x="118" y="102"/>
                  </a:cubicBezTo>
                  <a:cubicBezTo>
                    <a:pt x="120" y="103"/>
                    <a:pt x="123" y="100"/>
                    <a:pt x="125" y="98"/>
                  </a:cubicBezTo>
                  <a:cubicBezTo>
                    <a:pt x="127" y="96"/>
                    <a:pt x="129" y="94"/>
                    <a:pt x="131" y="91"/>
                  </a:cubicBezTo>
                  <a:cubicBezTo>
                    <a:pt x="133" y="89"/>
                    <a:pt x="133" y="85"/>
                    <a:pt x="136" y="83"/>
                  </a:cubicBezTo>
                  <a:cubicBezTo>
                    <a:pt x="137" y="82"/>
                    <a:pt x="139" y="85"/>
                    <a:pt x="141" y="85"/>
                  </a:cubicBezTo>
                  <a:cubicBezTo>
                    <a:pt x="144" y="85"/>
                    <a:pt x="146" y="85"/>
                    <a:pt x="148" y="84"/>
                  </a:cubicBezTo>
                  <a:cubicBezTo>
                    <a:pt x="154" y="82"/>
                    <a:pt x="160" y="78"/>
                    <a:pt x="166" y="76"/>
                  </a:cubicBezTo>
                  <a:cubicBezTo>
                    <a:pt x="170" y="75"/>
                    <a:pt x="174" y="76"/>
                    <a:pt x="176" y="73"/>
                  </a:cubicBezTo>
                  <a:cubicBezTo>
                    <a:pt x="178" y="71"/>
                    <a:pt x="175" y="68"/>
                    <a:pt x="173" y="67"/>
                  </a:cubicBezTo>
                  <a:cubicBezTo>
                    <a:pt x="171" y="66"/>
                    <a:pt x="168" y="67"/>
                    <a:pt x="167" y="66"/>
                  </a:cubicBezTo>
                  <a:cubicBezTo>
                    <a:pt x="166" y="65"/>
                    <a:pt x="168" y="62"/>
                    <a:pt x="167" y="62"/>
                  </a:cubicBezTo>
                  <a:cubicBezTo>
                    <a:pt x="163" y="62"/>
                    <a:pt x="161" y="66"/>
                    <a:pt x="157" y="67"/>
                  </a:cubicBezTo>
                  <a:cubicBezTo>
                    <a:pt x="156" y="67"/>
                    <a:pt x="158" y="64"/>
                    <a:pt x="157" y="63"/>
                  </a:cubicBezTo>
                  <a:cubicBezTo>
                    <a:pt x="154" y="62"/>
                    <a:pt x="150" y="63"/>
                    <a:pt x="146" y="62"/>
                  </a:cubicBezTo>
                  <a:cubicBezTo>
                    <a:pt x="144" y="61"/>
                    <a:pt x="143" y="60"/>
                    <a:pt x="142" y="59"/>
                  </a:cubicBezTo>
                  <a:cubicBezTo>
                    <a:pt x="141" y="58"/>
                    <a:pt x="144" y="58"/>
                    <a:pt x="144" y="57"/>
                  </a:cubicBezTo>
                  <a:cubicBezTo>
                    <a:pt x="144" y="56"/>
                    <a:pt x="143" y="56"/>
                    <a:pt x="142" y="56"/>
                  </a:cubicBezTo>
                  <a:cubicBezTo>
                    <a:pt x="140" y="55"/>
                    <a:pt x="138" y="56"/>
                    <a:pt x="136" y="55"/>
                  </a:cubicBezTo>
                  <a:cubicBezTo>
                    <a:pt x="134" y="53"/>
                    <a:pt x="133" y="51"/>
                    <a:pt x="132" y="49"/>
                  </a:cubicBezTo>
                  <a:cubicBezTo>
                    <a:pt x="132" y="46"/>
                    <a:pt x="135" y="44"/>
                    <a:pt x="134" y="41"/>
                  </a:cubicBezTo>
                  <a:cubicBezTo>
                    <a:pt x="134" y="40"/>
                    <a:pt x="132" y="41"/>
                    <a:pt x="131" y="41"/>
                  </a:cubicBezTo>
                  <a:cubicBezTo>
                    <a:pt x="129" y="41"/>
                    <a:pt x="126" y="42"/>
                    <a:pt x="127" y="41"/>
                  </a:cubicBezTo>
                  <a:cubicBezTo>
                    <a:pt x="128" y="38"/>
                    <a:pt x="132" y="38"/>
                    <a:pt x="133" y="36"/>
                  </a:cubicBezTo>
                  <a:cubicBezTo>
                    <a:pt x="135" y="34"/>
                    <a:pt x="137" y="31"/>
                    <a:pt x="137" y="28"/>
                  </a:cubicBezTo>
                  <a:cubicBezTo>
                    <a:pt x="137" y="27"/>
                    <a:pt x="134" y="28"/>
                    <a:pt x="133" y="28"/>
                  </a:cubicBezTo>
                  <a:cubicBezTo>
                    <a:pt x="131" y="28"/>
                    <a:pt x="129" y="29"/>
                    <a:pt x="127" y="30"/>
                  </a:cubicBezTo>
                  <a:cubicBezTo>
                    <a:pt x="125" y="30"/>
                    <a:pt x="124" y="30"/>
                    <a:pt x="123" y="29"/>
                  </a:cubicBezTo>
                  <a:cubicBezTo>
                    <a:pt x="123" y="28"/>
                    <a:pt x="124" y="27"/>
                    <a:pt x="123" y="26"/>
                  </a:cubicBezTo>
                  <a:cubicBezTo>
                    <a:pt x="120" y="24"/>
                    <a:pt x="111" y="27"/>
                    <a:pt x="111" y="23"/>
                  </a:cubicBezTo>
                  <a:cubicBezTo>
                    <a:pt x="111" y="19"/>
                    <a:pt x="119" y="20"/>
                    <a:pt x="123" y="20"/>
                  </a:cubicBezTo>
                  <a:cubicBezTo>
                    <a:pt x="126" y="20"/>
                    <a:pt x="128" y="23"/>
                    <a:pt x="131" y="22"/>
                  </a:cubicBezTo>
                  <a:cubicBezTo>
                    <a:pt x="136" y="20"/>
                    <a:pt x="141" y="17"/>
                    <a:pt x="145" y="13"/>
                  </a:cubicBezTo>
                  <a:cubicBezTo>
                    <a:pt x="146" y="12"/>
                    <a:pt x="143" y="11"/>
                    <a:pt x="143" y="10"/>
                  </a:cubicBezTo>
                  <a:cubicBezTo>
                    <a:pt x="143" y="9"/>
                    <a:pt x="147" y="8"/>
                    <a:pt x="146" y="7"/>
                  </a:cubicBezTo>
                  <a:cubicBezTo>
                    <a:pt x="143" y="4"/>
                    <a:pt x="138" y="2"/>
                    <a:pt x="133" y="1"/>
                  </a:cubicBezTo>
                  <a:cubicBezTo>
                    <a:pt x="130" y="0"/>
                    <a:pt x="127" y="0"/>
                    <a:pt x="124" y="1"/>
                  </a:cubicBezTo>
                  <a:cubicBezTo>
                    <a:pt x="119" y="3"/>
                    <a:pt x="116" y="6"/>
                    <a:pt x="111" y="8"/>
                  </a:cubicBezTo>
                  <a:cubicBezTo>
                    <a:pt x="109" y="9"/>
                    <a:pt x="107" y="7"/>
                    <a:pt x="105" y="8"/>
                  </a:cubicBezTo>
                  <a:cubicBezTo>
                    <a:pt x="101" y="10"/>
                    <a:pt x="97" y="13"/>
                    <a:pt x="93" y="16"/>
                  </a:cubicBezTo>
                  <a:cubicBezTo>
                    <a:pt x="90" y="18"/>
                    <a:pt x="87" y="20"/>
                    <a:pt x="84" y="22"/>
                  </a:cubicBezTo>
                  <a:cubicBezTo>
                    <a:pt x="81" y="25"/>
                    <a:pt x="78" y="29"/>
                    <a:pt x="75" y="32"/>
                  </a:cubicBezTo>
                  <a:cubicBezTo>
                    <a:pt x="73" y="35"/>
                    <a:pt x="71" y="37"/>
                    <a:pt x="69" y="39"/>
                  </a:cubicBezTo>
                  <a:cubicBezTo>
                    <a:pt x="67" y="41"/>
                    <a:pt x="65" y="43"/>
                    <a:pt x="62" y="44"/>
                  </a:cubicBezTo>
                  <a:cubicBezTo>
                    <a:pt x="60" y="45"/>
                    <a:pt x="57" y="46"/>
                    <a:pt x="54" y="47"/>
                  </a:cubicBezTo>
                  <a:cubicBezTo>
                    <a:pt x="51" y="48"/>
                    <a:pt x="49" y="49"/>
                    <a:pt x="47" y="50"/>
                  </a:cubicBezTo>
                  <a:cubicBezTo>
                    <a:pt x="44" y="52"/>
                    <a:pt x="42" y="55"/>
                    <a:pt x="39" y="57"/>
                  </a:cubicBezTo>
                  <a:cubicBezTo>
                    <a:pt x="37" y="58"/>
                    <a:pt x="35" y="57"/>
                    <a:pt x="33" y="59"/>
                  </a:cubicBezTo>
                  <a:cubicBezTo>
                    <a:pt x="31" y="61"/>
                    <a:pt x="29" y="64"/>
                    <a:pt x="27" y="66"/>
                  </a:cubicBezTo>
                  <a:cubicBezTo>
                    <a:pt x="25" y="68"/>
                    <a:pt x="22" y="71"/>
                    <a:pt x="19" y="72"/>
                  </a:cubicBezTo>
                  <a:cubicBezTo>
                    <a:pt x="17" y="74"/>
                    <a:pt x="14" y="74"/>
                    <a:pt x="12" y="75"/>
                  </a:cubicBezTo>
                  <a:cubicBezTo>
                    <a:pt x="10" y="76"/>
                    <a:pt x="8" y="76"/>
                    <a:pt x="6" y="77"/>
                  </a:cubicBezTo>
                  <a:cubicBezTo>
                    <a:pt x="4" y="78"/>
                    <a:pt x="2" y="81"/>
                    <a:pt x="0" y="83"/>
                  </a:cubicBezTo>
                  <a:cubicBezTo>
                    <a:pt x="3" y="81"/>
                    <a:pt x="4" y="79"/>
                    <a:pt x="6" y="77"/>
                  </a:cubicBezTo>
                  <a:cubicBezTo>
                    <a:pt x="12" y="77"/>
                    <a:pt x="19" y="77"/>
                    <a:pt x="25" y="77"/>
                  </a:cubicBezTo>
                  <a:cubicBezTo>
                    <a:pt x="33" y="77"/>
                    <a:pt x="42" y="77"/>
                    <a:pt x="50" y="77"/>
                  </a:cubicBezTo>
                  <a:cubicBezTo>
                    <a:pt x="50" y="76"/>
                    <a:pt x="49" y="74"/>
                    <a:pt x="50" y="73"/>
                  </a:cubicBezTo>
                  <a:cubicBezTo>
                    <a:pt x="51" y="72"/>
                    <a:pt x="52" y="71"/>
                    <a:pt x="54" y="71"/>
                  </a:cubicBezTo>
                  <a:cubicBezTo>
                    <a:pt x="56" y="70"/>
                    <a:pt x="59" y="72"/>
                    <a:pt x="60" y="71"/>
                  </a:cubicBezTo>
                  <a:cubicBezTo>
                    <a:pt x="62" y="70"/>
                    <a:pt x="61" y="68"/>
                    <a:pt x="62" y="66"/>
                  </a:cubicBezTo>
                  <a:cubicBezTo>
                    <a:pt x="63" y="65"/>
                    <a:pt x="65" y="65"/>
                    <a:pt x="66" y="63"/>
                  </a:cubicBezTo>
                  <a:cubicBezTo>
                    <a:pt x="67" y="61"/>
                    <a:pt x="66" y="59"/>
                    <a:pt x="67" y="57"/>
                  </a:cubicBezTo>
                  <a:cubicBezTo>
                    <a:pt x="68" y="55"/>
                    <a:pt x="71" y="53"/>
                    <a:pt x="73" y="51"/>
                  </a:cubicBezTo>
                  <a:cubicBezTo>
                    <a:pt x="73" y="50"/>
                    <a:pt x="71" y="49"/>
                    <a:pt x="72" y="48"/>
                  </a:cubicBezTo>
                  <a:cubicBezTo>
                    <a:pt x="73" y="45"/>
                    <a:pt x="76" y="42"/>
                    <a:pt x="78" y="39"/>
                  </a:cubicBezTo>
                  <a:cubicBezTo>
                    <a:pt x="79" y="37"/>
                    <a:pt x="81" y="34"/>
                    <a:pt x="84" y="34"/>
                  </a:cubicBezTo>
                  <a:cubicBezTo>
                    <a:pt x="86" y="34"/>
                    <a:pt x="85" y="39"/>
                    <a:pt x="87" y="39"/>
                  </a:cubicBezTo>
                  <a:cubicBezTo>
                    <a:pt x="89" y="40"/>
                    <a:pt x="90" y="36"/>
                    <a:pt x="92" y="36"/>
                  </a:cubicBezTo>
                  <a:cubicBezTo>
                    <a:pt x="94" y="36"/>
                    <a:pt x="96" y="37"/>
                    <a:pt x="98" y="38"/>
                  </a:cubicBezTo>
                  <a:cubicBezTo>
                    <a:pt x="98" y="38"/>
                    <a:pt x="99" y="39"/>
                    <a:pt x="100" y="39"/>
                  </a:cubicBezTo>
                  <a:cubicBezTo>
                    <a:pt x="99" y="46"/>
                    <a:pt x="98" y="53"/>
                    <a:pt x="98" y="61"/>
                  </a:cubicBezTo>
                  <a:cubicBezTo>
                    <a:pt x="98" y="61"/>
                    <a:pt x="99" y="61"/>
                    <a:pt x="100" y="61"/>
                  </a:cubicBezTo>
                  <a:cubicBezTo>
                    <a:pt x="100" y="65"/>
                    <a:pt x="100" y="70"/>
                    <a:pt x="100" y="7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3" name="Freeform 774"/>
            <p:cNvSpPr>
              <a:spLocks noChangeAspect="1"/>
            </p:cNvSpPr>
            <p:nvPr/>
          </p:nvSpPr>
          <p:spPr bwMode="auto">
            <a:xfrm>
              <a:off x="889000" y="1930400"/>
              <a:ext cx="749300" cy="627063"/>
            </a:xfrm>
            <a:custGeom>
              <a:avLst/>
              <a:gdLst>
                <a:gd name="T0" fmla="*/ 730282 w 394"/>
                <a:gd name="T1" fmla="*/ 627063 h 329"/>
                <a:gd name="T2" fmla="*/ 724577 w 394"/>
                <a:gd name="T3" fmla="*/ 585132 h 329"/>
                <a:gd name="T4" fmla="*/ 709363 w 394"/>
                <a:gd name="T5" fmla="*/ 581320 h 329"/>
                <a:gd name="T6" fmla="*/ 686541 w 394"/>
                <a:gd name="T7" fmla="*/ 545106 h 329"/>
                <a:gd name="T8" fmla="*/ 665622 w 394"/>
                <a:gd name="T9" fmla="*/ 493645 h 329"/>
                <a:gd name="T10" fmla="*/ 667524 w 394"/>
                <a:gd name="T11" fmla="*/ 514611 h 329"/>
                <a:gd name="T12" fmla="*/ 659917 w 394"/>
                <a:gd name="T13" fmla="*/ 550824 h 329"/>
                <a:gd name="T14" fmla="*/ 640899 w 394"/>
                <a:gd name="T15" fmla="*/ 489833 h 329"/>
                <a:gd name="T16" fmla="*/ 623783 w 394"/>
                <a:gd name="T17" fmla="*/ 510799 h 329"/>
                <a:gd name="T18" fmla="*/ 566729 w 394"/>
                <a:gd name="T19" fmla="*/ 472680 h 329"/>
                <a:gd name="T20" fmla="*/ 540105 w 394"/>
                <a:gd name="T21" fmla="*/ 451714 h 329"/>
                <a:gd name="T22" fmla="*/ 467837 w 394"/>
                <a:gd name="T23" fmla="*/ 428842 h 329"/>
                <a:gd name="T24" fmla="*/ 435507 w 394"/>
                <a:gd name="T25" fmla="*/ 407877 h 329"/>
                <a:gd name="T26" fmla="*/ 393668 w 394"/>
                <a:gd name="T27" fmla="*/ 405971 h 329"/>
                <a:gd name="T28" fmla="*/ 365141 w 394"/>
                <a:gd name="T29" fmla="*/ 444090 h 329"/>
                <a:gd name="T30" fmla="*/ 298579 w 394"/>
                <a:gd name="T31" fmla="*/ 470774 h 329"/>
                <a:gd name="T32" fmla="*/ 317597 w 394"/>
                <a:gd name="T33" fmla="*/ 430748 h 329"/>
                <a:gd name="T34" fmla="*/ 382257 w 394"/>
                <a:gd name="T35" fmla="*/ 402159 h 329"/>
                <a:gd name="T36" fmla="*/ 348025 w 394"/>
                <a:gd name="T37" fmla="*/ 390723 h 329"/>
                <a:gd name="T38" fmla="*/ 292874 w 394"/>
                <a:gd name="T39" fmla="*/ 445996 h 329"/>
                <a:gd name="T40" fmla="*/ 260543 w 394"/>
                <a:gd name="T41" fmla="*/ 487927 h 329"/>
                <a:gd name="T42" fmla="*/ 205392 w 394"/>
                <a:gd name="T43" fmla="*/ 529859 h 329"/>
                <a:gd name="T44" fmla="*/ 135026 w 394"/>
                <a:gd name="T45" fmla="*/ 566072 h 329"/>
                <a:gd name="T46" fmla="*/ 91285 w 394"/>
                <a:gd name="T47" fmla="*/ 592756 h 329"/>
                <a:gd name="T48" fmla="*/ 24723 w 394"/>
                <a:gd name="T49" fmla="*/ 617533 h 329"/>
                <a:gd name="T50" fmla="*/ 43741 w 394"/>
                <a:gd name="T51" fmla="*/ 588944 h 329"/>
                <a:gd name="T52" fmla="*/ 135026 w 394"/>
                <a:gd name="T53" fmla="*/ 543201 h 329"/>
                <a:gd name="T54" fmla="*/ 182571 w 394"/>
                <a:gd name="T55" fmla="*/ 482209 h 329"/>
                <a:gd name="T56" fmla="*/ 135026 w 394"/>
                <a:gd name="T57" fmla="*/ 506987 h 329"/>
                <a:gd name="T58" fmla="*/ 110303 w 394"/>
                <a:gd name="T59" fmla="*/ 480304 h 329"/>
                <a:gd name="T60" fmla="*/ 74169 w 394"/>
                <a:gd name="T61" fmla="*/ 484115 h 329"/>
                <a:gd name="T62" fmla="*/ 81776 w 394"/>
                <a:gd name="T63" fmla="*/ 436466 h 329"/>
                <a:gd name="T64" fmla="*/ 45643 w 394"/>
                <a:gd name="T65" fmla="*/ 451714 h 329"/>
                <a:gd name="T66" fmla="*/ 47544 w 394"/>
                <a:gd name="T67" fmla="*/ 411689 h 329"/>
                <a:gd name="T68" fmla="*/ 26625 w 394"/>
                <a:gd name="T69" fmla="*/ 396441 h 329"/>
                <a:gd name="T70" fmla="*/ 66562 w 394"/>
                <a:gd name="T71" fmla="*/ 335450 h 329"/>
                <a:gd name="T72" fmla="*/ 144535 w 394"/>
                <a:gd name="T73" fmla="*/ 314484 h 329"/>
                <a:gd name="T74" fmla="*/ 167356 w 394"/>
                <a:gd name="T75" fmla="*/ 274459 h 329"/>
                <a:gd name="T76" fmla="*/ 119812 w 394"/>
                <a:gd name="T77" fmla="*/ 278271 h 329"/>
                <a:gd name="T78" fmla="*/ 64660 w 394"/>
                <a:gd name="T79" fmla="*/ 242058 h 329"/>
                <a:gd name="T80" fmla="*/ 95089 w 394"/>
                <a:gd name="T81" fmla="*/ 211562 h 329"/>
                <a:gd name="T82" fmla="*/ 127419 w 394"/>
                <a:gd name="T83" fmla="*/ 211562 h 329"/>
                <a:gd name="T84" fmla="*/ 174963 w 394"/>
                <a:gd name="T85" fmla="*/ 184879 h 329"/>
                <a:gd name="T86" fmla="*/ 182571 w 394"/>
                <a:gd name="T87" fmla="*/ 184879 h 329"/>
                <a:gd name="T88" fmla="*/ 136928 w 394"/>
                <a:gd name="T89" fmla="*/ 150571 h 329"/>
                <a:gd name="T90" fmla="*/ 176865 w 394"/>
                <a:gd name="T91" fmla="*/ 95298 h 329"/>
                <a:gd name="T92" fmla="*/ 262445 w 394"/>
                <a:gd name="T93" fmla="*/ 38119 h 329"/>
                <a:gd name="T94" fmla="*/ 344222 w 394"/>
                <a:gd name="T95" fmla="*/ 19060 h 329"/>
                <a:gd name="T96" fmla="*/ 374650 w 394"/>
                <a:gd name="T97" fmla="*/ 26684 h 329"/>
                <a:gd name="T98" fmla="*/ 405078 w 394"/>
                <a:gd name="T99" fmla="*/ 30495 h 329"/>
                <a:gd name="T100" fmla="*/ 446917 w 394"/>
                <a:gd name="T101" fmla="*/ 32401 h 329"/>
                <a:gd name="T102" fmla="*/ 509676 w 394"/>
                <a:gd name="T103" fmla="*/ 36213 h 329"/>
                <a:gd name="T104" fmla="*/ 593354 w 394"/>
                <a:gd name="T105" fmla="*/ 60991 h 329"/>
                <a:gd name="T106" fmla="*/ 671327 w 394"/>
                <a:gd name="T107" fmla="*/ 72427 h 329"/>
                <a:gd name="T108" fmla="*/ 581944 w 394"/>
                <a:gd name="T109" fmla="*/ 426936 h 329"/>
                <a:gd name="T110" fmla="*/ 616176 w 394"/>
                <a:gd name="T111" fmla="*/ 482209 h 329"/>
                <a:gd name="T112" fmla="*/ 648506 w 394"/>
                <a:gd name="T113" fmla="*/ 459338 h 329"/>
                <a:gd name="T114" fmla="*/ 684640 w 394"/>
                <a:gd name="T115" fmla="*/ 482209 h 329"/>
                <a:gd name="T116" fmla="*/ 718872 w 394"/>
                <a:gd name="T117" fmla="*/ 564166 h 3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4"/>
                <a:gd name="T178" fmla="*/ 0 h 329"/>
                <a:gd name="T179" fmla="*/ 394 w 394"/>
                <a:gd name="T180" fmla="*/ 329 h 3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4" h="329">
                  <a:moveTo>
                    <a:pt x="394" y="307"/>
                  </a:moveTo>
                  <a:cubicBezTo>
                    <a:pt x="393" y="309"/>
                    <a:pt x="391" y="310"/>
                    <a:pt x="391" y="312"/>
                  </a:cubicBezTo>
                  <a:cubicBezTo>
                    <a:pt x="389" y="316"/>
                    <a:pt x="389" y="319"/>
                    <a:pt x="388" y="323"/>
                  </a:cubicBezTo>
                  <a:cubicBezTo>
                    <a:pt x="387" y="325"/>
                    <a:pt x="386" y="328"/>
                    <a:pt x="384" y="329"/>
                  </a:cubicBezTo>
                  <a:cubicBezTo>
                    <a:pt x="382" y="329"/>
                    <a:pt x="380" y="328"/>
                    <a:pt x="380" y="327"/>
                  </a:cubicBezTo>
                  <a:cubicBezTo>
                    <a:pt x="379" y="324"/>
                    <a:pt x="381" y="322"/>
                    <a:pt x="381" y="320"/>
                  </a:cubicBezTo>
                  <a:cubicBezTo>
                    <a:pt x="381" y="317"/>
                    <a:pt x="382" y="314"/>
                    <a:pt x="382" y="311"/>
                  </a:cubicBezTo>
                  <a:cubicBezTo>
                    <a:pt x="382" y="309"/>
                    <a:pt x="383" y="307"/>
                    <a:pt x="381" y="307"/>
                  </a:cubicBezTo>
                  <a:cubicBezTo>
                    <a:pt x="378" y="306"/>
                    <a:pt x="375" y="307"/>
                    <a:pt x="373" y="309"/>
                  </a:cubicBezTo>
                  <a:cubicBezTo>
                    <a:pt x="371" y="310"/>
                    <a:pt x="372" y="314"/>
                    <a:pt x="370" y="315"/>
                  </a:cubicBezTo>
                  <a:cubicBezTo>
                    <a:pt x="369" y="316"/>
                    <a:pt x="368" y="313"/>
                    <a:pt x="368" y="312"/>
                  </a:cubicBezTo>
                  <a:cubicBezTo>
                    <a:pt x="369" y="309"/>
                    <a:pt x="372" y="308"/>
                    <a:pt x="373" y="305"/>
                  </a:cubicBezTo>
                  <a:cubicBezTo>
                    <a:pt x="373" y="303"/>
                    <a:pt x="370" y="302"/>
                    <a:pt x="369" y="300"/>
                  </a:cubicBezTo>
                  <a:cubicBezTo>
                    <a:pt x="369" y="299"/>
                    <a:pt x="370" y="297"/>
                    <a:pt x="369" y="295"/>
                  </a:cubicBezTo>
                  <a:cubicBezTo>
                    <a:pt x="368" y="292"/>
                    <a:pt x="366" y="291"/>
                    <a:pt x="364" y="289"/>
                  </a:cubicBezTo>
                  <a:cubicBezTo>
                    <a:pt x="363" y="288"/>
                    <a:pt x="361" y="288"/>
                    <a:pt x="361" y="286"/>
                  </a:cubicBezTo>
                  <a:cubicBezTo>
                    <a:pt x="360" y="284"/>
                    <a:pt x="361" y="281"/>
                    <a:pt x="361" y="278"/>
                  </a:cubicBezTo>
                  <a:cubicBezTo>
                    <a:pt x="360" y="276"/>
                    <a:pt x="360" y="274"/>
                    <a:pt x="359" y="273"/>
                  </a:cubicBezTo>
                  <a:cubicBezTo>
                    <a:pt x="358" y="271"/>
                    <a:pt x="355" y="271"/>
                    <a:pt x="354" y="269"/>
                  </a:cubicBezTo>
                  <a:cubicBezTo>
                    <a:pt x="352" y="266"/>
                    <a:pt x="351" y="262"/>
                    <a:pt x="350" y="259"/>
                  </a:cubicBezTo>
                  <a:cubicBezTo>
                    <a:pt x="349" y="257"/>
                    <a:pt x="351" y="254"/>
                    <a:pt x="350" y="252"/>
                  </a:cubicBezTo>
                  <a:cubicBezTo>
                    <a:pt x="350" y="251"/>
                    <a:pt x="347" y="251"/>
                    <a:pt x="347" y="252"/>
                  </a:cubicBezTo>
                  <a:cubicBezTo>
                    <a:pt x="346" y="256"/>
                    <a:pt x="346" y="260"/>
                    <a:pt x="347" y="264"/>
                  </a:cubicBezTo>
                  <a:cubicBezTo>
                    <a:pt x="348" y="266"/>
                    <a:pt x="349" y="268"/>
                    <a:pt x="351" y="270"/>
                  </a:cubicBezTo>
                  <a:cubicBezTo>
                    <a:pt x="352" y="272"/>
                    <a:pt x="355" y="272"/>
                    <a:pt x="356" y="274"/>
                  </a:cubicBezTo>
                  <a:cubicBezTo>
                    <a:pt x="357" y="275"/>
                    <a:pt x="358" y="277"/>
                    <a:pt x="357" y="279"/>
                  </a:cubicBezTo>
                  <a:cubicBezTo>
                    <a:pt x="356" y="281"/>
                    <a:pt x="354" y="284"/>
                    <a:pt x="352" y="286"/>
                  </a:cubicBezTo>
                  <a:cubicBezTo>
                    <a:pt x="351" y="287"/>
                    <a:pt x="349" y="288"/>
                    <a:pt x="347" y="289"/>
                  </a:cubicBezTo>
                  <a:cubicBezTo>
                    <a:pt x="346" y="289"/>
                    <a:pt x="345" y="288"/>
                    <a:pt x="345" y="288"/>
                  </a:cubicBezTo>
                  <a:cubicBezTo>
                    <a:pt x="345" y="282"/>
                    <a:pt x="349" y="276"/>
                    <a:pt x="347" y="271"/>
                  </a:cubicBezTo>
                  <a:cubicBezTo>
                    <a:pt x="347" y="268"/>
                    <a:pt x="342" y="269"/>
                    <a:pt x="340" y="267"/>
                  </a:cubicBezTo>
                  <a:cubicBezTo>
                    <a:pt x="338" y="264"/>
                    <a:pt x="339" y="260"/>
                    <a:pt x="337" y="257"/>
                  </a:cubicBezTo>
                  <a:cubicBezTo>
                    <a:pt x="336" y="256"/>
                    <a:pt x="333" y="257"/>
                    <a:pt x="332" y="257"/>
                  </a:cubicBezTo>
                  <a:cubicBezTo>
                    <a:pt x="330" y="257"/>
                    <a:pt x="326" y="256"/>
                    <a:pt x="327" y="257"/>
                  </a:cubicBezTo>
                  <a:cubicBezTo>
                    <a:pt x="328" y="260"/>
                    <a:pt x="335" y="261"/>
                    <a:pt x="335" y="264"/>
                  </a:cubicBezTo>
                  <a:cubicBezTo>
                    <a:pt x="335" y="267"/>
                    <a:pt x="331" y="268"/>
                    <a:pt x="328" y="268"/>
                  </a:cubicBezTo>
                  <a:cubicBezTo>
                    <a:pt x="325" y="268"/>
                    <a:pt x="321" y="266"/>
                    <a:pt x="318" y="264"/>
                  </a:cubicBezTo>
                  <a:cubicBezTo>
                    <a:pt x="316" y="262"/>
                    <a:pt x="316" y="259"/>
                    <a:pt x="315" y="257"/>
                  </a:cubicBezTo>
                  <a:cubicBezTo>
                    <a:pt x="313" y="255"/>
                    <a:pt x="311" y="254"/>
                    <a:pt x="309" y="253"/>
                  </a:cubicBezTo>
                  <a:cubicBezTo>
                    <a:pt x="306" y="251"/>
                    <a:pt x="300" y="252"/>
                    <a:pt x="298" y="248"/>
                  </a:cubicBezTo>
                  <a:cubicBezTo>
                    <a:pt x="297" y="245"/>
                    <a:pt x="302" y="242"/>
                    <a:pt x="303" y="239"/>
                  </a:cubicBezTo>
                  <a:cubicBezTo>
                    <a:pt x="304" y="237"/>
                    <a:pt x="305" y="233"/>
                    <a:pt x="303" y="233"/>
                  </a:cubicBezTo>
                  <a:cubicBezTo>
                    <a:pt x="299" y="234"/>
                    <a:pt x="298" y="240"/>
                    <a:pt x="293" y="241"/>
                  </a:cubicBezTo>
                  <a:cubicBezTo>
                    <a:pt x="290" y="242"/>
                    <a:pt x="287" y="239"/>
                    <a:pt x="284" y="237"/>
                  </a:cubicBezTo>
                  <a:cubicBezTo>
                    <a:pt x="283" y="236"/>
                    <a:pt x="283" y="234"/>
                    <a:pt x="281" y="233"/>
                  </a:cubicBezTo>
                  <a:cubicBezTo>
                    <a:pt x="279" y="232"/>
                    <a:pt x="276" y="231"/>
                    <a:pt x="273" y="231"/>
                  </a:cubicBezTo>
                  <a:cubicBezTo>
                    <a:pt x="266" y="230"/>
                    <a:pt x="258" y="233"/>
                    <a:pt x="252" y="231"/>
                  </a:cubicBezTo>
                  <a:cubicBezTo>
                    <a:pt x="249" y="231"/>
                    <a:pt x="247" y="228"/>
                    <a:pt x="246" y="225"/>
                  </a:cubicBezTo>
                  <a:cubicBezTo>
                    <a:pt x="245" y="224"/>
                    <a:pt x="249" y="222"/>
                    <a:pt x="248" y="221"/>
                  </a:cubicBezTo>
                  <a:cubicBezTo>
                    <a:pt x="246" y="220"/>
                    <a:pt x="245" y="223"/>
                    <a:pt x="243" y="223"/>
                  </a:cubicBezTo>
                  <a:cubicBezTo>
                    <a:pt x="241" y="223"/>
                    <a:pt x="239" y="222"/>
                    <a:pt x="237" y="221"/>
                  </a:cubicBezTo>
                  <a:cubicBezTo>
                    <a:pt x="234" y="219"/>
                    <a:pt x="230" y="218"/>
                    <a:pt x="229" y="214"/>
                  </a:cubicBezTo>
                  <a:cubicBezTo>
                    <a:pt x="229" y="212"/>
                    <a:pt x="238" y="210"/>
                    <a:pt x="236" y="208"/>
                  </a:cubicBezTo>
                  <a:cubicBezTo>
                    <a:pt x="232" y="206"/>
                    <a:pt x="228" y="211"/>
                    <a:pt x="224" y="211"/>
                  </a:cubicBezTo>
                  <a:cubicBezTo>
                    <a:pt x="221" y="211"/>
                    <a:pt x="218" y="209"/>
                    <a:pt x="215" y="209"/>
                  </a:cubicBezTo>
                  <a:cubicBezTo>
                    <a:pt x="212" y="210"/>
                    <a:pt x="208" y="211"/>
                    <a:pt x="207" y="213"/>
                  </a:cubicBezTo>
                  <a:cubicBezTo>
                    <a:pt x="206" y="215"/>
                    <a:pt x="210" y="215"/>
                    <a:pt x="210" y="217"/>
                  </a:cubicBezTo>
                  <a:cubicBezTo>
                    <a:pt x="211" y="219"/>
                    <a:pt x="212" y="221"/>
                    <a:pt x="210" y="223"/>
                  </a:cubicBezTo>
                  <a:cubicBezTo>
                    <a:pt x="208" y="227"/>
                    <a:pt x="204" y="231"/>
                    <a:pt x="200" y="233"/>
                  </a:cubicBezTo>
                  <a:cubicBezTo>
                    <a:pt x="198" y="234"/>
                    <a:pt x="194" y="232"/>
                    <a:pt x="192" y="233"/>
                  </a:cubicBezTo>
                  <a:cubicBezTo>
                    <a:pt x="190" y="234"/>
                    <a:pt x="189" y="237"/>
                    <a:pt x="187" y="238"/>
                  </a:cubicBezTo>
                  <a:cubicBezTo>
                    <a:pt x="181" y="243"/>
                    <a:pt x="175" y="249"/>
                    <a:pt x="167" y="252"/>
                  </a:cubicBezTo>
                  <a:cubicBezTo>
                    <a:pt x="164" y="253"/>
                    <a:pt x="160" y="253"/>
                    <a:pt x="157" y="252"/>
                  </a:cubicBezTo>
                  <a:cubicBezTo>
                    <a:pt x="156" y="251"/>
                    <a:pt x="156" y="248"/>
                    <a:pt x="157" y="247"/>
                  </a:cubicBezTo>
                  <a:cubicBezTo>
                    <a:pt x="160" y="244"/>
                    <a:pt x="165" y="244"/>
                    <a:pt x="168" y="242"/>
                  </a:cubicBezTo>
                  <a:cubicBezTo>
                    <a:pt x="170" y="241"/>
                    <a:pt x="173" y="239"/>
                    <a:pt x="171" y="238"/>
                  </a:cubicBezTo>
                  <a:cubicBezTo>
                    <a:pt x="168" y="236"/>
                    <a:pt x="163" y="242"/>
                    <a:pt x="162" y="239"/>
                  </a:cubicBezTo>
                  <a:cubicBezTo>
                    <a:pt x="161" y="234"/>
                    <a:pt x="165" y="230"/>
                    <a:pt x="167" y="226"/>
                  </a:cubicBezTo>
                  <a:cubicBezTo>
                    <a:pt x="169" y="224"/>
                    <a:pt x="171" y="221"/>
                    <a:pt x="173" y="219"/>
                  </a:cubicBezTo>
                  <a:cubicBezTo>
                    <a:pt x="176" y="216"/>
                    <a:pt x="178" y="214"/>
                    <a:pt x="181" y="212"/>
                  </a:cubicBezTo>
                  <a:cubicBezTo>
                    <a:pt x="184" y="210"/>
                    <a:pt x="186" y="208"/>
                    <a:pt x="189" y="208"/>
                  </a:cubicBezTo>
                  <a:cubicBezTo>
                    <a:pt x="193" y="207"/>
                    <a:pt x="197" y="211"/>
                    <a:pt x="201" y="211"/>
                  </a:cubicBezTo>
                  <a:cubicBezTo>
                    <a:pt x="202" y="210"/>
                    <a:pt x="198" y="208"/>
                    <a:pt x="198" y="206"/>
                  </a:cubicBezTo>
                  <a:cubicBezTo>
                    <a:pt x="198" y="205"/>
                    <a:pt x="201" y="203"/>
                    <a:pt x="199" y="202"/>
                  </a:cubicBezTo>
                  <a:cubicBezTo>
                    <a:pt x="198" y="200"/>
                    <a:pt x="195" y="201"/>
                    <a:pt x="193" y="202"/>
                  </a:cubicBezTo>
                  <a:cubicBezTo>
                    <a:pt x="190" y="203"/>
                    <a:pt x="186" y="204"/>
                    <a:pt x="183" y="205"/>
                  </a:cubicBezTo>
                  <a:cubicBezTo>
                    <a:pt x="177" y="209"/>
                    <a:pt x="171" y="212"/>
                    <a:pt x="165" y="217"/>
                  </a:cubicBezTo>
                  <a:cubicBezTo>
                    <a:pt x="163" y="219"/>
                    <a:pt x="163" y="224"/>
                    <a:pt x="160" y="227"/>
                  </a:cubicBezTo>
                  <a:cubicBezTo>
                    <a:pt x="159" y="228"/>
                    <a:pt x="155" y="225"/>
                    <a:pt x="154" y="227"/>
                  </a:cubicBezTo>
                  <a:cubicBezTo>
                    <a:pt x="152" y="228"/>
                    <a:pt x="155" y="232"/>
                    <a:pt x="154" y="234"/>
                  </a:cubicBezTo>
                  <a:cubicBezTo>
                    <a:pt x="151" y="237"/>
                    <a:pt x="147" y="238"/>
                    <a:pt x="144" y="240"/>
                  </a:cubicBezTo>
                  <a:cubicBezTo>
                    <a:pt x="142" y="241"/>
                    <a:pt x="140" y="241"/>
                    <a:pt x="139" y="242"/>
                  </a:cubicBezTo>
                  <a:cubicBezTo>
                    <a:pt x="136" y="245"/>
                    <a:pt x="131" y="247"/>
                    <a:pt x="130" y="252"/>
                  </a:cubicBezTo>
                  <a:cubicBezTo>
                    <a:pt x="130" y="255"/>
                    <a:pt x="135" y="254"/>
                    <a:pt x="137" y="256"/>
                  </a:cubicBezTo>
                  <a:cubicBezTo>
                    <a:pt x="138" y="257"/>
                    <a:pt x="140" y="259"/>
                    <a:pt x="139" y="260"/>
                  </a:cubicBezTo>
                  <a:cubicBezTo>
                    <a:pt x="137" y="262"/>
                    <a:pt x="133" y="261"/>
                    <a:pt x="130" y="263"/>
                  </a:cubicBezTo>
                  <a:cubicBezTo>
                    <a:pt x="127" y="265"/>
                    <a:pt x="125" y="269"/>
                    <a:pt x="122" y="271"/>
                  </a:cubicBezTo>
                  <a:cubicBezTo>
                    <a:pt x="117" y="274"/>
                    <a:pt x="112" y="276"/>
                    <a:pt x="108" y="278"/>
                  </a:cubicBezTo>
                  <a:cubicBezTo>
                    <a:pt x="104" y="280"/>
                    <a:pt x="99" y="281"/>
                    <a:pt x="96" y="283"/>
                  </a:cubicBezTo>
                  <a:cubicBezTo>
                    <a:pt x="94" y="285"/>
                    <a:pt x="94" y="288"/>
                    <a:pt x="92" y="289"/>
                  </a:cubicBezTo>
                  <a:cubicBezTo>
                    <a:pt x="88" y="292"/>
                    <a:pt x="84" y="293"/>
                    <a:pt x="80" y="295"/>
                  </a:cubicBezTo>
                  <a:cubicBezTo>
                    <a:pt x="77" y="296"/>
                    <a:pt x="74" y="295"/>
                    <a:pt x="71" y="297"/>
                  </a:cubicBezTo>
                  <a:cubicBezTo>
                    <a:pt x="70" y="297"/>
                    <a:pt x="71" y="299"/>
                    <a:pt x="70" y="300"/>
                  </a:cubicBezTo>
                  <a:cubicBezTo>
                    <a:pt x="68" y="301"/>
                    <a:pt x="65" y="299"/>
                    <a:pt x="63" y="300"/>
                  </a:cubicBezTo>
                  <a:cubicBezTo>
                    <a:pt x="60" y="302"/>
                    <a:pt x="60" y="306"/>
                    <a:pt x="57" y="308"/>
                  </a:cubicBezTo>
                  <a:cubicBezTo>
                    <a:pt x="54" y="310"/>
                    <a:pt x="51" y="310"/>
                    <a:pt x="48" y="311"/>
                  </a:cubicBezTo>
                  <a:cubicBezTo>
                    <a:pt x="42" y="312"/>
                    <a:pt x="37" y="313"/>
                    <a:pt x="31" y="315"/>
                  </a:cubicBezTo>
                  <a:cubicBezTo>
                    <a:pt x="29" y="316"/>
                    <a:pt x="27" y="318"/>
                    <a:pt x="24" y="318"/>
                  </a:cubicBezTo>
                  <a:cubicBezTo>
                    <a:pt x="23" y="318"/>
                    <a:pt x="22" y="314"/>
                    <a:pt x="21" y="315"/>
                  </a:cubicBezTo>
                  <a:cubicBezTo>
                    <a:pt x="18" y="317"/>
                    <a:pt x="16" y="322"/>
                    <a:pt x="13" y="324"/>
                  </a:cubicBezTo>
                  <a:cubicBezTo>
                    <a:pt x="11" y="324"/>
                    <a:pt x="10" y="321"/>
                    <a:pt x="9" y="321"/>
                  </a:cubicBezTo>
                  <a:cubicBezTo>
                    <a:pt x="6" y="322"/>
                    <a:pt x="4" y="328"/>
                    <a:pt x="0" y="327"/>
                  </a:cubicBezTo>
                  <a:cubicBezTo>
                    <a:pt x="0" y="325"/>
                    <a:pt x="1" y="322"/>
                    <a:pt x="3" y="320"/>
                  </a:cubicBezTo>
                  <a:cubicBezTo>
                    <a:pt x="9" y="315"/>
                    <a:pt x="16" y="312"/>
                    <a:pt x="23" y="309"/>
                  </a:cubicBezTo>
                  <a:cubicBezTo>
                    <a:pt x="26" y="307"/>
                    <a:pt x="30" y="309"/>
                    <a:pt x="34" y="308"/>
                  </a:cubicBezTo>
                  <a:cubicBezTo>
                    <a:pt x="37" y="307"/>
                    <a:pt x="39" y="305"/>
                    <a:pt x="42" y="303"/>
                  </a:cubicBezTo>
                  <a:cubicBezTo>
                    <a:pt x="47" y="300"/>
                    <a:pt x="52" y="297"/>
                    <a:pt x="57" y="294"/>
                  </a:cubicBezTo>
                  <a:cubicBezTo>
                    <a:pt x="62" y="291"/>
                    <a:pt x="67" y="288"/>
                    <a:pt x="71" y="285"/>
                  </a:cubicBezTo>
                  <a:cubicBezTo>
                    <a:pt x="74" y="283"/>
                    <a:pt x="78" y="282"/>
                    <a:pt x="80" y="279"/>
                  </a:cubicBezTo>
                  <a:cubicBezTo>
                    <a:pt x="82" y="275"/>
                    <a:pt x="83" y="271"/>
                    <a:pt x="85" y="267"/>
                  </a:cubicBezTo>
                  <a:cubicBezTo>
                    <a:pt x="87" y="264"/>
                    <a:pt x="88" y="261"/>
                    <a:pt x="90" y="258"/>
                  </a:cubicBezTo>
                  <a:cubicBezTo>
                    <a:pt x="92" y="256"/>
                    <a:pt x="99" y="253"/>
                    <a:pt x="96" y="253"/>
                  </a:cubicBezTo>
                  <a:cubicBezTo>
                    <a:pt x="91" y="254"/>
                    <a:pt x="86" y="258"/>
                    <a:pt x="80" y="259"/>
                  </a:cubicBezTo>
                  <a:cubicBezTo>
                    <a:pt x="79" y="259"/>
                    <a:pt x="78" y="256"/>
                    <a:pt x="76" y="256"/>
                  </a:cubicBezTo>
                  <a:cubicBezTo>
                    <a:pt x="74" y="256"/>
                    <a:pt x="73" y="258"/>
                    <a:pt x="72" y="260"/>
                  </a:cubicBezTo>
                  <a:cubicBezTo>
                    <a:pt x="71" y="262"/>
                    <a:pt x="73" y="265"/>
                    <a:pt x="71" y="266"/>
                  </a:cubicBezTo>
                  <a:cubicBezTo>
                    <a:pt x="70" y="267"/>
                    <a:pt x="68" y="265"/>
                    <a:pt x="67" y="263"/>
                  </a:cubicBezTo>
                  <a:cubicBezTo>
                    <a:pt x="66" y="260"/>
                    <a:pt x="67" y="256"/>
                    <a:pt x="65" y="253"/>
                  </a:cubicBezTo>
                  <a:cubicBezTo>
                    <a:pt x="63" y="252"/>
                    <a:pt x="61" y="254"/>
                    <a:pt x="59" y="254"/>
                  </a:cubicBezTo>
                  <a:cubicBezTo>
                    <a:pt x="58" y="254"/>
                    <a:pt x="59" y="252"/>
                    <a:pt x="58" y="252"/>
                  </a:cubicBezTo>
                  <a:cubicBezTo>
                    <a:pt x="53" y="253"/>
                    <a:pt x="49" y="256"/>
                    <a:pt x="45" y="258"/>
                  </a:cubicBezTo>
                  <a:cubicBezTo>
                    <a:pt x="43" y="259"/>
                    <a:pt x="41" y="262"/>
                    <a:pt x="38" y="262"/>
                  </a:cubicBezTo>
                  <a:cubicBezTo>
                    <a:pt x="37" y="263"/>
                    <a:pt x="35" y="262"/>
                    <a:pt x="35" y="261"/>
                  </a:cubicBezTo>
                  <a:cubicBezTo>
                    <a:pt x="35" y="258"/>
                    <a:pt x="37" y="256"/>
                    <a:pt x="39" y="254"/>
                  </a:cubicBezTo>
                  <a:cubicBezTo>
                    <a:pt x="40" y="252"/>
                    <a:pt x="42" y="251"/>
                    <a:pt x="42" y="249"/>
                  </a:cubicBezTo>
                  <a:cubicBezTo>
                    <a:pt x="41" y="247"/>
                    <a:pt x="37" y="247"/>
                    <a:pt x="38" y="245"/>
                  </a:cubicBezTo>
                  <a:cubicBezTo>
                    <a:pt x="38" y="242"/>
                    <a:pt x="43" y="241"/>
                    <a:pt x="44" y="239"/>
                  </a:cubicBezTo>
                  <a:cubicBezTo>
                    <a:pt x="45" y="236"/>
                    <a:pt x="43" y="232"/>
                    <a:pt x="43" y="229"/>
                  </a:cubicBezTo>
                  <a:cubicBezTo>
                    <a:pt x="44" y="227"/>
                    <a:pt x="48" y="224"/>
                    <a:pt x="47" y="222"/>
                  </a:cubicBezTo>
                  <a:cubicBezTo>
                    <a:pt x="46" y="220"/>
                    <a:pt x="43" y="223"/>
                    <a:pt x="41" y="225"/>
                  </a:cubicBezTo>
                  <a:cubicBezTo>
                    <a:pt x="39" y="227"/>
                    <a:pt x="40" y="231"/>
                    <a:pt x="38" y="233"/>
                  </a:cubicBezTo>
                  <a:cubicBezTo>
                    <a:pt x="34" y="236"/>
                    <a:pt x="29" y="237"/>
                    <a:pt x="24" y="237"/>
                  </a:cubicBezTo>
                  <a:cubicBezTo>
                    <a:pt x="22" y="237"/>
                    <a:pt x="22" y="234"/>
                    <a:pt x="20" y="233"/>
                  </a:cubicBezTo>
                  <a:cubicBezTo>
                    <a:pt x="18" y="230"/>
                    <a:pt x="15" y="229"/>
                    <a:pt x="14" y="225"/>
                  </a:cubicBezTo>
                  <a:cubicBezTo>
                    <a:pt x="13" y="222"/>
                    <a:pt x="14" y="217"/>
                    <a:pt x="17" y="215"/>
                  </a:cubicBezTo>
                  <a:cubicBezTo>
                    <a:pt x="19" y="213"/>
                    <a:pt x="23" y="215"/>
                    <a:pt x="25" y="216"/>
                  </a:cubicBezTo>
                  <a:cubicBezTo>
                    <a:pt x="28" y="217"/>
                    <a:pt x="31" y="220"/>
                    <a:pt x="33" y="219"/>
                  </a:cubicBezTo>
                  <a:cubicBezTo>
                    <a:pt x="35" y="219"/>
                    <a:pt x="35" y="215"/>
                    <a:pt x="33" y="214"/>
                  </a:cubicBezTo>
                  <a:cubicBezTo>
                    <a:pt x="30" y="212"/>
                    <a:pt x="26" y="214"/>
                    <a:pt x="22" y="213"/>
                  </a:cubicBezTo>
                  <a:cubicBezTo>
                    <a:pt x="19" y="212"/>
                    <a:pt x="15" y="211"/>
                    <a:pt x="14" y="208"/>
                  </a:cubicBezTo>
                  <a:cubicBezTo>
                    <a:pt x="12" y="205"/>
                    <a:pt x="12" y="201"/>
                    <a:pt x="14" y="198"/>
                  </a:cubicBezTo>
                  <a:cubicBezTo>
                    <a:pt x="17" y="192"/>
                    <a:pt x="22" y="187"/>
                    <a:pt x="27" y="183"/>
                  </a:cubicBezTo>
                  <a:cubicBezTo>
                    <a:pt x="29" y="181"/>
                    <a:pt x="33" y="184"/>
                    <a:pt x="35" y="182"/>
                  </a:cubicBezTo>
                  <a:cubicBezTo>
                    <a:pt x="37" y="180"/>
                    <a:pt x="34" y="178"/>
                    <a:pt x="35" y="176"/>
                  </a:cubicBezTo>
                  <a:cubicBezTo>
                    <a:pt x="37" y="173"/>
                    <a:pt x="40" y="169"/>
                    <a:pt x="43" y="169"/>
                  </a:cubicBezTo>
                  <a:cubicBezTo>
                    <a:pt x="47" y="168"/>
                    <a:pt x="50" y="172"/>
                    <a:pt x="54" y="172"/>
                  </a:cubicBezTo>
                  <a:cubicBezTo>
                    <a:pt x="57" y="171"/>
                    <a:pt x="60" y="168"/>
                    <a:pt x="63" y="167"/>
                  </a:cubicBezTo>
                  <a:cubicBezTo>
                    <a:pt x="67" y="165"/>
                    <a:pt x="71" y="166"/>
                    <a:pt x="76" y="165"/>
                  </a:cubicBezTo>
                  <a:cubicBezTo>
                    <a:pt x="79" y="164"/>
                    <a:pt x="82" y="163"/>
                    <a:pt x="84" y="160"/>
                  </a:cubicBezTo>
                  <a:cubicBezTo>
                    <a:pt x="86" y="157"/>
                    <a:pt x="85" y="154"/>
                    <a:pt x="84" y="151"/>
                  </a:cubicBezTo>
                  <a:cubicBezTo>
                    <a:pt x="84" y="149"/>
                    <a:pt x="80" y="149"/>
                    <a:pt x="80" y="147"/>
                  </a:cubicBezTo>
                  <a:cubicBezTo>
                    <a:pt x="82" y="145"/>
                    <a:pt x="86" y="146"/>
                    <a:pt x="88" y="144"/>
                  </a:cubicBezTo>
                  <a:cubicBezTo>
                    <a:pt x="90" y="142"/>
                    <a:pt x="90" y="139"/>
                    <a:pt x="88" y="139"/>
                  </a:cubicBezTo>
                  <a:cubicBezTo>
                    <a:pt x="85" y="138"/>
                    <a:pt x="81" y="141"/>
                    <a:pt x="78" y="142"/>
                  </a:cubicBezTo>
                  <a:cubicBezTo>
                    <a:pt x="74" y="144"/>
                    <a:pt x="71" y="148"/>
                    <a:pt x="67" y="149"/>
                  </a:cubicBezTo>
                  <a:cubicBezTo>
                    <a:pt x="66" y="149"/>
                    <a:pt x="65" y="146"/>
                    <a:pt x="63" y="146"/>
                  </a:cubicBezTo>
                  <a:cubicBezTo>
                    <a:pt x="58" y="144"/>
                    <a:pt x="53" y="144"/>
                    <a:pt x="47" y="144"/>
                  </a:cubicBezTo>
                  <a:cubicBezTo>
                    <a:pt x="42" y="144"/>
                    <a:pt x="36" y="146"/>
                    <a:pt x="32" y="144"/>
                  </a:cubicBezTo>
                  <a:cubicBezTo>
                    <a:pt x="29" y="142"/>
                    <a:pt x="29" y="138"/>
                    <a:pt x="29" y="136"/>
                  </a:cubicBezTo>
                  <a:cubicBezTo>
                    <a:pt x="29" y="133"/>
                    <a:pt x="36" y="130"/>
                    <a:pt x="34" y="127"/>
                  </a:cubicBezTo>
                  <a:cubicBezTo>
                    <a:pt x="30" y="123"/>
                    <a:pt x="23" y="125"/>
                    <a:pt x="19" y="122"/>
                  </a:cubicBezTo>
                  <a:cubicBezTo>
                    <a:pt x="17" y="121"/>
                    <a:pt x="20" y="120"/>
                    <a:pt x="21" y="119"/>
                  </a:cubicBezTo>
                  <a:cubicBezTo>
                    <a:pt x="28" y="116"/>
                    <a:pt x="36" y="113"/>
                    <a:pt x="44" y="111"/>
                  </a:cubicBezTo>
                  <a:cubicBezTo>
                    <a:pt x="46" y="110"/>
                    <a:pt x="48" y="112"/>
                    <a:pt x="50" y="111"/>
                  </a:cubicBezTo>
                  <a:cubicBezTo>
                    <a:pt x="51" y="110"/>
                    <a:pt x="50" y="107"/>
                    <a:pt x="52" y="107"/>
                  </a:cubicBezTo>
                  <a:cubicBezTo>
                    <a:pt x="58" y="105"/>
                    <a:pt x="65" y="103"/>
                    <a:pt x="71" y="103"/>
                  </a:cubicBezTo>
                  <a:cubicBezTo>
                    <a:pt x="73" y="103"/>
                    <a:pt x="72" y="106"/>
                    <a:pt x="71" y="106"/>
                  </a:cubicBezTo>
                  <a:cubicBezTo>
                    <a:pt x="70" y="108"/>
                    <a:pt x="64" y="111"/>
                    <a:pt x="67" y="111"/>
                  </a:cubicBezTo>
                  <a:cubicBezTo>
                    <a:pt x="74" y="114"/>
                    <a:pt x="83" y="114"/>
                    <a:pt x="91" y="112"/>
                  </a:cubicBezTo>
                  <a:cubicBezTo>
                    <a:pt x="93" y="112"/>
                    <a:pt x="94" y="109"/>
                    <a:pt x="94" y="107"/>
                  </a:cubicBezTo>
                  <a:cubicBezTo>
                    <a:pt x="93" y="103"/>
                    <a:pt x="88" y="102"/>
                    <a:pt x="88" y="98"/>
                  </a:cubicBezTo>
                  <a:cubicBezTo>
                    <a:pt x="87" y="97"/>
                    <a:pt x="91" y="97"/>
                    <a:pt x="92" y="97"/>
                  </a:cubicBezTo>
                  <a:cubicBezTo>
                    <a:pt x="95" y="99"/>
                    <a:pt x="96" y="103"/>
                    <a:pt x="99" y="104"/>
                  </a:cubicBezTo>
                  <a:cubicBezTo>
                    <a:pt x="103" y="106"/>
                    <a:pt x="108" y="107"/>
                    <a:pt x="113" y="107"/>
                  </a:cubicBezTo>
                  <a:cubicBezTo>
                    <a:pt x="114" y="107"/>
                    <a:pt x="116" y="104"/>
                    <a:pt x="114" y="103"/>
                  </a:cubicBezTo>
                  <a:cubicBezTo>
                    <a:pt x="109" y="100"/>
                    <a:pt x="102" y="100"/>
                    <a:pt x="96" y="97"/>
                  </a:cubicBezTo>
                  <a:cubicBezTo>
                    <a:pt x="95" y="97"/>
                    <a:pt x="94" y="95"/>
                    <a:pt x="93" y="94"/>
                  </a:cubicBezTo>
                  <a:cubicBezTo>
                    <a:pt x="88" y="93"/>
                    <a:pt x="82" y="96"/>
                    <a:pt x="77" y="93"/>
                  </a:cubicBezTo>
                  <a:cubicBezTo>
                    <a:pt x="75" y="92"/>
                    <a:pt x="78" y="89"/>
                    <a:pt x="77" y="87"/>
                  </a:cubicBezTo>
                  <a:cubicBezTo>
                    <a:pt x="76" y="84"/>
                    <a:pt x="74" y="81"/>
                    <a:pt x="72" y="79"/>
                  </a:cubicBezTo>
                  <a:cubicBezTo>
                    <a:pt x="68" y="74"/>
                    <a:pt x="59" y="72"/>
                    <a:pt x="58" y="65"/>
                  </a:cubicBezTo>
                  <a:cubicBezTo>
                    <a:pt x="57" y="61"/>
                    <a:pt x="62" y="57"/>
                    <a:pt x="66" y="55"/>
                  </a:cubicBezTo>
                  <a:cubicBezTo>
                    <a:pt x="68" y="53"/>
                    <a:pt x="70" y="55"/>
                    <a:pt x="73" y="55"/>
                  </a:cubicBezTo>
                  <a:cubicBezTo>
                    <a:pt x="79" y="54"/>
                    <a:pt x="86" y="53"/>
                    <a:pt x="93" y="50"/>
                  </a:cubicBezTo>
                  <a:cubicBezTo>
                    <a:pt x="97" y="49"/>
                    <a:pt x="102" y="47"/>
                    <a:pt x="106" y="43"/>
                  </a:cubicBezTo>
                  <a:cubicBezTo>
                    <a:pt x="108" y="41"/>
                    <a:pt x="108" y="37"/>
                    <a:pt x="110" y="35"/>
                  </a:cubicBezTo>
                  <a:cubicBezTo>
                    <a:pt x="113" y="31"/>
                    <a:pt x="118" y="28"/>
                    <a:pt x="123" y="25"/>
                  </a:cubicBezTo>
                  <a:cubicBezTo>
                    <a:pt x="128" y="23"/>
                    <a:pt x="133" y="22"/>
                    <a:pt x="138" y="20"/>
                  </a:cubicBezTo>
                  <a:cubicBezTo>
                    <a:pt x="141" y="19"/>
                    <a:pt x="144" y="17"/>
                    <a:pt x="148" y="15"/>
                  </a:cubicBezTo>
                  <a:cubicBezTo>
                    <a:pt x="152" y="13"/>
                    <a:pt x="155" y="10"/>
                    <a:pt x="160" y="9"/>
                  </a:cubicBezTo>
                  <a:cubicBezTo>
                    <a:pt x="163" y="9"/>
                    <a:pt x="167" y="11"/>
                    <a:pt x="170" y="11"/>
                  </a:cubicBezTo>
                  <a:cubicBezTo>
                    <a:pt x="174" y="11"/>
                    <a:pt x="178" y="11"/>
                    <a:pt x="181" y="10"/>
                  </a:cubicBezTo>
                  <a:cubicBezTo>
                    <a:pt x="186" y="7"/>
                    <a:pt x="188" y="1"/>
                    <a:pt x="192" y="0"/>
                  </a:cubicBezTo>
                  <a:cubicBezTo>
                    <a:pt x="196" y="0"/>
                    <a:pt x="201" y="2"/>
                    <a:pt x="202" y="6"/>
                  </a:cubicBezTo>
                  <a:cubicBezTo>
                    <a:pt x="203" y="8"/>
                    <a:pt x="198" y="9"/>
                    <a:pt x="197" y="11"/>
                  </a:cubicBezTo>
                  <a:cubicBezTo>
                    <a:pt x="196" y="12"/>
                    <a:pt x="196" y="14"/>
                    <a:pt x="197" y="14"/>
                  </a:cubicBezTo>
                  <a:cubicBezTo>
                    <a:pt x="199" y="14"/>
                    <a:pt x="201" y="11"/>
                    <a:pt x="203" y="10"/>
                  </a:cubicBezTo>
                  <a:cubicBezTo>
                    <a:pt x="206" y="8"/>
                    <a:pt x="208" y="6"/>
                    <a:pt x="210" y="6"/>
                  </a:cubicBezTo>
                  <a:cubicBezTo>
                    <a:pt x="212" y="6"/>
                    <a:pt x="213" y="7"/>
                    <a:pt x="213" y="8"/>
                  </a:cubicBezTo>
                  <a:cubicBezTo>
                    <a:pt x="214" y="11"/>
                    <a:pt x="211" y="15"/>
                    <a:pt x="213" y="16"/>
                  </a:cubicBezTo>
                  <a:cubicBezTo>
                    <a:pt x="216" y="17"/>
                    <a:pt x="219" y="12"/>
                    <a:pt x="222" y="11"/>
                  </a:cubicBezTo>
                  <a:cubicBezTo>
                    <a:pt x="226" y="10"/>
                    <a:pt x="230" y="11"/>
                    <a:pt x="234" y="11"/>
                  </a:cubicBezTo>
                  <a:cubicBezTo>
                    <a:pt x="236" y="11"/>
                    <a:pt x="238" y="11"/>
                    <a:pt x="239" y="13"/>
                  </a:cubicBezTo>
                  <a:cubicBezTo>
                    <a:pt x="239" y="14"/>
                    <a:pt x="235" y="15"/>
                    <a:pt x="235" y="17"/>
                  </a:cubicBezTo>
                  <a:cubicBezTo>
                    <a:pt x="236" y="19"/>
                    <a:pt x="240" y="17"/>
                    <a:pt x="241" y="18"/>
                  </a:cubicBezTo>
                  <a:cubicBezTo>
                    <a:pt x="244" y="20"/>
                    <a:pt x="244" y="25"/>
                    <a:pt x="247" y="25"/>
                  </a:cubicBezTo>
                  <a:cubicBezTo>
                    <a:pt x="251" y="25"/>
                    <a:pt x="253" y="20"/>
                    <a:pt x="257" y="19"/>
                  </a:cubicBezTo>
                  <a:cubicBezTo>
                    <a:pt x="261" y="18"/>
                    <a:pt x="265" y="19"/>
                    <a:pt x="268" y="19"/>
                  </a:cubicBezTo>
                  <a:cubicBezTo>
                    <a:pt x="271" y="20"/>
                    <a:pt x="274" y="20"/>
                    <a:pt x="276" y="21"/>
                  </a:cubicBezTo>
                  <a:cubicBezTo>
                    <a:pt x="280" y="23"/>
                    <a:pt x="283" y="25"/>
                    <a:pt x="286" y="26"/>
                  </a:cubicBezTo>
                  <a:cubicBezTo>
                    <a:pt x="292" y="27"/>
                    <a:pt x="298" y="26"/>
                    <a:pt x="304" y="27"/>
                  </a:cubicBezTo>
                  <a:cubicBezTo>
                    <a:pt x="307" y="28"/>
                    <a:pt x="309" y="32"/>
                    <a:pt x="312" y="32"/>
                  </a:cubicBezTo>
                  <a:cubicBezTo>
                    <a:pt x="317" y="32"/>
                    <a:pt x="320" y="27"/>
                    <a:pt x="325" y="27"/>
                  </a:cubicBezTo>
                  <a:cubicBezTo>
                    <a:pt x="329" y="26"/>
                    <a:pt x="332" y="28"/>
                    <a:pt x="336" y="29"/>
                  </a:cubicBezTo>
                  <a:cubicBezTo>
                    <a:pt x="339" y="30"/>
                    <a:pt x="343" y="32"/>
                    <a:pt x="346" y="33"/>
                  </a:cubicBezTo>
                  <a:cubicBezTo>
                    <a:pt x="348" y="35"/>
                    <a:pt x="351" y="36"/>
                    <a:pt x="353" y="38"/>
                  </a:cubicBezTo>
                  <a:lnTo>
                    <a:pt x="291" y="226"/>
                  </a:lnTo>
                  <a:lnTo>
                    <a:pt x="296" y="229"/>
                  </a:lnTo>
                  <a:cubicBezTo>
                    <a:pt x="298" y="230"/>
                    <a:pt x="298" y="232"/>
                    <a:pt x="300" y="231"/>
                  </a:cubicBezTo>
                  <a:cubicBezTo>
                    <a:pt x="302" y="230"/>
                    <a:pt x="303" y="223"/>
                    <a:pt x="306" y="224"/>
                  </a:cubicBezTo>
                  <a:lnTo>
                    <a:pt x="312" y="227"/>
                  </a:lnTo>
                  <a:cubicBezTo>
                    <a:pt x="315" y="228"/>
                    <a:pt x="313" y="233"/>
                    <a:pt x="314" y="236"/>
                  </a:cubicBezTo>
                  <a:cubicBezTo>
                    <a:pt x="316" y="241"/>
                    <a:pt x="319" y="245"/>
                    <a:pt x="321" y="249"/>
                  </a:cubicBezTo>
                  <a:cubicBezTo>
                    <a:pt x="322" y="251"/>
                    <a:pt x="322" y="253"/>
                    <a:pt x="324" y="253"/>
                  </a:cubicBezTo>
                  <a:cubicBezTo>
                    <a:pt x="327" y="254"/>
                    <a:pt x="327" y="251"/>
                    <a:pt x="329" y="250"/>
                  </a:cubicBezTo>
                  <a:cubicBezTo>
                    <a:pt x="331" y="249"/>
                    <a:pt x="335" y="252"/>
                    <a:pt x="336" y="250"/>
                  </a:cubicBezTo>
                  <a:cubicBezTo>
                    <a:pt x="336" y="247"/>
                    <a:pt x="338" y="245"/>
                    <a:pt x="341" y="244"/>
                  </a:cubicBezTo>
                  <a:cubicBezTo>
                    <a:pt x="342" y="244"/>
                    <a:pt x="341" y="242"/>
                    <a:pt x="341" y="241"/>
                  </a:cubicBezTo>
                  <a:cubicBezTo>
                    <a:pt x="344" y="239"/>
                    <a:pt x="348" y="237"/>
                    <a:pt x="351" y="238"/>
                  </a:cubicBezTo>
                  <a:cubicBezTo>
                    <a:pt x="353" y="238"/>
                    <a:pt x="354" y="241"/>
                    <a:pt x="355" y="244"/>
                  </a:cubicBezTo>
                  <a:cubicBezTo>
                    <a:pt x="356" y="246"/>
                    <a:pt x="353" y="248"/>
                    <a:pt x="354" y="250"/>
                  </a:cubicBezTo>
                  <a:cubicBezTo>
                    <a:pt x="355" y="252"/>
                    <a:pt x="358" y="251"/>
                    <a:pt x="360" y="253"/>
                  </a:cubicBezTo>
                  <a:cubicBezTo>
                    <a:pt x="361" y="255"/>
                    <a:pt x="361" y="259"/>
                    <a:pt x="363" y="261"/>
                  </a:cubicBezTo>
                  <a:cubicBezTo>
                    <a:pt x="365" y="265"/>
                    <a:pt x="370" y="267"/>
                    <a:pt x="372" y="271"/>
                  </a:cubicBezTo>
                  <a:cubicBezTo>
                    <a:pt x="373" y="274"/>
                    <a:pt x="370" y="279"/>
                    <a:pt x="372" y="283"/>
                  </a:cubicBezTo>
                  <a:cubicBezTo>
                    <a:pt x="374" y="287"/>
                    <a:pt x="375" y="292"/>
                    <a:pt x="378" y="296"/>
                  </a:cubicBezTo>
                  <a:cubicBezTo>
                    <a:pt x="380" y="300"/>
                    <a:pt x="385" y="299"/>
                    <a:pt x="388" y="302"/>
                  </a:cubicBezTo>
                  <a:cubicBezTo>
                    <a:pt x="389" y="302"/>
                    <a:pt x="388" y="304"/>
                    <a:pt x="389" y="305"/>
                  </a:cubicBezTo>
                  <a:cubicBezTo>
                    <a:pt x="390" y="307"/>
                    <a:pt x="392" y="307"/>
                    <a:pt x="394" y="30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4" name="Oval 775"/>
            <p:cNvSpPr>
              <a:spLocks noChangeAspect="1" noChangeArrowheads="1"/>
            </p:cNvSpPr>
            <p:nvPr/>
          </p:nvSpPr>
          <p:spPr bwMode="auto">
            <a:xfrm>
              <a:off x="3949700" y="3783013"/>
              <a:ext cx="9525" cy="793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5" name="Freeform 776"/>
            <p:cNvSpPr>
              <a:spLocks noChangeAspect="1"/>
            </p:cNvSpPr>
            <p:nvPr/>
          </p:nvSpPr>
          <p:spPr bwMode="auto">
            <a:xfrm>
              <a:off x="3971925" y="3776663"/>
              <a:ext cx="9525" cy="7937"/>
            </a:xfrm>
            <a:custGeom>
              <a:avLst/>
              <a:gdLst>
                <a:gd name="T0" fmla="*/ 3810 w 5"/>
                <a:gd name="T1" fmla="*/ 0 h 4"/>
                <a:gd name="T2" fmla="*/ 9525 w 5"/>
                <a:gd name="T3" fmla="*/ 3969 h 4"/>
                <a:gd name="T4" fmla="*/ 3810 w 5"/>
                <a:gd name="T5" fmla="*/ 7937 h 4"/>
                <a:gd name="T6" fmla="*/ 0 w 5"/>
                <a:gd name="T7" fmla="*/ 3969 h 4"/>
                <a:gd name="T8" fmla="*/ 3810 w 5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2" y="0"/>
                  </a:moveTo>
                  <a:cubicBezTo>
                    <a:pt x="3" y="0"/>
                    <a:pt x="5" y="1"/>
                    <a:pt x="5" y="2"/>
                  </a:cubicBezTo>
                  <a:cubicBezTo>
                    <a:pt x="5" y="4"/>
                    <a:pt x="3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6" name="Oval 777"/>
            <p:cNvSpPr>
              <a:spLocks noChangeAspect="1" noChangeArrowheads="1"/>
            </p:cNvSpPr>
            <p:nvPr/>
          </p:nvSpPr>
          <p:spPr bwMode="auto">
            <a:xfrm>
              <a:off x="3987800" y="3748088"/>
              <a:ext cx="9525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7" name="Freeform 778"/>
            <p:cNvSpPr>
              <a:spLocks noChangeAspect="1"/>
            </p:cNvSpPr>
            <p:nvPr/>
          </p:nvSpPr>
          <p:spPr bwMode="auto">
            <a:xfrm>
              <a:off x="3956050" y="3736975"/>
              <a:ext cx="11113" cy="7938"/>
            </a:xfrm>
            <a:custGeom>
              <a:avLst/>
              <a:gdLst>
                <a:gd name="T0" fmla="*/ 5557 w 6"/>
                <a:gd name="T1" fmla="*/ 0 h 4"/>
                <a:gd name="T2" fmla="*/ 9261 w 6"/>
                <a:gd name="T3" fmla="*/ 3969 h 4"/>
                <a:gd name="T4" fmla="*/ 3704 w 6"/>
                <a:gd name="T5" fmla="*/ 5953 h 4"/>
                <a:gd name="T6" fmla="*/ 0 w 6"/>
                <a:gd name="T7" fmla="*/ 1985 h 4"/>
                <a:gd name="T8" fmla="*/ 5557 w 6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3" y="0"/>
                  </a:moveTo>
                  <a:cubicBezTo>
                    <a:pt x="4" y="0"/>
                    <a:pt x="6" y="1"/>
                    <a:pt x="5" y="2"/>
                  </a:cubicBezTo>
                  <a:cubicBezTo>
                    <a:pt x="5" y="3"/>
                    <a:pt x="3" y="4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8" name="Freeform 779"/>
            <p:cNvSpPr>
              <a:spLocks noChangeAspect="1"/>
            </p:cNvSpPr>
            <p:nvPr/>
          </p:nvSpPr>
          <p:spPr bwMode="auto">
            <a:xfrm>
              <a:off x="3987800" y="3733800"/>
              <a:ext cx="6350" cy="4763"/>
            </a:xfrm>
            <a:custGeom>
              <a:avLst/>
              <a:gdLst>
                <a:gd name="T0" fmla="*/ 2117 w 3"/>
                <a:gd name="T1" fmla="*/ 0 h 3"/>
                <a:gd name="T2" fmla="*/ 6350 w 3"/>
                <a:gd name="T3" fmla="*/ 1588 h 3"/>
                <a:gd name="T4" fmla="*/ 4233 w 3"/>
                <a:gd name="T5" fmla="*/ 4763 h 3"/>
                <a:gd name="T6" fmla="*/ 0 w 3"/>
                <a:gd name="T7" fmla="*/ 1588 h 3"/>
                <a:gd name="T8" fmla="*/ 211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79" name="Freeform 780"/>
            <p:cNvSpPr>
              <a:spLocks noChangeAspect="1"/>
            </p:cNvSpPr>
            <p:nvPr/>
          </p:nvSpPr>
          <p:spPr bwMode="auto">
            <a:xfrm>
              <a:off x="3940175" y="3729038"/>
              <a:ext cx="6350" cy="6350"/>
            </a:xfrm>
            <a:custGeom>
              <a:avLst/>
              <a:gdLst>
                <a:gd name="T0" fmla="*/ 2117 w 3"/>
                <a:gd name="T1" fmla="*/ 0 h 3"/>
                <a:gd name="T2" fmla="*/ 6350 w 3"/>
                <a:gd name="T3" fmla="*/ 2117 h 3"/>
                <a:gd name="T4" fmla="*/ 4233 w 3"/>
                <a:gd name="T5" fmla="*/ 6350 h 3"/>
                <a:gd name="T6" fmla="*/ 0 w 3"/>
                <a:gd name="T7" fmla="*/ 4233 h 3"/>
                <a:gd name="T8" fmla="*/ 211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0" name="Freeform 781"/>
            <p:cNvSpPr>
              <a:spLocks noChangeAspect="1"/>
            </p:cNvSpPr>
            <p:nvPr/>
          </p:nvSpPr>
          <p:spPr bwMode="auto">
            <a:xfrm>
              <a:off x="3978275" y="3775075"/>
              <a:ext cx="7938" cy="6350"/>
            </a:xfrm>
            <a:custGeom>
              <a:avLst/>
              <a:gdLst>
                <a:gd name="T0" fmla="*/ 3969 w 4"/>
                <a:gd name="T1" fmla="*/ 0 h 3"/>
                <a:gd name="T2" fmla="*/ 7938 w 4"/>
                <a:gd name="T3" fmla="*/ 2117 h 3"/>
                <a:gd name="T4" fmla="*/ 3969 w 4"/>
                <a:gd name="T5" fmla="*/ 4233 h 3"/>
                <a:gd name="T6" fmla="*/ 0 w 4"/>
                <a:gd name="T7" fmla="*/ 2117 h 3"/>
                <a:gd name="T8" fmla="*/ 3969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0"/>
                  </a:moveTo>
                  <a:cubicBezTo>
                    <a:pt x="2" y="0"/>
                    <a:pt x="4" y="0"/>
                    <a:pt x="4" y="1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1" name="Freeform 782"/>
            <p:cNvSpPr>
              <a:spLocks noChangeAspect="1"/>
            </p:cNvSpPr>
            <p:nvPr/>
          </p:nvSpPr>
          <p:spPr bwMode="auto">
            <a:xfrm>
              <a:off x="3940175" y="3784600"/>
              <a:ext cx="6350" cy="4763"/>
            </a:xfrm>
            <a:custGeom>
              <a:avLst/>
              <a:gdLst>
                <a:gd name="T0" fmla="*/ 2117 w 3"/>
                <a:gd name="T1" fmla="*/ 0 h 2"/>
                <a:gd name="T2" fmla="*/ 6350 w 3"/>
                <a:gd name="T3" fmla="*/ 2382 h 2"/>
                <a:gd name="T4" fmla="*/ 4233 w 3"/>
                <a:gd name="T5" fmla="*/ 4763 h 2"/>
                <a:gd name="T6" fmla="*/ 0 w 3"/>
                <a:gd name="T7" fmla="*/ 4763 h 2"/>
                <a:gd name="T8" fmla="*/ 211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2" name="Freeform 783"/>
            <p:cNvSpPr>
              <a:spLocks noChangeAspect="1"/>
            </p:cNvSpPr>
            <p:nvPr/>
          </p:nvSpPr>
          <p:spPr bwMode="auto">
            <a:xfrm>
              <a:off x="3933825" y="3719513"/>
              <a:ext cx="9525" cy="7937"/>
            </a:xfrm>
            <a:custGeom>
              <a:avLst/>
              <a:gdLst>
                <a:gd name="T0" fmla="*/ 1905 w 5"/>
                <a:gd name="T1" fmla="*/ 1984 h 4"/>
                <a:gd name="T2" fmla="*/ 7620 w 5"/>
                <a:gd name="T3" fmla="*/ 1984 h 4"/>
                <a:gd name="T4" fmla="*/ 5715 w 5"/>
                <a:gd name="T5" fmla="*/ 7937 h 4"/>
                <a:gd name="T6" fmla="*/ 0 w 5"/>
                <a:gd name="T7" fmla="*/ 5953 h 4"/>
                <a:gd name="T8" fmla="*/ 1905 w 5"/>
                <a:gd name="T9" fmla="*/ 1984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1" y="1"/>
                  </a:moveTo>
                  <a:cubicBezTo>
                    <a:pt x="2" y="0"/>
                    <a:pt x="4" y="1"/>
                    <a:pt x="4" y="1"/>
                  </a:cubicBezTo>
                  <a:cubicBezTo>
                    <a:pt x="5" y="2"/>
                    <a:pt x="4" y="4"/>
                    <a:pt x="3" y="4"/>
                  </a:cubicBezTo>
                  <a:cubicBezTo>
                    <a:pt x="2" y="4"/>
                    <a:pt x="0" y="4"/>
                    <a:pt x="0" y="3"/>
                  </a:cubicBezTo>
                  <a:cubicBezTo>
                    <a:pt x="0" y="3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3" name="Freeform 784"/>
            <p:cNvSpPr>
              <a:spLocks noChangeAspect="1"/>
            </p:cNvSpPr>
            <p:nvPr/>
          </p:nvSpPr>
          <p:spPr bwMode="auto">
            <a:xfrm>
              <a:off x="3870325" y="3090863"/>
              <a:ext cx="9525" cy="4762"/>
            </a:xfrm>
            <a:custGeom>
              <a:avLst/>
              <a:gdLst>
                <a:gd name="T0" fmla="*/ 7620 w 5"/>
                <a:gd name="T1" fmla="*/ 2381 h 2"/>
                <a:gd name="T2" fmla="*/ 9525 w 5"/>
                <a:gd name="T3" fmla="*/ 4762 h 2"/>
                <a:gd name="T4" fmla="*/ 5715 w 5"/>
                <a:gd name="T5" fmla="*/ 4762 h 2"/>
                <a:gd name="T6" fmla="*/ 1905 w 5"/>
                <a:gd name="T7" fmla="*/ 2381 h 2"/>
                <a:gd name="T8" fmla="*/ 7620 w 5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4" y="1"/>
                  </a:moveTo>
                  <a:cubicBezTo>
                    <a:pt x="4" y="1"/>
                    <a:pt x="5" y="1"/>
                    <a:pt x="5" y="2"/>
                  </a:cubicBezTo>
                  <a:cubicBezTo>
                    <a:pt x="5" y="2"/>
                    <a:pt x="4" y="2"/>
                    <a:pt x="3" y="2"/>
                  </a:cubicBezTo>
                  <a:cubicBezTo>
                    <a:pt x="2" y="2"/>
                    <a:pt x="0" y="1"/>
                    <a:pt x="1" y="1"/>
                  </a:cubicBezTo>
                  <a:cubicBezTo>
                    <a:pt x="1" y="0"/>
                    <a:pt x="3" y="0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4" name="Freeform 785"/>
            <p:cNvSpPr>
              <a:spLocks noChangeAspect="1"/>
            </p:cNvSpPr>
            <p:nvPr/>
          </p:nvSpPr>
          <p:spPr bwMode="auto">
            <a:xfrm>
              <a:off x="3879850" y="3082925"/>
              <a:ext cx="9525" cy="6350"/>
            </a:xfrm>
            <a:custGeom>
              <a:avLst/>
              <a:gdLst>
                <a:gd name="T0" fmla="*/ 7620 w 5"/>
                <a:gd name="T1" fmla="*/ 4233 h 3"/>
                <a:gd name="T2" fmla="*/ 9525 w 5"/>
                <a:gd name="T3" fmla="*/ 6350 h 3"/>
                <a:gd name="T4" fmla="*/ 5715 w 5"/>
                <a:gd name="T5" fmla="*/ 6350 h 3"/>
                <a:gd name="T6" fmla="*/ 1905 w 5"/>
                <a:gd name="T7" fmla="*/ 2117 h 3"/>
                <a:gd name="T8" fmla="*/ 7620 w 5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4" y="2"/>
                  </a:moveTo>
                  <a:cubicBezTo>
                    <a:pt x="4" y="2"/>
                    <a:pt x="5" y="2"/>
                    <a:pt x="5" y="3"/>
                  </a:cubicBezTo>
                  <a:cubicBezTo>
                    <a:pt x="5" y="3"/>
                    <a:pt x="3" y="3"/>
                    <a:pt x="3" y="3"/>
                  </a:cubicBezTo>
                  <a:cubicBezTo>
                    <a:pt x="2" y="2"/>
                    <a:pt x="0" y="2"/>
                    <a:pt x="1" y="1"/>
                  </a:cubicBezTo>
                  <a:cubicBezTo>
                    <a:pt x="1" y="0"/>
                    <a:pt x="3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5" name="Freeform 786"/>
            <p:cNvSpPr>
              <a:spLocks noChangeAspect="1"/>
            </p:cNvSpPr>
            <p:nvPr/>
          </p:nvSpPr>
          <p:spPr bwMode="auto">
            <a:xfrm>
              <a:off x="3935413" y="3114675"/>
              <a:ext cx="12700" cy="7938"/>
            </a:xfrm>
            <a:custGeom>
              <a:avLst/>
              <a:gdLst>
                <a:gd name="T0" fmla="*/ 3629 w 7"/>
                <a:gd name="T1" fmla="*/ 3969 h 4"/>
                <a:gd name="T2" fmla="*/ 0 w 7"/>
                <a:gd name="T3" fmla="*/ 0 h 4"/>
                <a:gd name="T4" fmla="*/ 7257 w 7"/>
                <a:gd name="T5" fmla="*/ 0 h 4"/>
                <a:gd name="T6" fmla="*/ 10886 w 7"/>
                <a:gd name="T7" fmla="*/ 5953 h 4"/>
                <a:gd name="T8" fmla="*/ 3629 w 7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4"/>
                <a:gd name="T17" fmla="*/ 7 w 7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4">
                  <a:moveTo>
                    <a:pt x="2" y="2"/>
                  </a:moveTo>
                  <a:cubicBezTo>
                    <a:pt x="1" y="2"/>
                    <a:pt x="0" y="1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5" y="1"/>
                    <a:pt x="7" y="2"/>
                    <a:pt x="6" y="3"/>
                  </a:cubicBezTo>
                  <a:cubicBezTo>
                    <a:pt x="6" y="4"/>
                    <a:pt x="4" y="3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6" name="Freeform 787"/>
            <p:cNvSpPr>
              <a:spLocks noChangeAspect="1"/>
            </p:cNvSpPr>
            <p:nvPr/>
          </p:nvSpPr>
          <p:spPr bwMode="auto">
            <a:xfrm>
              <a:off x="3806825" y="3054350"/>
              <a:ext cx="4763" cy="6350"/>
            </a:xfrm>
            <a:custGeom>
              <a:avLst/>
              <a:gdLst>
                <a:gd name="T0" fmla="*/ 4763 w 2"/>
                <a:gd name="T1" fmla="*/ 4233 h 3"/>
                <a:gd name="T2" fmla="*/ 2382 w 2"/>
                <a:gd name="T3" fmla="*/ 6350 h 3"/>
                <a:gd name="T4" fmla="*/ 0 w 2"/>
                <a:gd name="T5" fmla="*/ 4233 h 3"/>
                <a:gd name="T6" fmla="*/ 2382 w 2"/>
                <a:gd name="T7" fmla="*/ 0 h 3"/>
                <a:gd name="T8" fmla="*/ 4763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7" name="Freeform 788"/>
            <p:cNvSpPr>
              <a:spLocks noChangeAspect="1"/>
            </p:cNvSpPr>
            <p:nvPr/>
          </p:nvSpPr>
          <p:spPr bwMode="auto">
            <a:xfrm>
              <a:off x="3898900" y="3081338"/>
              <a:ext cx="6350" cy="6350"/>
            </a:xfrm>
            <a:custGeom>
              <a:avLst/>
              <a:gdLst>
                <a:gd name="T0" fmla="*/ 4233 w 3"/>
                <a:gd name="T1" fmla="*/ 2117 h 3"/>
                <a:gd name="T2" fmla="*/ 6350 w 3"/>
                <a:gd name="T3" fmla="*/ 4233 h 3"/>
                <a:gd name="T4" fmla="*/ 2117 w 3"/>
                <a:gd name="T5" fmla="*/ 6350 h 3"/>
                <a:gd name="T6" fmla="*/ 0 w 3"/>
                <a:gd name="T7" fmla="*/ 2117 h 3"/>
                <a:gd name="T8" fmla="*/ 4233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8" name="Freeform 789"/>
            <p:cNvSpPr>
              <a:spLocks noChangeAspect="1"/>
            </p:cNvSpPr>
            <p:nvPr/>
          </p:nvSpPr>
          <p:spPr bwMode="auto">
            <a:xfrm>
              <a:off x="3944938" y="3144838"/>
              <a:ext cx="3175" cy="6350"/>
            </a:xfrm>
            <a:custGeom>
              <a:avLst/>
              <a:gdLst>
                <a:gd name="T0" fmla="*/ 3175 w 2"/>
                <a:gd name="T1" fmla="*/ 2117 h 3"/>
                <a:gd name="T2" fmla="*/ 3175 w 2"/>
                <a:gd name="T3" fmla="*/ 4233 h 3"/>
                <a:gd name="T4" fmla="*/ 1588 w 2"/>
                <a:gd name="T5" fmla="*/ 4233 h 3"/>
                <a:gd name="T6" fmla="*/ 0 w 2"/>
                <a:gd name="T7" fmla="*/ 0 h 3"/>
                <a:gd name="T8" fmla="*/ 3175 w 2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89" name="Oval 790"/>
            <p:cNvSpPr>
              <a:spLocks noChangeAspect="1" noChangeArrowheads="1"/>
            </p:cNvSpPr>
            <p:nvPr/>
          </p:nvSpPr>
          <p:spPr bwMode="auto">
            <a:xfrm>
              <a:off x="3883025" y="3073400"/>
              <a:ext cx="3175" cy="317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0" name="Freeform 791"/>
            <p:cNvSpPr>
              <a:spLocks noChangeAspect="1"/>
            </p:cNvSpPr>
            <p:nvPr/>
          </p:nvSpPr>
          <p:spPr bwMode="auto">
            <a:xfrm>
              <a:off x="1314450" y="2352675"/>
              <a:ext cx="15875" cy="12700"/>
            </a:xfrm>
            <a:custGeom>
              <a:avLst/>
              <a:gdLst>
                <a:gd name="T0" fmla="*/ 9922 w 8"/>
                <a:gd name="T1" fmla="*/ 9071 h 7"/>
                <a:gd name="T2" fmla="*/ 1984 w 8"/>
                <a:gd name="T3" fmla="*/ 10886 h 7"/>
                <a:gd name="T4" fmla="*/ 3969 w 8"/>
                <a:gd name="T5" fmla="*/ 5443 h 7"/>
                <a:gd name="T6" fmla="*/ 13891 w 8"/>
                <a:gd name="T7" fmla="*/ 1814 h 7"/>
                <a:gd name="T8" fmla="*/ 9922 w 8"/>
                <a:gd name="T9" fmla="*/ 907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7"/>
                <a:gd name="T17" fmla="*/ 8 w 8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7">
                  <a:moveTo>
                    <a:pt x="5" y="5"/>
                  </a:moveTo>
                  <a:cubicBezTo>
                    <a:pt x="4" y="6"/>
                    <a:pt x="2" y="7"/>
                    <a:pt x="1" y="6"/>
                  </a:cubicBezTo>
                  <a:cubicBezTo>
                    <a:pt x="0" y="5"/>
                    <a:pt x="1" y="4"/>
                    <a:pt x="2" y="3"/>
                  </a:cubicBezTo>
                  <a:cubicBezTo>
                    <a:pt x="4" y="2"/>
                    <a:pt x="6" y="0"/>
                    <a:pt x="7" y="1"/>
                  </a:cubicBezTo>
                  <a:cubicBezTo>
                    <a:pt x="8" y="2"/>
                    <a:pt x="6" y="4"/>
                    <a:pt x="5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1" name="Freeform 792"/>
            <p:cNvSpPr>
              <a:spLocks noChangeAspect="1"/>
            </p:cNvSpPr>
            <p:nvPr/>
          </p:nvSpPr>
          <p:spPr bwMode="auto">
            <a:xfrm>
              <a:off x="2786063" y="3665538"/>
              <a:ext cx="9525" cy="6350"/>
            </a:xfrm>
            <a:custGeom>
              <a:avLst/>
              <a:gdLst>
                <a:gd name="T0" fmla="*/ 7620 w 5"/>
                <a:gd name="T1" fmla="*/ 3175 h 4"/>
                <a:gd name="T2" fmla="*/ 9525 w 5"/>
                <a:gd name="T3" fmla="*/ 6350 h 4"/>
                <a:gd name="T4" fmla="*/ 3810 w 5"/>
                <a:gd name="T5" fmla="*/ 4762 h 4"/>
                <a:gd name="T6" fmla="*/ 1905 w 5"/>
                <a:gd name="T7" fmla="*/ 0 h 4"/>
                <a:gd name="T8" fmla="*/ 7620 w 5"/>
                <a:gd name="T9" fmla="*/ 317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4" y="2"/>
                  </a:moveTo>
                  <a:cubicBezTo>
                    <a:pt x="4" y="2"/>
                    <a:pt x="5" y="3"/>
                    <a:pt x="5" y="4"/>
                  </a:cubicBezTo>
                  <a:cubicBezTo>
                    <a:pt x="4" y="4"/>
                    <a:pt x="3" y="3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2" y="0"/>
                    <a:pt x="3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2" name="Freeform 793"/>
            <p:cNvSpPr>
              <a:spLocks noChangeAspect="1"/>
            </p:cNvSpPr>
            <p:nvPr/>
          </p:nvSpPr>
          <p:spPr bwMode="auto">
            <a:xfrm>
              <a:off x="1846263" y="3362325"/>
              <a:ext cx="11112" cy="11113"/>
            </a:xfrm>
            <a:custGeom>
              <a:avLst/>
              <a:gdLst>
                <a:gd name="T0" fmla="*/ 7408 w 6"/>
                <a:gd name="T1" fmla="*/ 5557 h 6"/>
                <a:gd name="T2" fmla="*/ 9260 w 6"/>
                <a:gd name="T3" fmla="*/ 11113 h 6"/>
                <a:gd name="T4" fmla="*/ 3704 w 6"/>
                <a:gd name="T5" fmla="*/ 7409 h 6"/>
                <a:gd name="T6" fmla="*/ 1852 w 6"/>
                <a:gd name="T7" fmla="*/ 0 h 6"/>
                <a:gd name="T8" fmla="*/ 7408 w 6"/>
                <a:gd name="T9" fmla="*/ 555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4" y="3"/>
                  </a:moveTo>
                  <a:cubicBezTo>
                    <a:pt x="5" y="4"/>
                    <a:pt x="6" y="6"/>
                    <a:pt x="5" y="6"/>
                  </a:cubicBezTo>
                  <a:cubicBezTo>
                    <a:pt x="4" y="6"/>
                    <a:pt x="3" y="5"/>
                    <a:pt x="2" y="4"/>
                  </a:cubicBezTo>
                  <a:cubicBezTo>
                    <a:pt x="2" y="2"/>
                    <a:pt x="0" y="0"/>
                    <a:pt x="1" y="0"/>
                  </a:cubicBezTo>
                  <a:cubicBezTo>
                    <a:pt x="2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3" name="Freeform 794"/>
            <p:cNvSpPr>
              <a:spLocks noChangeAspect="1"/>
            </p:cNvSpPr>
            <p:nvPr/>
          </p:nvSpPr>
          <p:spPr bwMode="auto">
            <a:xfrm>
              <a:off x="1806575" y="3392488"/>
              <a:ext cx="1588" cy="9525"/>
            </a:xfrm>
            <a:custGeom>
              <a:avLst/>
              <a:gdLst>
                <a:gd name="T0" fmla="*/ 1588 w 1"/>
                <a:gd name="T1" fmla="*/ 5715 h 5"/>
                <a:gd name="T2" fmla="*/ 1588 w 1"/>
                <a:gd name="T3" fmla="*/ 9525 h 5"/>
                <a:gd name="T4" fmla="*/ 0 w 1"/>
                <a:gd name="T5" fmla="*/ 5715 h 5"/>
                <a:gd name="T6" fmla="*/ 1588 w 1"/>
                <a:gd name="T7" fmla="*/ 1905 h 5"/>
                <a:gd name="T8" fmla="*/ 1588 w 1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5"/>
                <a:gd name="T17" fmla="*/ 1 w 1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5">
                  <a:moveTo>
                    <a:pt x="1" y="3"/>
                  </a:moveTo>
                  <a:cubicBezTo>
                    <a:pt x="1" y="4"/>
                    <a:pt x="1" y="5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4" name="Freeform 795"/>
            <p:cNvSpPr>
              <a:spLocks noChangeAspect="1"/>
            </p:cNvSpPr>
            <p:nvPr/>
          </p:nvSpPr>
          <p:spPr bwMode="auto">
            <a:xfrm>
              <a:off x="1733550" y="3373438"/>
              <a:ext cx="3175" cy="9525"/>
            </a:xfrm>
            <a:custGeom>
              <a:avLst/>
              <a:gdLst>
                <a:gd name="T0" fmla="*/ 3175 w 1"/>
                <a:gd name="T1" fmla="*/ 5715 h 5"/>
                <a:gd name="T2" fmla="*/ 0 w 1"/>
                <a:gd name="T3" fmla="*/ 9525 h 5"/>
                <a:gd name="T4" fmla="*/ 0 w 1"/>
                <a:gd name="T5" fmla="*/ 5715 h 5"/>
                <a:gd name="T6" fmla="*/ 3175 w 1"/>
                <a:gd name="T7" fmla="*/ 0 h 5"/>
                <a:gd name="T8" fmla="*/ 3175 w 1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5"/>
                <a:gd name="T17" fmla="*/ 1 w 1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5">
                  <a:moveTo>
                    <a:pt x="1" y="3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1" y="1"/>
                    <a:pt x="1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5" name="Freeform 796"/>
            <p:cNvSpPr>
              <a:spLocks noChangeAspect="1"/>
            </p:cNvSpPr>
            <p:nvPr/>
          </p:nvSpPr>
          <p:spPr bwMode="auto">
            <a:xfrm>
              <a:off x="1738313" y="3278188"/>
              <a:ext cx="7937" cy="9525"/>
            </a:xfrm>
            <a:custGeom>
              <a:avLst/>
              <a:gdLst>
                <a:gd name="T0" fmla="*/ 3969 w 4"/>
                <a:gd name="T1" fmla="*/ 5715 h 5"/>
                <a:gd name="T2" fmla="*/ 0 w 4"/>
                <a:gd name="T3" fmla="*/ 7620 h 5"/>
                <a:gd name="T4" fmla="*/ 1984 w 4"/>
                <a:gd name="T5" fmla="*/ 3810 h 5"/>
                <a:gd name="T6" fmla="*/ 5953 w 4"/>
                <a:gd name="T7" fmla="*/ 1905 h 5"/>
                <a:gd name="T8" fmla="*/ 3969 w 4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3"/>
                  </a:moveTo>
                  <a:cubicBezTo>
                    <a:pt x="1" y="4"/>
                    <a:pt x="0" y="5"/>
                    <a:pt x="0" y="4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2"/>
                    <a:pt x="3" y="0"/>
                    <a:pt x="3" y="1"/>
                  </a:cubicBezTo>
                  <a:cubicBezTo>
                    <a:pt x="4" y="2"/>
                    <a:pt x="2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6" name="Freeform 797"/>
            <p:cNvSpPr>
              <a:spLocks noChangeAspect="1"/>
            </p:cNvSpPr>
            <p:nvPr/>
          </p:nvSpPr>
          <p:spPr bwMode="auto">
            <a:xfrm>
              <a:off x="781050" y="3603625"/>
              <a:ext cx="9525" cy="4763"/>
            </a:xfrm>
            <a:custGeom>
              <a:avLst/>
              <a:gdLst>
                <a:gd name="T0" fmla="*/ 3810 w 5"/>
                <a:gd name="T1" fmla="*/ 4763 h 2"/>
                <a:gd name="T2" fmla="*/ 1905 w 5"/>
                <a:gd name="T3" fmla="*/ 2382 h 2"/>
                <a:gd name="T4" fmla="*/ 5715 w 5"/>
                <a:gd name="T5" fmla="*/ 0 h 2"/>
                <a:gd name="T6" fmla="*/ 9525 w 5"/>
                <a:gd name="T7" fmla="*/ 2382 h 2"/>
                <a:gd name="T8" fmla="*/ 3810 w 5"/>
                <a:gd name="T9" fmla="*/ 476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2" y="2"/>
                  </a:moveTo>
                  <a:cubicBezTo>
                    <a:pt x="2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2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7" name="Freeform 798"/>
            <p:cNvSpPr>
              <a:spLocks noChangeAspect="1"/>
            </p:cNvSpPr>
            <p:nvPr/>
          </p:nvSpPr>
          <p:spPr bwMode="auto">
            <a:xfrm>
              <a:off x="976313" y="2419350"/>
              <a:ext cx="14287" cy="11113"/>
            </a:xfrm>
            <a:custGeom>
              <a:avLst/>
              <a:gdLst>
                <a:gd name="T0" fmla="*/ 5358 w 8"/>
                <a:gd name="T1" fmla="*/ 7409 h 6"/>
                <a:gd name="T2" fmla="*/ 0 w 8"/>
                <a:gd name="T3" fmla="*/ 9261 h 6"/>
                <a:gd name="T4" fmla="*/ 5358 w 8"/>
                <a:gd name="T5" fmla="*/ 5557 h 6"/>
                <a:gd name="T6" fmla="*/ 14287 w 8"/>
                <a:gd name="T7" fmla="*/ 1852 h 6"/>
                <a:gd name="T8" fmla="*/ 5358 w 8"/>
                <a:gd name="T9" fmla="*/ 7409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3" y="4"/>
                  </a:moveTo>
                  <a:cubicBezTo>
                    <a:pt x="3" y="5"/>
                    <a:pt x="1" y="6"/>
                    <a:pt x="0" y="5"/>
                  </a:cubicBezTo>
                  <a:cubicBezTo>
                    <a:pt x="0" y="5"/>
                    <a:pt x="2" y="3"/>
                    <a:pt x="3" y="3"/>
                  </a:cubicBezTo>
                  <a:cubicBezTo>
                    <a:pt x="4" y="2"/>
                    <a:pt x="7" y="0"/>
                    <a:pt x="8" y="1"/>
                  </a:cubicBezTo>
                  <a:cubicBezTo>
                    <a:pt x="8" y="2"/>
                    <a:pt x="4" y="4"/>
                    <a:pt x="3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8" name="Freeform 799"/>
            <p:cNvSpPr>
              <a:spLocks noChangeAspect="1"/>
            </p:cNvSpPr>
            <p:nvPr/>
          </p:nvSpPr>
          <p:spPr bwMode="auto">
            <a:xfrm>
              <a:off x="530225" y="2659063"/>
              <a:ext cx="7938" cy="7937"/>
            </a:xfrm>
            <a:custGeom>
              <a:avLst/>
              <a:gdLst>
                <a:gd name="T0" fmla="*/ 3969 w 4"/>
                <a:gd name="T1" fmla="*/ 5953 h 4"/>
                <a:gd name="T2" fmla="*/ 0 w 4"/>
                <a:gd name="T3" fmla="*/ 5953 h 4"/>
                <a:gd name="T4" fmla="*/ 1985 w 4"/>
                <a:gd name="T5" fmla="*/ 1984 h 4"/>
                <a:gd name="T6" fmla="*/ 7938 w 4"/>
                <a:gd name="T7" fmla="*/ 1984 h 4"/>
                <a:gd name="T8" fmla="*/ 3969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2" y="3"/>
                    <a:pt x="1" y="4"/>
                    <a:pt x="0" y="3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1"/>
                    <a:pt x="4" y="0"/>
                    <a:pt x="4" y="1"/>
                  </a:cubicBezTo>
                  <a:cubicBezTo>
                    <a:pt x="4" y="1"/>
                    <a:pt x="3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799" name="Freeform 800"/>
            <p:cNvSpPr>
              <a:spLocks noChangeAspect="1"/>
            </p:cNvSpPr>
            <p:nvPr/>
          </p:nvSpPr>
          <p:spPr bwMode="auto">
            <a:xfrm>
              <a:off x="617538" y="2643188"/>
              <a:ext cx="20637" cy="6350"/>
            </a:xfrm>
            <a:custGeom>
              <a:avLst/>
              <a:gdLst>
                <a:gd name="T0" fmla="*/ 7504 w 11"/>
                <a:gd name="T1" fmla="*/ 6350 h 3"/>
                <a:gd name="T2" fmla="*/ 1876 w 11"/>
                <a:gd name="T3" fmla="*/ 6350 h 3"/>
                <a:gd name="T4" fmla="*/ 9380 w 11"/>
                <a:gd name="T5" fmla="*/ 2117 h 3"/>
                <a:gd name="T6" fmla="*/ 20637 w 11"/>
                <a:gd name="T7" fmla="*/ 2117 h 3"/>
                <a:gd name="T8" fmla="*/ 7504 w 11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3"/>
                <a:gd name="T17" fmla="*/ 11 w 1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3">
                  <a:moveTo>
                    <a:pt x="4" y="3"/>
                  </a:moveTo>
                  <a:cubicBezTo>
                    <a:pt x="3" y="3"/>
                    <a:pt x="0" y="3"/>
                    <a:pt x="1" y="3"/>
                  </a:cubicBezTo>
                  <a:cubicBezTo>
                    <a:pt x="1" y="2"/>
                    <a:pt x="3" y="2"/>
                    <a:pt x="5" y="1"/>
                  </a:cubicBezTo>
                  <a:cubicBezTo>
                    <a:pt x="7" y="1"/>
                    <a:pt x="11" y="0"/>
                    <a:pt x="11" y="1"/>
                  </a:cubicBezTo>
                  <a:cubicBezTo>
                    <a:pt x="10" y="2"/>
                    <a:pt x="7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0" name="Freeform 801"/>
            <p:cNvSpPr>
              <a:spLocks noChangeAspect="1"/>
            </p:cNvSpPr>
            <p:nvPr/>
          </p:nvSpPr>
          <p:spPr bwMode="auto">
            <a:xfrm>
              <a:off x="955675" y="2540000"/>
              <a:ext cx="6350" cy="9525"/>
            </a:xfrm>
            <a:custGeom>
              <a:avLst/>
              <a:gdLst>
                <a:gd name="T0" fmla="*/ 3175 w 4"/>
                <a:gd name="T1" fmla="*/ 5715 h 5"/>
                <a:gd name="T2" fmla="*/ 0 w 4"/>
                <a:gd name="T3" fmla="*/ 7620 h 5"/>
                <a:gd name="T4" fmla="*/ 1588 w 4"/>
                <a:gd name="T5" fmla="*/ 3810 h 5"/>
                <a:gd name="T6" fmla="*/ 4762 w 4"/>
                <a:gd name="T7" fmla="*/ 1905 h 5"/>
                <a:gd name="T8" fmla="*/ 3175 w 4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3"/>
                  </a:moveTo>
                  <a:cubicBezTo>
                    <a:pt x="2" y="4"/>
                    <a:pt x="1" y="5"/>
                    <a:pt x="0" y="4"/>
                  </a:cubicBezTo>
                  <a:cubicBezTo>
                    <a:pt x="0" y="4"/>
                    <a:pt x="1" y="3"/>
                    <a:pt x="1" y="2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4" y="1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1" name="Freeform 802"/>
            <p:cNvSpPr>
              <a:spLocks noChangeAspect="1"/>
            </p:cNvSpPr>
            <p:nvPr/>
          </p:nvSpPr>
          <p:spPr bwMode="auto">
            <a:xfrm>
              <a:off x="1089025" y="2500313"/>
              <a:ext cx="9525" cy="6350"/>
            </a:xfrm>
            <a:custGeom>
              <a:avLst/>
              <a:gdLst>
                <a:gd name="T0" fmla="*/ 3810 w 5"/>
                <a:gd name="T1" fmla="*/ 4233 h 3"/>
                <a:gd name="T2" fmla="*/ 1905 w 5"/>
                <a:gd name="T3" fmla="*/ 6350 h 3"/>
                <a:gd name="T4" fmla="*/ 3810 w 5"/>
                <a:gd name="T5" fmla="*/ 2117 h 3"/>
                <a:gd name="T6" fmla="*/ 7620 w 5"/>
                <a:gd name="T7" fmla="*/ 0 h 3"/>
                <a:gd name="T8" fmla="*/ 3810 w 5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1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2" name="Freeform 803"/>
            <p:cNvSpPr>
              <a:spLocks noChangeAspect="1"/>
            </p:cNvSpPr>
            <p:nvPr/>
          </p:nvSpPr>
          <p:spPr bwMode="auto">
            <a:xfrm>
              <a:off x="1357313" y="2374900"/>
              <a:ext cx="4762" cy="7938"/>
            </a:xfrm>
            <a:custGeom>
              <a:avLst/>
              <a:gdLst>
                <a:gd name="T0" fmla="*/ 1587 w 3"/>
                <a:gd name="T1" fmla="*/ 5953 h 4"/>
                <a:gd name="T2" fmla="*/ 0 w 3"/>
                <a:gd name="T3" fmla="*/ 7938 h 4"/>
                <a:gd name="T4" fmla="*/ 1587 w 3"/>
                <a:gd name="T5" fmla="*/ 3969 h 4"/>
                <a:gd name="T6" fmla="*/ 4762 w 3"/>
                <a:gd name="T7" fmla="*/ 0 h 4"/>
                <a:gd name="T8" fmla="*/ 1587 w 3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1" y="3"/>
                  </a:move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1"/>
                    <a:pt x="2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3" name="Freeform 804"/>
            <p:cNvSpPr>
              <a:spLocks noChangeAspect="1"/>
            </p:cNvSpPr>
            <p:nvPr/>
          </p:nvSpPr>
          <p:spPr bwMode="auto">
            <a:xfrm>
              <a:off x="1292225" y="2354263"/>
              <a:ext cx="6350" cy="9525"/>
            </a:xfrm>
            <a:custGeom>
              <a:avLst/>
              <a:gdLst>
                <a:gd name="T0" fmla="*/ 4233 w 3"/>
                <a:gd name="T1" fmla="*/ 7620 h 5"/>
                <a:gd name="T2" fmla="*/ 0 w 3"/>
                <a:gd name="T3" fmla="*/ 9525 h 5"/>
                <a:gd name="T4" fmla="*/ 2117 w 3"/>
                <a:gd name="T5" fmla="*/ 3810 h 5"/>
                <a:gd name="T6" fmla="*/ 6350 w 3"/>
                <a:gd name="T7" fmla="*/ 1905 h 5"/>
                <a:gd name="T8" fmla="*/ 4233 w 3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4"/>
                  </a:moveTo>
                  <a:cubicBezTo>
                    <a:pt x="2" y="4"/>
                    <a:pt x="1" y="5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2"/>
                    <a:pt x="2" y="0"/>
                    <a:pt x="3" y="1"/>
                  </a:cubicBezTo>
                  <a:cubicBezTo>
                    <a:pt x="3" y="1"/>
                    <a:pt x="2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4" name="Freeform 805"/>
            <p:cNvSpPr>
              <a:spLocks noChangeAspect="1"/>
            </p:cNvSpPr>
            <p:nvPr/>
          </p:nvSpPr>
          <p:spPr bwMode="auto">
            <a:xfrm>
              <a:off x="1557338" y="2544763"/>
              <a:ext cx="9525" cy="11112"/>
            </a:xfrm>
            <a:custGeom>
              <a:avLst/>
              <a:gdLst>
                <a:gd name="T0" fmla="*/ 7620 w 5"/>
                <a:gd name="T1" fmla="*/ 7408 h 6"/>
                <a:gd name="T2" fmla="*/ 7620 w 5"/>
                <a:gd name="T3" fmla="*/ 11112 h 6"/>
                <a:gd name="T4" fmla="*/ 3810 w 5"/>
                <a:gd name="T5" fmla="*/ 7408 h 6"/>
                <a:gd name="T6" fmla="*/ 0 w 5"/>
                <a:gd name="T7" fmla="*/ 0 h 6"/>
                <a:gd name="T8" fmla="*/ 7620 w 5"/>
                <a:gd name="T9" fmla="*/ 7408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4" y="4"/>
                  </a:moveTo>
                  <a:cubicBezTo>
                    <a:pt x="4" y="4"/>
                    <a:pt x="5" y="6"/>
                    <a:pt x="4" y="6"/>
                  </a:cubicBezTo>
                  <a:cubicBezTo>
                    <a:pt x="4" y="6"/>
                    <a:pt x="3" y="5"/>
                    <a:pt x="2" y="4"/>
                  </a:cubicBezTo>
                  <a:cubicBezTo>
                    <a:pt x="1" y="3"/>
                    <a:pt x="0" y="0"/>
                    <a:pt x="0" y="0"/>
                  </a:cubicBezTo>
                  <a:cubicBezTo>
                    <a:pt x="1" y="0"/>
                    <a:pt x="3" y="2"/>
                    <a:pt x="4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5" name="Freeform 806"/>
            <p:cNvSpPr>
              <a:spLocks noChangeAspect="1"/>
            </p:cNvSpPr>
            <p:nvPr/>
          </p:nvSpPr>
          <p:spPr bwMode="auto">
            <a:xfrm>
              <a:off x="1519238" y="2476500"/>
              <a:ext cx="3175" cy="9525"/>
            </a:xfrm>
            <a:custGeom>
              <a:avLst/>
              <a:gdLst>
                <a:gd name="T0" fmla="*/ 1588 w 2"/>
                <a:gd name="T1" fmla="*/ 7620 h 5"/>
                <a:gd name="T2" fmla="*/ 0 w 2"/>
                <a:gd name="T3" fmla="*/ 9525 h 5"/>
                <a:gd name="T4" fmla="*/ 0 w 2"/>
                <a:gd name="T5" fmla="*/ 5715 h 5"/>
                <a:gd name="T6" fmla="*/ 1588 w 2"/>
                <a:gd name="T7" fmla="*/ 1905 h 5"/>
                <a:gd name="T8" fmla="*/ 1588 w 2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1" y="4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1"/>
                  </a:cubicBezTo>
                  <a:cubicBezTo>
                    <a:pt x="2" y="1"/>
                    <a:pt x="1" y="3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6" name="Freeform 807"/>
            <p:cNvSpPr>
              <a:spLocks noChangeAspect="1"/>
            </p:cNvSpPr>
            <p:nvPr/>
          </p:nvSpPr>
          <p:spPr bwMode="auto">
            <a:xfrm>
              <a:off x="1585913" y="2501900"/>
              <a:ext cx="7937" cy="7938"/>
            </a:xfrm>
            <a:custGeom>
              <a:avLst/>
              <a:gdLst>
                <a:gd name="T0" fmla="*/ 5953 w 4"/>
                <a:gd name="T1" fmla="*/ 3969 h 4"/>
                <a:gd name="T2" fmla="*/ 5953 w 4"/>
                <a:gd name="T3" fmla="*/ 7938 h 4"/>
                <a:gd name="T4" fmla="*/ 1984 w 4"/>
                <a:gd name="T5" fmla="*/ 5953 h 4"/>
                <a:gd name="T6" fmla="*/ 0 w 4"/>
                <a:gd name="T7" fmla="*/ 1985 h 4"/>
                <a:gd name="T8" fmla="*/ 5953 w 4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3"/>
                    <a:pt x="4" y="4"/>
                    <a:pt x="3" y="4"/>
                  </a:cubicBezTo>
                  <a:cubicBezTo>
                    <a:pt x="3" y="4"/>
                    <a:pt x="2" y="3"/>
                    <a:pt x="1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7" name="Freeform 808"/>
            <p:cNvSpPr>
              <a:spLocks noChangeAspect="1"/>
            </p:cNvSpPr>
            <p:nvPr/>
          </p:nvSpPr>
          <p:spPr bwMode="auto">
            <a:xfrm>
              <a:off x="1609725" y="2595563"/>
              <a:ext cx="9525" cy="11112"/>
            </a:xfrm>
            <a:custGeom>
              <a:avLst/>
              <a:gdLst>
                <a:gd name="T0" fmla="*/ 7620 w 5"/>
                <a:gd name="T1" fmla="*/ 5556 h 6"/>
                <a:gd name="T2" fmla="*/ 7620 w 5"/>
                <a:gd name="T3" fmla="*/ 11112 h 6"/>
                <a:gd name="T4" fmla="*/ 3810 w 5"/>
                <a:gd name="T5" fmla="*/ 7408 h 6"/>
                <a:gd name="T6" fmla="*/ 1905 w 5"/>
                <a:gd name="T7" fmla="*/ 0 h 6"/>
                <a:gd name="T8" fmla="*/ 7620 w 5"/>
                <a:gd name="T9" fmla="*/ 555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4" y="3"/>
                  </a:moveTo>
                  <a:cubicBezTo>
                    <a:pt x="4" y="4"/>
                    <a:pt x="5" y="5"/>
                    <a:pt x="4" y="6"/>
                  </a:cubicBezTo>
                  <a:cubicBezTo>
                    <a:pt x="3" y="6"/>
                    <a:pt x="2" y="4"/>
                    <a:pt x="2" y="4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2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8" name="Freeform 809"/>
            <p:cNvSpPr>
              <a:spLocks noChangeAspect="1"/>
            </p:cNvSpPr>
            <p:nvPr/>
          </p:nvSpPr>
          <p:spPr bwMode="auto">
            <a:xfrm>
              <a:off x="1627188" y="2624138"/>
              <a:ext cx="6350" cy="9525"/>
            </a:xfrm>
            <a:custGeom>
              <a:avLst/>
              <a:gdLst>
                <a:gd name="T0" fmla="*/ 6350 w 3"/>
                <a:gd name="T1" fmla="*/ 5715 h 5"/>
                <a:gd name="T2" fmla="*/ 6350 w 3"/>
                <a:gd name="T3" fmla="*/ 9525 h 5"/>
                <a:gd name="T4" fmla="*/ 2117 w 3"/>
                <a:gd name="T5" fmla="*/ 5715 h 5"/>
                <a:gd name="T6" fmla="*/ 2117 w 3"/>
                <a:gd name="T7" fmla="*/ 1905 h 5"/>
                <a:gd name="T8" fmla="*/ 6350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3"/>
                  </a:moveTo>
                  <a:cubicBezTo>
                    <a:pt x="3" y="4"/>
                    <a:pt x="3" y="5"/>
                    <a:pt x="3" y="5"/>
                  </a:cubicBezTo>
                  <a:cubicBezTo>
                    <a:pt x="2" y="5"/>
                    <a:pt x="1" y="4"/>
                    <a:pt x="1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2" y="2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09" name="Freeform 810"/>
            <p:cNvSpPr>
              <a:spLocks noChangeAspect="1"/>
            </p:cNvSpPr>
            <p:nvPr/>
          </p:nvSpPr>
          <p:spPr bwMode="auto">
            <a:xfrm>
              <a:off x="1738313" y="2773363"/>
              <a:ext cx="3175" cy="12700"/>
            </a:xfrm>
            <a:custGeom>
              <a:avLst/>
              <a:gdLst>
                <a:gd name="T0" fmla="*/ 3175 w 2"/>
                <a:gd name="T1" fmla="*/ 7257 h 7"/>
                <a:gd name="T2" fmla="*/ 3175 w 2"/>
                <a:gd name="T3" fmla="*/ 10886 h 7"/>
                <a:gd name="T4" fmla="*/ 0 w 2"/>
                <a:gd name="T5" fmla="*/ 7257 h 7"/>
                <a:gd name="T6" fmla="*/ 0 w 2"/>
                <a:gd name="T7" fmla="*/ 0 h 7"/>
                <a:gd name="T8" fmla="*/ 3175 w 2"/>
                <a:gd name="T9" fmla="*/ 725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7"/>
                <a:gd name="T17" fmla="*/ 2 w 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7">
                  <a:moveTo>
                    <a:pt x="2" y="4"/>
                  </a:moveTo>
                  <a:cubicBezTo>
                    <a:pt x="2" y="5"/>
                    <a:pt x="2" y="7"/>
                    <a:pt x="2" y="6"/>
                  </a:cubicBezTo>
                  <a:cubicBezTo>
                    <a:pt x="1" y="6"/>
                    <a:pt x="1" y="5"/>
                    <a:pt x="0" y="4"/>
                  </a:cubicBezTo>
                  <a:cubicBezTo>
                    <a:pt x="0" y="3"/>
                    <a:pt x="0" y="0"/>
                    <a:pt x="0" y="0"/>
                  </a:cubicBezTo>
                  <a:cubicBezTo>
                    <a:pt x="1" y="0"/>
                    <a:pt x="2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0" name="Freeform 811"/>
            <p:cNvSpPr>
              <a:spLocks noChangeAspect="1"/>
            </p:cNvSpPr>
            <p:nvPr/>
          </p:nvSpPr>
          <p:spPr bwMode="auto">
            <a:xfrm>
              <a:off x="3568700" y="1423988"/>
              <a:ext cx="7938" cy="6350"/>
            </a:xfrm>
            <a:custGeom>
              <a:avLst/>
              <a:gdLst>
                <a:gd name="T0" fmla="*/ 5953 w 4"/>
                <a:gd name="T1" fmla="*/ 4233 h 3"/>
                <a:gd name="T2" fmla="*/ 7938 w 4"/>
                <a:gd name="T3" fmla="*/ 6350 h 3"/>
                <a:gd name="T4" fmla="*/ 3969 w 4"/>
                <a:gd name="T5" fmla="*/ 4233 h 3"/>
                <a:gd name="T6" fmla="*/ 0 w 4"/>
                <a:gd name="T7" fmla="*/ 0 h 3"/>
                <a:gd name="T8" fmla="*/ 5953 w 4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2"/>
                  </a:moveTo>
                  <a:cubicBezTo>
                    <a:pt x="3" y="2"/>
                    <a:pt x="4" y="3"/>
                    <a:pt x="4" y="3"/>
                  </a:cubicBezTo>
                  <a:cubicBezTo>
                    <a:pt x="3" y="3"/>
                    <a:pt x="2" y="3"/>
                    <a:pt x="2" y="2"/>
                  </a:cubicBezTo>
                  <a:cubicBezTo>
                    <a:pt x="1" y="2"/>
                    <a:pt x="0" y="1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1" name="Freeform 812"/>
            <p:cNvSpPr>
              <a:spLocks noChangeAspect="1"/>
            </p:cNvSpPr>
            <p:nvPr/>
          </p:nvSpPr>
          <p:spPr bwMode="auto">
            <a:xfrm>
              <a:off x="3590925" y="1406525"/>
              <a:ext cx="14288" cy="11113"/>
            </a:xfrm>
            <a:custGeom>
              <a:avLst/>
              <a:gdLst>
                <a:gd name="T0" fmla="*/ 10716 w 8"/>
                <a:gd name="T1" fmla="*/ 5557 h 6"/>
                <a:gd name="T2" fmla="*/ 14288 w 8"/>
                <a:gd name="T3" fmla="*/ 11113 h 6"/>
                <a:gd name="T4" fmla="*/ 7144 w 8"/>
                <a:gd name="T5" fmla="*/ 7409 h 6"/>
                <a:gd name="T6" fmla="*/ 1786 w 8"/>
                <a:gd name="T7" fmla="*/ 1852 h 6"/>
                <a:gd name="T8" fmla="*/ 10716 w 8"/>
                <a:gd name="T9" fmla="*/ 555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3"/>
                  </a:moveTo>
                  <a:cubicBezTo>
                    <a:pt x="7" y="3"/>
                    <a:pt x="8" y="5"/>
                    <a:pt x="8" y="6"/>
                  </a:cubicBezTo>
                  <a:cubicBezTo>
                    <a:pt x="7" y="6"/>
                    <a:pt x="5" y="5"/>
                    <a:pt x="4" y="4"/>
                  </a:cubicBezTo>
                  <a:cubicBezTo>
                    <a:pt x="2" y="4"/>
                    <a:pt x="0" y="1"/>
                    <a:pt x="1" y="1"/>
                  </a:cubicBezTo>
                  <a:cubicBezTo>
                    <a:pt x="2" y="0"/>
                    <a:pt x="4" y="2"/>
                    <a:pt x="6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2" name="Freeform 813"/>
            <p:cNvSpPr>
              <a:spLocks noChangeAspect="1"/>
            </p:cNvSpPr>
            <p:nvPr/>
          </p:nvSpPr>
          <p:spPr bwMode="auto">
            <a:xfrm>
              <a:off x="3719513" y="1385888"/>
              <a:ext cx="28575" cy="11112"/>
            </a:xfrm>
            <a:custGeom>
              <a:avLst/>
              <a:gdLst>
                <a:gd name="T0" fmla="*/ 17145 w 15"/>
                <a:gd name="T1" fmla="*/ 5556 h 6"/>
                <a:gd name="T2" fmla="*/ 26670 w 15"/>
                <a:gd name="T3" fmla="*/ 9260 h 6"/>
                <a:gd name="T4" fmla="*/ 15240 w 15"/>
                <a:gd name="T5" fmla="*/ 9260 h 6"/>
                <a:gd name="T6" fmla="*/ 1905 w 15"/>
                <a:gd name="T7" fmla="*/ 3704 h 6"/>
                <a:gd name="T8" fmla="*/ 17145 w 15"/>
                <a:gd name="T9" fmla="*/ 555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6"/>
                <a:gd name="T17" fmla="*/ 15 w 1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6">
                  <a:moveTo>
                    <a:pt x="9" y="3"/>
                  </a:moveTo>
                  <a:cubicBezTo>
                    <a:pt x="11" y="3"/>
                    <a:pt x="15" y="4"/>
                    <a:pt x="14" y="5"/>
                  </a:cubicBezTo>
                  <a:cubicBezTo>
                    <a:pt x="14" y="6"/>
                    <a:pt x="10" y="5"/>
                    <a:pt x="8" y="5"/>
                  </a:cubicBezTo>
                  <a:cubicBezTo>
                    <a:pt x="5" y="4"/>
                    <a:pt x="0" y="3"/>
                    <a:pt x="1" y="2"/>
                  </a:cubicBezTo>
                  <a:cubicBezTo>
                    <a:pt x="2" y="0"/>
                    <a:pt x="7" y="2"/>
                    <a:pt x="9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3" name="Freeform 814"/>
            <p:cNvSpPr>
              <a:spLocks noChangeAspect="1"/>
            </p:cNvSpPr>
            <p:nvPr/>
          </p:nvSpPr>
          <p:spPr bwMode="auto">
            <a:xfrm>
              <a:off x="2517775" y="1792288"/>
              <a:ext cx="9525" cy="6350"/>
            </a:xfrm>
            <a:custGeom>
              <a:avLst/>
              <a:gdLst>
                <a:gd name="T0" fmla="*/ 3810 w 5"/>
                <a:gd name="T1" fmla="*/ 4762 h 4"/>
                <a:gd name="T2" fmla="*/ 1905 w 5"/>
                <a:gd name="T3" fmla="*/ 6350 h 4"/>
                <a:gd name="T4" fmla="*/ 3810 w 5"/>
                <a:gd name="T5" fmla="*/ 3175 h 4"/>
                <a:gd name="T6" fmla="*/ 7620 w 5"/>
                <a:gd name="T7" fmla="*/ 1588 h 4"/>
                <a:gd name="T8" fmla="*/ 3810 w 5"/>
                <a:gd name="T9" fmla="*/ 4762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2" y="3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1"/>
                    <a:pt x="4" y="0"/>
                    <a:pt x="4" y="1"/>
                  </a:cubicBezTo>
                  <a:cubicBezTo>
                    <a:pt x="5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4" name="Freeform 815"/>
            <p:cNvSpPr>
              <a:spLocks noChangeAspect="1"/>
            </p:cNvSpPr>
            <p:nvPr/>
          </p:nvSpPr>
          <p:spPr bwMode="auto">
            <a:xfrm>
              <a:off x="2527300" y="1697038"/>
              <a:ext cx="9525" cy="3175"/>
            </a:xfrm>
            <a:custGeom>
              <a:avLst/>
              <a:gdLst>
                <a:gd name="T0" fmla="*/ 3810 w 5"/>
                <a:gd name="T1" fmla="*/ 3175 h 2"/>
                <a:gd name="T2" fmla="*/ 0 w 5"/>
                <a:gd name="T3" fmla="*/ 1588 h 2"/>
                <a:gd name="T4" fmla="*/ 3810 w 5"/>
                <a:gd name="T5" fmla="*/ 0 h 2"/>
                <a:gd name="T6" fmla="*/ 7620 w 5"/>
                <a:gd name="T7" fmla="*/ 1588 h 2"/>
                <a:gd name="T8" fmla="*/ 3810 w 5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2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5" y="0"/>
                    <a:pt x="4" y="1"/>
                  </a:cubicBezTo>
                  <a:cubicBezTo>
                    <a:pt x="4" y="2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5" name="Freeform 816"/>
            <p:cNvSpPr>
              <a:spLocks noChangeAspect="1"/>
            </p:cNvSpPr>
            <p:nvPr/>
          </p:nvSpPr>
          <p:spPr bwMode="auto">
            <a:xfrm>
              <a:off x="2911475" y="2270125"/>
              <a:ext cx="15875" cy="6350"/>
            </a:xfrm>
            <a:custGeom>
              <a:avLst/>
              <a:gdLst>
                <a:gd name="T0" fmla="*/ 11906 w 8"/>
                <a:gd name="T1" fmla="*/ 2117 h 3"/>
                <a:gd name="T2" fmla="*/ 15875 w 8"/>
                <a:gd name="T3" fmla="*/ 4233 h 3"/>
                <a:gd name="T4" fmla="*/ 7938 w 8"/>
                <a:gd name="T5" fmla="*/ 6350 h 3"/>
                <a:gd name="T6" fmla="*/ 1984 w 8"/>
                <a:gd name="T7" fmla="*/ 2117 h 3"/>
                <a:gd name="T8" fmla="*/ 11906 w 8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6" y="1"/>
                  </a:moveTo>
                  <a:cubicBezTo>
                    <a:pt x="7" y="1"/>
                    <a:pt x="8" y="2"/>
                    <a:pt x="8" y="2"/>
                  </a:cubicBezTo>
                  <a:cubicBezTo>
                    <a:pt x="8" y="3"/>
                    <a:pt x="6" y="3"/>
                    <a:pt x="4" y="3"/>
                  </a:cubicBezTo>
                  <a:cubicBezTo>
                    <a:pt x="3" y="2"/>
                    <a:pt x="0" y="2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6" name="Freeform 817"/>
            <p:cNvSpPr>
              <a:spLocks noChangeAspect="1"/>
            </p:cNvSpPr>
            <p:nvPr/>
          </p:nvSpPr>
          <p:spPr bwMode="auto">
            <a:xfrm>
              <a:off x="2709863" y="2147888"/>
              <a:ext cx="7937" cy="17462"/>
            </a:xfrm>
            <a:custGeom>
              <a:avLst/>
              <a:gdLst>
                <a:gd name="T0" fmla="*/ 5953 w 4"/>
                <a:gd name="T1" fmla="*/ 9701 h 9"/>
                <a:gd name="T2" fmla="*/ 3969 w 4"/>
                <a:gd name="T3" fmla="*/ 17462 h 9"/>
                <a:gd name="T4" fmla="*/ 0 w 4"/>
                <a:gd name="T5" fmla="*/ 9701 h 9"/>
                <a:gd name="T6" fmla="*/ 1984 w 4"/>
                <a:gd name="T7" fmla="*/ 0 h 9"/>
                <a:gd name="T8" fmla="*/ 5953 w 4"/>
                <a:gd name="T9" fmla="*/ 970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3" y="5"/>
                  </a:moveTo>
                  <a:cubicBezTo>
                    <a:pt x="4" y="7"/>
                    <a:pt x="3" y="9"/>
                    <a:pt x="2" y="9"/>
                  </a:cubicBezTo>
                  <a:cubicBezTo>
                    <a:pt x="1" y="8"/>
                    <a:pt x="1" y="6"/>
                    <a:pt x="0" y="5"/>
                  </a:cubicBezTo>
                  <a:cubicBezTo>
                    <a:pt x="0" y="3"/>
                    <a:pt x="0" y="0"/>
                    <a:pt x="1" y="0"/>
                  </a:cubicBezTo>
                  <a:cubicBezTo>
                    <a:pt x="3" y="0"/>
                    <a:pt x="3" y="4"/>
                    <a:pt x="3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7" name="Freeform 818"/>
            <p:cNvSpPr>
              <a:spLocks noChangeAspect="1"/>
            </p:cNvSpPr>
            <p:nvPr/>
          </p:nvSpPr>
          <p:spPr bwMode="auto">
            <a:xfrm>
              <a:off x="2439988" y="2063750"/>
              <a:ext cx="9525" cy="9525"/>
            </a:xfrm>
            <a:custGeom>
              <a:avLst/>
              <a:gdLst>
                <a:gd name="T0" fmla="*/ 7620 w 5"/>
                <a:gd name="T1" fmla="*/ 5715 h 5"/>
                <a:gd name="T2" fmla="*/ 7620 w 5"/>
                <a:gd name="T3" fmla="*/ 9525 h 5"/>
                <a:gd name="T4" fmla="*/ 3810 w 5"/>
                <a:gd name="T5" fmla="*/ 5715 h 5"/>
                <a:gd name="T6" fmla="*/ 1905 w 5"/>
                <a:gd name="T7" fmla="*/ 0 h 5"/>
                <a:gd name="T8" fmla="*/ 7620 w 5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4" y="3"/>
                  </a:moveTo>
                  <a:cubicBezTo>
                    <a:pt x="4" y="3"/>
                    <a:pt x="5" y="4"/>
                    <a:pt x="4" y="5"/>
                  </a:cubicBezTo>
                  <a:cubicBezTo>
                    <a:pt x="3" y="5"/>
                    <a:pt x="2" y="4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2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8" name="Freeform 819"/>
            <p:cNvSpPr>
              <a:spLocks noChangeAspect="1"/>
            </p:cNvSpPr>
            <p:nvPr/>
          </p:nvSpPr>
          <p:spPr bwMode="auto">
            <a:xfrm>
              <a:off x="2725738" y="3535363"/>
              <a:ext cx="6350" cy="7937"/>
            </a:xfrm>
            <a:custGeom>
              <a:avLst/>
              <a:gdLst>
                <a:gd name="T0" fmla="*/ 4762 w 4"/>
                <a:gd name="T1" fmla="*/ 3969 h 4"/>
                <a:gd name="T2" fmla="*/ 6350 w 4"/>
                <a:gd name="T3" fmla="*/ 7937 h 4"/>
                <a:gd name="T4" fmla="*/ 1588 w 4"/>
                <a:gd name="T5" fmla="*/ 5953 h 4"/>
                <a:gd name="T6" fmla="*/ 0 w 4"/>
                <a:gd name="T7" fmla="*/ 1984 h 4"/>
                <a:gd name="T8" fmla="*/ 4762 w 4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3"/>
                    <a:pt x="4" y="4"/>
                    <a:pt x="4" y="4"/>
                  </a:cubicBezTo>
                  <a:cubicBezTo>
                    <a:pt x="3" y="4"/>
                    <a:pt x="2" y="4"/>
                    <a:pt x="1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2" y="2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19" name="Freeform 820"/>
            <p:cNvSpPr>
              <a:spLocks noChangeAspect="1"/>
            </p:cNvSpPr>
            <p:nvPr/>
          </p:nvSpPr>
          <p:spPr bwMode="auto">
            <a:xfrm>
              <a:off x="2732088" y="3506788"/>
              <a:ext cx="12700" cy="11112"/>
            </a:xfrm>
            <a:custGeom>
              <a:avLst/>
              <a:gdLst>
                <a:gd name="T0" fmla="*/ 8467 w 6"/>
                <a:gd name="T1" fmla="*/ 5556 h 6"/>
                <a:gd name="T2" fmla="*/ 12700 w 6"/>
                <a:gd name="T3" fmla="*/ 11112 h 6"/>
                <a:gd name="T4" fmla="*/ 6350 w 6"/>
                <a:gd name="T5" fmla="*/ 7408 h 6"/>
                <a:gd name="T6" fmla="*/ 2117 w 6"/>
                <a:gd name="T7" fmla="*/ 0 h 6"/>
                <a:gd name="T8" fmla="*/ 8467 w 6"/>
                <a:gd name="T9" fmla="*/ 555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4" y="3"/>
                  </a:moveTo>
                  <a:cubicBezTo>
                    <a:pt x="5" y="4"/>
                    <a:pt x="6" y="6"/>
                    <a:pt x="6" y="6"/>
                  </a:cubicBezTo>
                  <a:cubicBezTo>
                    <a:pt x="5" y="6"/>
                    <a:pt x="4" y="5"/>
                    <a:pt x="3" y="4"/>
                  </a:cubicBezTo>
                  <a:cubicBezTo>
                    <a:pt x="2" y="3"/>
                    <a:pt x="0" y="0"/>
                    <a:pt x="1" y="0"/>
                  </a:cubicBezTo>
                  <a:cubicBezTo>
                    <a:pt x="2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0" name="Freeform 821"/>
            <p:cNvSpPr>
              <a:spLocks noChangeAspect="1"/>
            </p:cNvSpPr>
            <p:nvPr/>
          </p:nvSpPr>
          <p:spPr bwMode="auto">
            <a:xfrm>
              <a:off x="2744788" y="3543300"/>
              <a:ext cx="11112" cy="11113"/>
            </a:xfrm>
            <a:custGeom>
              <a:avLst/>
              <a:gdLst>
                <a:gd name="T0" fmla="*/ 7408 w 6"/>
                <a:gd name="T1" fmla="*/ 5557 h 6"/>
                <a:gd name="T2" fmla="*/ 9260 w 6"/>
                <a:gd name="T3" fmla="*/ 11113 h 6"/>
                <a:gd name="T4" fmla="*/ 3704 w 6"/>
                <a:gd name="T5" fmla="*/ 5557 h 6"/>
                <a:gd name="T6" fmla="*/ 1852 w 6"/>
                <a:gd name="T7" fmla="*/ 0 h 6"/>
                <a:gd name="T8" fmla="*/ 7408 w 6"/>
                <a:gd name="T9" fmla="*/ 555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4" y="3"/>
                  </a:moveTo>
                  <a:cubicBezTo>
                    <a:pt x="5" y="4"/>
                    <a:pt x="6" y="6"/>
                    <a:pt x="5" y="6"/>
                  </a:cubicBezTo>
                  <a:cubicBezTo>
                    <a:pt x="4" y="6"/>
                    <a:pt x="3" y="5"/>
                    <a:pt x="2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1" y="0"/>
                    <a:pt x="3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1" name="Freeform 822"/>
            <p:cNvSpPr>
              <a:spLocks noChangeAspect="1"/>
            </p:cNvSpPr>
            <p:nvPr/>
          </p:nvSpPr>
          <p:spPr bwMode="auto">
            <a:xfrm>
              <a:off x="2586038" y="3659188"/>
              <a:ext cx="9525" cy="3175"/>
            </a:xfrm>
            <a:custGeom>
              <a:avLst/>
              <a:gdLst>
                <a:gd name="T0" fmla="*/ 5715 w 5"/>
                <a:gd name="T1" fmla="*/ 0 h 2"/>
                <a:gd name="T2" fmla="*/ 9525 w 5"/>
                <a:gd name="T3" fmla="*/ 1588 h 2"/>
                <a:gd name="T4" fmla="*/ 3810 w 5"/>
                <a:gd name="T5" fmla="*/ 3175 h 2"/>
                <a:gd name="T6" fmla="*/ 0 w 5"/>
                <a:gd name="T7" fmla="*/ 0 h 2"/>
                <a:gd name="T8" fmla="*/ 5715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3" y="0"/>
                  </a:moveTo>
                  <a:cubicBezTo>
                    <a:pt x="4" y="0"/>
                    <a:pt x="5" y="1"/>
                    <a:pt x="5" y="1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2" name="Freeform 823"/>
            <p:cNvSpPr>
              <a:spLocks noChangeAspect="1"/>
            </p:cNvSpPr>
            <p:nvPr/>
          </p:nvSpPr>
          <p:spPr bwMode="auto">
            <a:xfrm>
              <a:off x="2462213" y="3736975"/>
              <a:ext cx="9525" cy="6350"/>
            </a:xfrm>
            <a:custGeom>
              <a:avLst/>
              <a:gdLst>
                <a:gd name="T0" fmla="*/ 5715 w 5"/>
                <a:gd name="T1" fmla="*/ 2117 h 3"/>
                <a:gd name="T2" fmla="*/ 9525 w 5"/>
                <a:gd name="T3" fmla="*/ 2117 h 3"/>
                <a:gd name="T4" fmla="*/ 5715 w 5"/>
                <a:gd name="T5" fmla="*/ 4233 h 3"/>
                <a:gd name="T6" fmla="*/ 0 w 5"/>
                <a:gd name="T7" fmla="*/ 6350 h 3"/>
                <a:gd name="T8" fmla="*/ 5715 w 5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3" y="1"/>
                  </a:moveTo>
                  <a:cubicBezTo>
                    <a:pt x="3" y="1"/>
                    <a:pt x="4" y="0"/>
                    <a:pt x="5" y="1"/>
                  </a:cubicBezTo>
                  <a:cubicBezTo>
                    <a:pt x="5" y="1"/>
                    <a:pt x="4" y="2"/>
                    <a:pt x="3" y="2"/>
                  </a:cubicBezTo>
                  <a:cubicBezTo>
                    <a:pt x="2" y="3"/>
                    <a:pt x="1" y="3"/>
                    <a:pt x="0" y="3"/>
                  </a:cubicBezTo>
                  <a:cubicBezTo>
                    <a:pt x="0" y="2"/>
                    <a:pt x="2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3" name="Freeform 824"/>
            <p:cNvSpPr>
              <a:spLocks noChangeAspect="1"/>
            </p:cNvSpPr>
            <p:nvPr/>
          </p:nvSpPr>
          <p:spPr bwMode="auto">
            <a:xfrm>
              <a:off x="2460625" y="3627438"/>
              <a:ext cx="7938" cy="4762"/>
            </a:xfrm>
            <a:custGeom>
              <a:avLst/>
              <a:gdLst>
                <a:gd name="T0" fmla="*/ 3969 w 4"/>
                <a:gd name="T1" fmla="*/ 1587 h 3"/>
                <a:gd name="T2" fmla="*/ 7938 w 4"/>
                <a:gd name="T3" fmla="*/ 0 h 3"/>
                <a:gd name="T4" fmla="*/ 3969 w 4"/>
                <a:gd name="T5" fmla="*/ 3175 h 3"/>
                <a:gd name="T6" fmla="*/ 0 w 4"/>
                <a:gd name="T7" fmla="*/ 4762 h 3"/>
                <a:gd name="T8" fmla="*/ 3969 w 4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1"/>
                  </a:moveTo>
                  <a:cubicBezTo>
                    <a:pt x="2" y="0"/>
                    <a:pt x="3" y="0"/>
                    <a:pt x="4" y="0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3"/>
                    <a:pt x="0" y="3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4" name="Freeform 825"/>
            <p:cNvSpPr>
              <a:spLocks noChangeAspect="1"/>
            </p:cNvSpPr>
            <p:nvPr/>
          </p:nvSpPr>
          <p:spPr bwMode="auto">
            <a:xfrm>
              <a:off x="2433638" y="3705225"/>
              <a:ext cx="6350" cy="7938"/>
            </a:xfrm>
            <a:custGeom>
              <a:avLst/>
              <a:gdLst>
                <a:gd name="T0" fmla="*/ 4233 w 3"/>
                <a:gd name="T1" fmla="*/ 1985 h 4"/>
                <a:gd name="T2" fmla="*/ 6350 w 3"/>
                <a:gd name="T3" fmla="*/ 1985 h 4"/>
                <a:gd name="T4" fmla="*/ 4233 w 3"/>
                <a:gd name="T5" fmla="*/ 3969 h 4"/>
                <a:gd name="T6" fmla="*/ 2117 w 3"/>
                <a:gd name="T7" fmla="*/ 5953 h 4"/>
                <a:gd name="T8" fmla="*/ 4233 w 3"/>
                <a:gd name="T9" fmla="*/ 198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1"/>
                  </a:moveTo>
                  <a:cubicBezTo>
                    <a:pt x="2" y="1"/>
                    <a:pt x="3" y="0"/>
                    <a:pt x="3" y="1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2" y="3"/>
                    <a:pt x="1" y="4"/>
                    <a:pt x="1" y="3"/>
                  </a:cubicBezTo>
                  <a:cubicBezTo>
                    <a:pt x="0" y="3"/>
                    <a:pt x="1" y="2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5" name="Freeform 826"/>
            <p:cNvSpPr>
              <a:spLocks noChangeAspect="1"/>
            </p:cNvSpPr>
            <p:nvPr/>
          </p:nvSpPr>
          <p:spPr bwMode="auto">
            <a:xfrm>
              <a:off x="2792413" y="3567113"/>
              <a:ext cx="14287" cy="4762"/>
            </a:xfrm>
            <a:custGeom>
              <a:avLst/>
              <a:gdLst>
                <a:gd name="T0" fmla="*/ 8929 w 8"/>
                <a:gd name="T1" fmla="*/ 2381 h 2"/>
                <a:gd name="T2" fmla="*/ 14287 w 8"/>
                <a:gd name="T3" fmla="*/ 4762 h 2"/>
                <a:gd name="T4" fmla="*/ 7144 w 8"/>
                <a:gd name="T5" fmla="*/ 4762 h 2"/>
                <a:gd name="T6" fmla="*/ 0 w 8"/>
                <a:gd name="T7" fmla="*/ 2381 h 2"/>
                <a:gd name="T8" fmla="*/ 8929 w 8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5" y="1"/>
                  </a:moveTo>
                  <a:cubicBezTo>
                    <a:pt x="6" y="1"/>
                    <a:pt x="8" y="1"/>
                    <a:pt x="8" y="2"/>
                  </a:cubicBezTo>
                  <a:cubicBezTo>
                    <a:pt x="7" y="2"/>
                    <a:pt x="5" y="2"/>
                    <a:pt x="4" y="2"/>
                  </a:cubicBezTo>
                  <a:cubicBezTo>
                    <a:pt x="3" y="2"/>
                    <a:pt x="0" y="2"/>
                    <a:pt x="0" y="1"/>
                  </a:cubicBezTo>
                  <a:cubicBezTo>
                    <a:pt x="1" y="0"/>
                    <a:pt x="4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6" name="Freeform 827"/>
            <p:cNvSpPr>
              <a:spLocks noChangeAspect="1"/>
            </p:cNvSpPr>
            <p:nvPr/>
          </p:nvSpPr>
          <p:spPr bwMode="auto">
            <a:xfrm>
              <a:off x="2767013" y="3565525"/>
              <a:ext cx="9525" cy="14288"/>
            </a:xfrm>
            <a:custGeom>
              <a:avLst/>
              <a:gdLst>
                <a:gd name="T0" fmla="*/ 5715 w 5"/>
                <a:gd name="T1" fmla="*/ 4082 h 7"/>
                <a:gd name="T2" fmla="*/ 9525 w 5"/>
                <a:gd name="T3" fmla="*/ 0 h 7"/>
                <a:gd name="T4" fmla="*/ 5715 w 5"/>
                <a:gd name="T5" fmla="*/ 6123 h 7"/>
                <a:gd name="T6" fmla="*/ 0 w 5"/>
                <a:gd name="T7" fmla="*/ 12247 h 7"/>
                <a:gd name="T8" fmla="*/ 5715 w 5"/>
                <a:gd name="T9" fmla="*/ 4082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3" y="2"/>
                  </a:moveTo>
                  <a:cubicBezTo>
                    <a:pt x="4" y="1"/>
                    <a:pt x="5" y="0"/>
                    <a:pt x="5" y="0"/>
                  </a:cubicBezTo>
                  <a:cubicBezTo>
                    <a:pt x="5" y="1"/>
                    <a:pt x="4" y="2"/>
                    <a:pt x="3" y="3"/>
                  </a:cubicBezTo>
                  <a:cubicBezTo>
                    <a:pt x="3" y="5"/>
                    <a:pt x="1" y="7"/>
                    <a:pt x="0" y="6"/>
                  </a:cubicBezTo>
                  <a:cubicBezTo>
                    <a:pt x="0" y="5"/>
                    <a:pt x="2" y="3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7" name="Freeform 828"/>
            <p:cNvSpPr>
              <a:spLocks noChangeAspect="1"/>
            </p:cNvSpPr>
            <p:nvPr/>
          </p:nvSpPr>
          <p:spPr bwMode="auto">
            <a:xfrm>
              <a:off x="3073400" y="3786188"/>
              <a:ext cx="7938" cy="9525"/>
            </a:xfrm>
            <a:custGeom>
              <a:avLst/>
              <a:gdLst>
                <a:gd name="T0" fmla="*/ 5953 w 4"/>
                <a:gd name="T1" fmla="*/ 5715 h 5"/>
                <a:gd name="T2" fmla="*/ 7938 w 4"/>
                <a:gd name="T3" fmla="*/ 9525 h 5"/>
                <a:gd name="T4" fmla="*/ 3969 w 4"/>
                <a:gd name="T5" fmla="*/ 5715 h 5"/>
                <a:gd name="T6" fmla="*/ 1985 w 4"/>
                <a:gd name="T7" fmla="*/ 0 h 5"/>
                <a:gd name="T8" fmla="*/ 5953 w 4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3" y="3"/>
                  </a:moveTo>
                  <a:cubicBezTo>
                    <a:pt x="4" y="4"/>
                    <a:pt x="4" y="5"/>
                    <a:pt x="4" y="5"/>
                  </a:cubicBezTo>
                  <a:cubicBezTo>
                    <a:pt x="3" y="5"/>
                    <a:pt x="2" y="4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2" y="0"/>
                    <a:pt x="3" y="2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8" name="Freeform 829"/>
            <p:cNvSpPr>
              <a:spLocks noChangeAspect="1"/>
            </p:cNvSpPr>
            <p:nvPr/>
          </p:nvSpPr>
          <p:spPr bwMode="auto">
            <a:xfrm>
              <a:off x="3059113" y="3741738"/>
              <a:ext cx="1587" cy="11112"/>
            </a:xfrm>
            <a:custGeom>
              <a:avLst/>
              <a:gdLst>
                <a:gd name="T0" fmla="*/ 1587 w 1"/>
                <a:gd name="T1" fmla="*/ 7408 h 6"/>
                <a:gd name="T2" fmla="*/ 0 w 1"/>
                <a:gd name="T3" fmla="*/ 11112 h 6"/>
                <a:gd name="T4" fmla="*/ 0 w 1"/>
                <a:gd name="T5" fmla="*/ 5556 h 6"/>
                <a:gd name="T6" fmla="*/ 0 w 1"/>
                <a:gd name="T7" fmla="*/ 0 h 6"/>
                <a:gd name="T8" fmla="*/ 1587 w 1"/>
                <a:gd name="T9" fmla="*/ 7408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6"/>
                <a:gd name="T17" fmla="*/ 1 w 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6">
                  <a:moveTo>
                    <a:pt x="1" y="4"/>
                  </a:moveTo>
                  <a:cubicBezTo>
                    <a:pt x="1" y="5"/>
                    <a:pt x="1" y="6"/>
                    <a:pt x="0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1"/>
                    <a:pt x="1" y="3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29" name="Freeform 830"/>
            <p:cNvSpPr>
              <a:spLocks noChangeAspect="1"/>
            </p:cNvSpPr>
            <p:nvPr/>
          </p:nvSpPr>
          <p:spPr bwMode="auto">
            <a:xfrm>
              <a:off x="3074988" y="3805238"/>
              <a:ext cx="3175" cy="9525"/>
            </a:xfrm>
            <a:custGeom>
              <a:avLst/>
              <a:gdLst>
                <a:gd name="T0" fmla="*/ 3175 w 1"/>
                <a:gd name="T1" fmla="*/ 5715 h 5"/>
                <a:gd name="T2" fmla="*/ 0 w 1"/>
                <a:gd name="T3" fmla="*/ 9525 h 5"/>
                <a:gd name="T4" fmla="*/ 0 w 1"/>
                <a:gd name="T5" fmla="*/ 5715 h 5"/>
                <a:gd name="T6" fmla="*/ 3175 w 1"/>
                <a:gd name="T7" fmla="*/ 0 h 5"/>
                <a:gd name="T8" fmla="*/ 3175 w 1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5"/>
                <a:gd name="T17" fmla="*/ 1 w 1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5">
                  <a:moveTo>
                    <a:pt x="1" y="3"/>
                  </a:moveTo>
                  <a:cubicBezTo>
                    <a:pt x="1" y="4"/>
                    <a:pt x="1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1" y="0"/>
                    <a:pt x="1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0" name="Freeform 831"/>
            <p:cNvSpPr>
              <a:spLocks noChangeAspect="1"/>
            </p:cNvSpPr>
            <p:nvPr/>
          </p:nvSpPr>
          <p:spPr bwMode="auto">
            <a:xfrm>
              <a:off x="2874963" y="3857625"/>
              <a:ext cx="12700" cy="4763"/>
            </a:xfrm>
            <a:custGeom>
              <a:avLst/>
              <a:gdLst>
                <a:gd name="T0" fmla="*/ 8467 w 6"/>
                <a:gd name="T1" fmla="*/ 1588 h 3"/>
                <a:gd name="T2" fmla="*/ 12700 w 6"/>
                <a:gd name="T3" fmla="*/ 4763 h 3"/>
                <a:gd name="T4" fmla="*/ 6350 w 6"/>
                <a:gd name="T5" fmla="*/ 4763 h 3"/>
                <a:gd name="T6" fmla="*/ 0 w 6"/>
                <a:gd name="T7" fmla="*/ 1588 h 3"/>
                <a:gd name="T8" fmla="*/ 8467 w 6"/>
                <a:gd name="T9" fmla="*/ 1588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4" y="1"/>
                  </a:moveTo>
                  <a:cubicBezTo>
                    <a:pt x="5" y="2"/>
                    <a:pt x="6" y="2"/>
                    <a:pt x="6" y="3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1" y="0"/>
                    <a:pt x="3" y="1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1" name="Freeform 832"/>
            <p:cNvSpPr>
              <a:spLocks noChangeAspect="1"/>
            </p:cNvSpPr>
            <p:nvPr/>
          </p:nvSpPr>
          <p:spPr bwMode="auto">
            <a:xfrm>
              <a:off x="3309938" y="4198938"/>
              <a:ext cx="7937" cy="9525"/>
            </a:xfrm>
            <a:custGeom>
              <a:avLst/>
              <a:gdLst>
                <a:gd name="T0" fmla="*/ 3969 w 4"/>
                <a:gd name="T1" fmla="*/ 7620 h 5"/>
                <a:gd name="T2" fmla="*/ 1984 w 4"/>
                <a:gd name="T3" fmla="*/ 9525 h 5"/>
                <a:gd name="T4" fmla="*/ 1984 w 4"/>
                <a:gd name="T5" fmla="*/ 5715 h 5"/>
                <a:gd name="T6" fmla="*/ 7937 w 4"/>
                <a:gd name="T7" fmla="*/ 1905 h 5"/>
                <a:gd name="T8" fmla="*/ 3969 w 4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2" y="4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0" y="4"/>
                    <a:pt x="1" y="3"/>
                    <a:pt x="1" y="3"/>
                  </a:cubicBezTo>
                  <a:cubicBezTo>
                    <a:pt x="2" y="2"/>
                    <a:pt x="3" y="0"/>
                    <a:pt x="4" y="1"/>
                  </a:cubicBezTo>
                  <a:cubicBezTo>
                    <a:pt x="4" y="2"/>
                    <a:pt x="3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2" name="Freeform 833"/>
            <p:cNvSpPr>
              <a:spLocks noChangeAspect="1"/>
            </p:cNvSpPr>
            <p:nvPr/>
          </p:nvSpPr>
          <p:spPr bwMode="auto">
            <a:xfrm>
              <a:off x="3308350" y="4192588"/>
              <a:ext cx="9525" cy="11112"/>
            </a:xfrm>
            <a:custGeom>
              <a:avLst/>
              <a:gdLst>
                <a:gd name="T0" fmla="*/ 5715 w 5"/>
                <a:gd name="T1" fmla="*/ 7408 h 6"/>
                <a:gd name="T2" fmla="*/ 1905 w 5"/>
                <a:gd name="T3" fmla="*/ 9260 h 6"/>
                <a:gd name="T4" fmla="*/ 3810 w 5"/>
                <a:gd name="T5" fmla="*/ 5556 h 6"/>
                <a:gd name="T6" fmla="*/ 7620 w 5"/>
                <a:gd name="T7" fmla="*/ 1852 h 6"/>
                <a:gd name="T8" fmla="*/ 5715 w 5"/>
                <a:gd name="T9" fmla="*/ 7408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3" y="4"/>
                  </a:moveTo>
                  <a:cubicBezTo>
                    <a:pt x="2" y="5"/>
                    <a:pt x="1" y="6"/>
                    <a:pt x="1" y="5"/>
                  </a:cubicBezTo>
                  <a:cubicBezTo>
                    <a:pt x="0" y="4"/>
                    <a:pt x="1" y="3"/>
                    <a:pt x="2" y="3"/>
                  </a:cubicBezTo>
                  <a:cubicBezTo>
                    <a:pt x="2" y="2"/>
                    <a:pt x="4" y="0"/>
                    <a:pt x="4" y="1"/>
                  </a:cubicBezTo>
                  <a:cubicBezTo>
                    <a:pt x="5" y="2"/>
                    <a:pt x="4" y="3"/>
                    <a:pt x="3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3" name="Freeform 834"/>
            <p:cNvSpPr>
              <a:spLocks noChangeAspect="1"/>
            </p:cNvSpPr>
            <p:nvPr/>
          </p:nvSpPr>
          <p:spPr bwMode="auto">
            <a:xfrm>
              <a:off x="3324225" y="4129088"/>
              <a:ext cx="4763" cy="7937"/>
            </a:xfrm>
            <a:custGeom>
              <a:avLst/>
              <a:gdLst>
                <a:gd name="T0" fmla="*/ 4763 w 3"/>
                <a:gd name="T1" fmla="*/ 3969 h 4"/>
                <a:gd name="T2" fmla="*/ 4763 w 3"/>
                <a:gd name="T3" fmla="*/ 7937 h 4"/>
                <a:gd name="T4" fmla="*/ 1588 w 3"/>
                <a:gd name="T5" fmla="*/ 5953 h 4"/>
                <a:gd name="T6" fmla="*/ 0 w 3"/>
                <a:gd name="T7" fmla="*/ 0 h 4"/>
                <a:gd name="T8" fmla="*/ 4763 w 3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2"/>
                  </a:move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1" y="2"/>
                    <a:pt x="0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4" name="Freeform 835"/>
            <p:cNvSpPr>
              <a:spLocks noChangeAspect="1"/>
            </p:cNvSpPr>
            <p:nvPr/>
          </p:nvSpPr>
          <p:spPr bwMode="auto">
            <a:xfrm>
              <a:off x="2379663" y="4210050"/>
              <a:ext cx="7937" cy="7938"/>
            </a:xfrm>
            <a:custGeom>
              <a:avLst/>
              <a:gdLst>
                <a:gd name="T0" fmla="*/ 3969 w 4"/>
                <a:gd name="T1" fmla="*/ 5953 h 4"/>
                <a:gd name="T2" fmla="*/ 0 w 4"/>
                <a:gd name="T3" fmla="*/ 5953 h 4"/>
                <a:gd name="T4" fmla="*/ 1984 w 4"/>
                <a:gd name="T5" fmla="*/ 3969 h 4"/>
                <a:gd name="T6" fmla="*/ 7937 w 4"/>
                <a:gd name="T7" fmla="*/ 1985 h 4"/>
                <a:gd name="T8" fmla="*/ 3969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1" y="3"/>
                    <a:pt x="0" y="4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2" y="1"/>
                    <a:pt x="4" y="0"/>
                    <a:pt x="4" y="1"/>
                  </a:cubicBezTo>
                  <a:cubicBezTo>
                    <a:pt x="4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5" name="Freeform 836"/>
            <p:cNvSpPr>
              <a:spLocks noChangeAspect="1"/>
            </p:cNvSpPr>
            <p:nvPr/>
          </p:nvSpPr>
          <p:spPr bwMode="auto">
            <a:xfrm>
              <a:off x="2836863" y="5507038"/>
              <a:ext cx="4762" cy="9525"/>
            </a:xfrm>
            <a:custGeom>
              <a:avLst/>
              <a:gdLst>
                <a:gd name="T0" fmla="*/ 4762 w 2"/>
                <a:gd name="T1" fmla="*/ 5715 h 5"/>
                <a:gd name="T2" fmla="*/ 4762 w 2"/>
                <a:gd name="T3" fmla="*/ 9525 h 5"/>
                <a:gd name="T4" fmla="*/ 0 w 2"/>
                <a:gd name="T5" fmla="*/ 5715 h 5"/>
                <a:gd name="T6" fmla="*/ 0 w 2"/>
                <a:gd name="T7" fmla="*/ 0 h 5"/>
                <a:gd name="T8" fmla="*/ 4762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6" name="Freeform 837"/>
            <p:cNvSpPr>
              <a:spLocks noChangeAspect="1"/>
            </p:cNvSpPr>
            <p:nvPr/>
          </p:nvSpPr>
          <p:spPr bwMode="auto">
            <a:xfrm>
              <a:off x="2836863" y="5454650"/>
              <a:ext cx="7937" cy="4763"/>
            </a:xfrm>
            <a:custGeom>
              <a:avLst/>
              <a:gdLst>
                <a:gd name="T0" fmla="*/ 3969 w 4"/>
                <a:gd name="T1" fmla="*/ 4763 h 3"/>
                <a:gd name="T2" fmla="*/ 0 w 4"/>
                <a:gd name="T3" fmla="*/ 4763 h 3"/>
                <a:gd name="T4" fmla="*/ 1984 w 4"/>
                <a:gd name="T5" fmla="*/ 1588 h 3"/>
                <a:gd name="T6" fmla="*/ 7937 w 4"/>
                <a:gd name="T7" fmla="*/ 1588 h 3"/>
                <a:gd name="T8" fmla="*/ 3969 w 4"/>
                <a:gd name="T9" fmla="*/ 476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cubicBezTo>
                    <a:pt x="1" y="3"/>
                    <a:pt x="0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1"/>
                    <a:pt x="4" y="0"/>
                    <a:pt x="4" y="1"/>
                  </a:cubicBezTo>
                  <a:cubicBezTo>
                    <a:pt x="4" y="2"/>
                    <a:pt x="3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7" name="Freeform 838"/>
            <p:cNvSpPr>
              <a:spLocks noChangeAspect="1"/>
            </p:cNvSpPr>
            <p:nvPr/>
          </p:nvSpPr>
          <p:spPr bwMode="auto">
            <a:xfrm>
              <a:off x="2827338" y="5449888"/>
              <a:ext cx="9525" cy="9525"/>
            </a:xfrm>
            <a:custGeom>
              <a:avLst/>
              <a:gdLst>
                <a:gd name="T0" fmla="*/ 3810 w 5"/>
                <a:gd name="T1" fmla="*/ 7620 h 5"/>
                <a:gd name="T2" fmla="*/ 0 w 5"/>
                <a:gd name="T3" fmla="*/ 7620 h 5"/>
                <a:gd name="T4" fmla="*/ 3810 w 5"/>
                <a:gd name="T5" fmla="*/ 3810 h 5"/>
                <a:gd name="T6" fmla="*/ 9525 w 5"/>
                <a:gd name="T7" fmla="*/ 1905 h 5"/>
                <a:gd name="T8" fmla="*/ 3810 w 5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2" y="4"/>
                  </a:moveTo>
                  <a:cubicBezTo>
                    <a:pt x="2" y="4"/>
                    <a:pt x="0" y="5"/>
                    <a:pt x="0" y="4"/>
                  </a:cubicBezTo>
                  <a:cubicBezTo>
                    <a:pt x="0" y="3"/>
                    <a:pt x="1" y="2"/>
                    <a:pt x="2" y="2"/>
                  </a:cubicBezTo>
                  <a:cubicBezTo>
                    <a:pt x="3" y="1"/>
                    <a:pt x="5" y="0"/>
                    <a:pt x="5" y="1"/>
                  </a:cubicBezTo>
                  <a:cubicBezTo>
                    <a:pt x="5" y="2"/>
                    <a:pt x="4" y="3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8" name="Freeform 839"/>
            <p:cNvSpPr>
              <a:spLocks noChangeAspect="1"/>
            </p:cNvSpPr>
            <p:nvPr/>
          </p:nvSpPr>
          <p:spPr bwMode="auto">
            <a:xfrm>
              <a:off x="2832100" y="5583238"/>
              <a:ext cx="7938" cy="9525"/>
            </a:xfrm>
            <a:custGeom>
              <a:avLst/>
              <a:gdLst>
                <a:gd name="T0" fmla="*/ 5953 w 4"/>
                <a:gd name="T1" fmla="*/ 5715 h 5"/>
                <a:gd name="T2" fmla="*/ 5953 w 4"/>
                <a:gd name="T3" fmla="*/ 9525 h 5"/>
                <a:gd name="T4" fmla="*/ 1985 w 4"/>
                <a:gd name="T5" fmla="*/ 5715 h 5"/>
                <a:gd name="T6" fmla="*/ 1985 w 4"/>
                <a:gd name="T7" fmla="*/ 1905 h 5"/>
                <a:gd name="T8" fmla="*/ 5953 w 4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3" y="3"/>
                  </a:moveTo>
                  <a:cubicBezTo>
                    <a:pt x="3" y="3"/>
                    <a:pt x="4" y="4"/>
                    <a:pt x="3" y="5"/>
                  </a:cubicBezTo>
                  <a:cubicBezTo>
                    <a:pt x="2" y="5"/>
                    <a:pt x="2" y="4"/>
                    <a:pt x="1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2" y="2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39" name="Freeform 840"/>
            <p:cNvSpPr>
              <a:spLocks noChangeAspect="1"/>
            </p:cNvSpPr>
            <p:nvPr/>
          </p:nvSpPr>
          <p:spPr bwMode="auto">
            <a:xfrm>
              <a:off x="2846388" y="5697538"/>
              <a:ext cx="6350" cy="9525"/>
            </a:xfrm>
            <a:custGeom>
              <a:avLst/>
              <a:gdLst>
                <a:gd name="T0" fmla="*/ 4233 w 3"/>
                <a:gd name="T1" fmla="*/ 5715 h 5"/>
                <a:gd name="T2" fmla="*/ 0 w 3"/>
                <a:gd name="T3" fmla="*/ 7620 h 5"/>
                <a:gd name="T4" fmla="*/ 2117 w 3"/>
                <a:gd name="T5" fmla="*/ 3810 h 5"/>
                <a:gd name="T6" fmla="*/ 4233 w 3"/>
                <a:gd name="T7" fmla="*/ 0 h 5"/>
                <a:gd name="T8" fmla="*/ 4233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3"/>
                  </a:moveTo>
                  <a:cubicBezTo>
                    <a:pt x="1" y="4"/>
                    <a:pt x="1" y="5"/>
                    <a:pt x="0" y="4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0" name="Freeform 841"/>
            <p:cNvSpPr>
              <a:spLocks noChangeAspect="1"/>
            </p:cNvSpPr>
            <p:nvPr/>
          </p:nvSpPr>
          <p:spPr bwMode="auto">
            <a:xfrm>
              <a:off x="2830513" y="5645150"/>
              <a:ext cx="4762" cy="7938"/>
            </a:xfrm>
            <a:custGeom>
              <a:avLst/>
              <a:gdLst>
                <a:gd name="T0" fmla="*/ 4762 w 3"/>
                <a:gd name="T1" fmla="*/ 3969 h 4"/>
                <a:gd name="T2" fmla="*/ 4762 w 3"/>
                <a:gd name="T3" fmla="*/ 7938 h 4"/>
                <a:gd name="T4" fmla="*/ 1587 w 3"/>
                <a:gd name="T5" fmla="*/ 3969 h 4"/>
                <a:gd name="T6" fmla="*/ 1587 w 3"/>
                <a:gd name="T7" fmla="*/ 0 h 4"/>
                <a:gd name="T8" fmla="*/ 4762 w 3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2"/>
                  </a:move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2" y="3"/>
                    <a:pt x="1" y="2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1" name="Freeform 842"/>
            <p:cNvSpPr>
              <a:spLocks noChangeAspect="1"/>
            </p:cNvSpPr>
            <p:nvPr/>
          </p:nvSpPr>
          <p:spPr bwMode="auto">
            <a:xfrm>
              <a:off x="2859088" y="5673725"/>
              <a:ext cx="6350" cy="9525"/>
            </a:xfrm>
            <a:custGeom>
              <a:avLst/>
              <a:gdLst>
                <a:gd name="T0" fmla="*/ 4762 w 4"/>
                <a:gd name="T1" fmla="*/ 5715 h 5"/>
                <a:gd name="T2" fmla="*/ 4762 w 4"/>
                <a:gd name="T3" fmla="*/ 9525 h 5"/>
                <a:gd name="T4" fmla="*/ 3175 w 4"/>
                <a:gd name="T5" fmla="*/ 5715 h 5"/>
                <a:gd name="T6" fmla="*/ 1588 w 4"/>
                <a:gd name="T7" fmla="*/ 1905 h 5"/>
                <a:gd name="T8" fmla="*/ 4762 w 4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3" y="3"/>
                  </a:moveTo>
                  <a:cubicBezTo>
                    <a:pt x="3" y="3"/>
                    <a:pt x="4" y="4"/>
                    <a:pt x="3" y="5"/>
                  </a:cubicBezTo>
                  <a:cubicBezTo>
                    <a:pt x="3" y="5"/>
                    <a:pt x="2" y="4"/>
                    <a:pt x="2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2" y="2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2" name="Freeform 843"/>
            <p:cNvSpPr>
              <a:spLocks noChangeAspect="1"/>
            </p:cNvSpPr>
            <p:nvPr/>
          </p:nvSpPr>
          <p:spPr bwMode="auto">
            <a:xfrm>
              <a:off x="2854325" y="5697538"/>
              <a:ext cx="7938" cy="6350"/>
            </a:xfrm>
            <a:custGeom>
              <a:avLst/>
              <a:gdLst>
                <a:gd name="T0" fmla="*/ 3969 w 4"/>
                <a:gd name="T1" fmla="*/ 4233 h 3"/>
                <a:gd name="T2" fmla="*/ 0 w 4"/>
                <a:gd name="T3" fmla="*/ 4233 h 3"/>
                <a:gd name="T4" fmla="*/ 3969 w 4"/>
                <a:gd name="T5" fmla="*/ 2117 h 3"/>
                <a:gd name="T6" fmla="*/ 7938 w 4"/>
                <a:gd name="T7" fmla="*/ 0 h 3"/>
                <a:gd name="T8" fmla="*/ 3969 w 4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2"/>
                  </a:moveTo>
                  <a:cubicBezTo>
                    <a:pt x="1" y="2"/>
                    <a:pt x="0" y="3"/>
                    <a:pt x="0" y="2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2" y="0"/>
                    <a:pt x="4" y="0"/>
                    <a:pt x="4" y="0"/>
                  </a:cubicBezTo>
                  <a:cubicBezTo>
                    <a:pt x="4" y="1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3" name="Freeform 844"/>
            <p:cNvSpPr>
              <a:spLocks noChangeAspect="1"/>
            </p:cNvSpPr>
            <p:nvPr/>
          </p:nvSpPr>
          <p:spPr bwMode="auto">
            <a:xfrm>
              <a:off x="2854325" y="5707063"/>
              <a:ext cx="4763" cy="17462"/>
            </a:xfrm>
            <a:custGeom>
              <a:avLst/>
              <a:gdLst>
                <a:gd name="T0" fmla="*/ 2382 w 2"/>
                <a:gd name="T1" fmla="*/ 11641 h 9"/>
                <a:gd name="T2" fmla="*/ 0 w 2"/>
                <a:gd name="T3" fmla="*/ 17462 h 9"/>
                <a:gd name="T4" fmla="*/ 0 w 2"/>
                <a:gd name="T5" fmla="*/ 9701 h 9"/>
                <a:gd name="T6" fmla="*/ 2382 w 2"/>
                <a:gd name="T7" fmla="*/ 1940 h 9"/>
                <a:gd name="T8" fmla="*/ 2382 w 2"/>
                <a:gd name="T9" fmla="*/ 1164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9"/>
                <a:gd name="T17" fmla="*/ 2 w 2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9">
                  <a:moveTo>
                    <a:pt x="1" y="6"/>
                  </a:moveTo>
                  <a:cubicBezTo>
                    <a:pt x="1" y="7"/>
                    <a:pt x="1" y="9"/>
                    <a:pt x="0" y="9"/>
                  </a:cubicBezTo>
                  <a:cubicBezTo>
                    <a:pt x="0" y="8"/>
                    <a:pt x="0" y="6"/>
                    <a:pt x="0" y="5"/>
                  </a:cubicBezTo>
                  <a:cubicBezTo>
                    <a:pt x="0" y="3"/>
                    <a:pt x="1" y="0"/>
                    <a:pt x="1" y="1"/>
                  </a:cubicBezTo>
                  <a:cubicBezTo>
                    <a:pt x="2" y="1"/>
                    <a:pt x="2" y="4"/>
                    <a:pt x="1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4" name="Freeform 845"/>
            <p:cNvSpPr>
              <a:spLocks noChangeAspect="1"/>
            </p:cNvSpPr>
            <p:nvPr/>
          </p:nvSpPr>
          <p:spPr bwMode="auto">
            <a:xfrm>
              <a:off x="2860675" y="5713413"/>
              <a:ext cx="1588" cy="11112"/>
            </a:xfrm>
            <a:custGeom>
              <a:avLst/>
              <a:gdLst>
                <a:gd name="T0" fmla="*/ 1588 w 1"/>
                <a:gd name="T1" fmla="*/ 7408 h 6"/>
                <a:gd name="T2" fmla="*/ 0 w 1"/>
                <a:gd name="T3" fmla="*/ 11112 h 6"/>
                <a:gd name="T4" fmla="*/ 0 w 1"/>
                <a:gd name="T5" fmla="*/ 5556 h 6"/>
                <a:gd name="T6" fmla="*/ 0 w 1"/>
                <a:gd name="T7" fmla="*/ 0 h 6"/>
                <a:gd name="T8" fmla="*/ 1588 w 1"/>
                <a:gd name="T9" fmla="*/ 7408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6"/>
                <a:gd name="T17" fmla="*/ 1 w 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6">
                  <a:moveTo>
                    <a:pt x="1" y="4"/>
                  </a:moveTo>
                  <a:cubicBezTo>
                    <a:pt x="1" y="5"/>
                    <a:pt x="1" y="6"/>
                    <a:pt x="0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0" y="2"/>
                    <a:pt x="0" y="0"/>
                    <a:pt x="0" y="0"/>
                  </a:cubicBezTo>
                  <a:cubicBezTo>
                    <a:pt x="1" y="0"/>
                    <a:pt x="1" y="3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5" name="Freeform 846"/>
            <p:cNvSpPr>
              <a:spLocks noChangeAspect="1"/>
            </p:cNvSpPr>
            <p:nvPr/>
          </p:nvSpPr>
          <p:spPr bwMode="auto">
            <a:xfrm>
              <a:off x="2878138" y="5729288"/>
              <a:ext cx="6350" cy="6350"/>
            </a:xfrm>
            <a:custGeom>
              <a:avLst/>
              <a:gdLst>
                <a:gd name="T0" fmla="*/ 4762 w 4"/>
                <a:gd name="T1" fmla="*/ 3175 h 4"/>
                <a:gd name="T2" fmla="*/ 6350 w 4"/>
                <a:gd name="T3" fmla="*/ 4762 h 4"/>
                <a:gd name="T4" fmla="*/ 3175 w 4"/>
                <a:gd name="T5" fmla="*/ 4762 h 4"/>
                <a:gd name="T6" fmla="*/ 1588 w 4"/>
                <a:gd name="T7" fmla="*/ 0 h 4"/>
                <a:gd name="T8" fmla="*/ 4762 w 4"/>
                <a:gd name="T9" fmla="*/ 317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4" y="2"/>
                    <a:pt x="4" y="3"/>
                    <a:pt x="4" y="3"/>
                  </a:cubicBezTo>
                  <a:cubicBezTo>
                    <a:pt x="3" y="4"/>
                    <a:pt x="2" y="3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6" name="Freeform 847"/>
            <p:cNvSpPr>
              <a:spLocks noChangeAspect="1"/>
            </p:cNvSpPr>
            <p:nvPr/>
          </p:nvSpPr>
          <p:spPr bwMode="auto">
            <a:xfrm>
              <a:off x="2873375" y="5719763"/>
              <a:ext cx="9525" cy="6350"/>
            </a:xfrm>
            <a:custGeom>
              <a:avLst/>
              <a:gdLst>
                <a:gd name="T0" fmla="*/ 5715 w 5"/>
                <a:gd name="T1" fmla="*/ 3175 h 4"/>
                <a:gd name="T2" fmla="*/ 7620 w 5"/>
                <a:gd name="T3" fmla="*/ 6350 h 4"/>
                <a:gd name="T4" fmla="*/ 3810 w 5"/>
                <a:gd name="T5" fmla="*/ 4762 h 4"/>
                <a:gd name="T6" fmla="*/ 1905 w 5"/>
                <a:gd name="T7" fmla="*/ 1588 h 4"/>
                <a:gd name="T8" fmla="*/ 5715 w 5"/>
                <a:gd name="T9" fmla="*/ 317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3" y="2"/>
                  </a:moveTo>
                  <a:cubicBezTo>
                    <a:pt x="4" y="2"/>
                    <a:pt x="5" y="3"/>
                    <a:pt x="4" y="4"/>
                  </a:cubicBezTo>
                  <a:cubicBezTo>
                    <a:pt x="4" y="4"/>
                    <a:pt x="3" y="3"/>
                    <a:pt x="2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7" name="Freeform 848"/>
            <p:cNvSpPr>
              <a:spLocks noChangeAspect="1"/>
            </p:cNvSpPr>
            <p:nvPr/>
          </p:nvSpPr>
          <p:spPr bwMode="auto">
            <a:xfrm>
              <a:off x="2863850" y="5711825"/>
              <a:ext cx="7938" cy="7938"/>
            </a:xfrm>
            <a:custGeom>
              <a:avLst/>
              <a:gdLst>
                <a:gd name="T0" fmla="*/ 5953 w 4"/>
                <a:gd name="T1" fmla="*/ 3969 h 4"/>
                <a:gd name="T2" fmla="*/ 7938 w 4"/>
                <a:gd name="T3" fmla="*/ 5953 h 4"/>
                <a:gd name="T4" fmla="*/ 3969 w 4"/>
                <a:gd name="T5" fmla="*/ 3969 h 4"/>
                <a:gd name="T6" fmla="*/ 1985 w 4"/>
                <a:gd name="T7" fmla="*/ 0 h 4"/>
                <a:gd name="T8" fmla="*/ 5953 w 4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4" y="2"/>
                    <a:pt x="4" y="3"/>
                    <a:pt x="4" y="3"/>
                  </a:cubicBezTo>
                  <a:cubicBezTo>
                    <a:pt x="4" y="4"/>
                    <a:pt x="3" y="3"/>
                    <a:pt x="2" y="2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8" name="Freeform 849"/>
            <p:cNvSpPr>
              <a:spLocks noChangeAspect="1"/>
            </p:cNvSpPr>
            <p:nvPr/>
          </p:nvSpPr>
          <p:spPr bwMode="auto">
            <a:xfrm>
              <a:off x="2900363" y="5808663"/>
              <a:ext cx="9525" cy="3175"/>
            </a:xfrm>
            <a:custGeom>
              <a:avLst/>
              <a:gdLst>
                <a:gd name="T0" fmla="*/ 3810 w 5"/>
                <a:gd name="T1" fmla="*/ 3175 h 2"/>
                <a:gd name="T2" fmla="*/ 0 w 5"/>
                <a:gd name="T3" fmla="*/ 1588 h 2"/>
                <a:gd name="T4" fmla="*/ 3810 w 5"/>
                <a:gd name="T5" fmla="*/ 0 h 2"/>
                <a:gd name="T6" fmla="*/ 9525 w 5"/>
                <a:gd name="T7" fmla="*/ 1588 h 2"/>
                <a:gd name="T8" fmla="*/ 3810 w 5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2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4" y="2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49" name="Freeform 850"/>
            <p:cNvSpPr>
              <a:spLocks noChangeAspect="1"/>
            </p:cNvSpPr>
            <p:nvPr/>
          </p:nvSpPr>
          <p:spPr bwMode="auto">
            <a:xfrm>
              <a:off x="1871663" y="3373438"/>
              <a:ext cx="3175" cy="9525"/>
            </a:xfrm>
            <a:custGeom>
              <a:avLst/>
              <a:gdLst>
                <a:gd name="T0" fmla="*/ 3175 w 2"/>
                <a:gd name="T1" fmla="*/ 5715 h 5"/>
                <a:gd name="T2" fmla="*/ 1588 w 2"/>
                <a:gd name="T3" fmla="*/ 9525 h 5"/>
                <a:gd name="T4" fmla="*/ 0 w 2"/>
                <a:gd name="T5" fmla="*/ 5715 h 5"/>
                <a:gd name="T6" fmla="*/ 1588 w 2"/>
                <a:gd name="T7" fmla="*/ 0 h 5"/>
                <a:gd name="T8" fmla="*/ 3175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0" name="Freeform 851"/>
            <p:cNvSpPr>
              <a:spLocks noChangeAspect="1"/>
            </p:cNvSpPr>
            <p:nvPr/>
          </p:nvSpPr>
          <p:spPr bwMode="auto">
            <a:xfrm>
              <a:off x="314325" y="2611438"/>
              <a:ext cx="7938" cy="4762"/>
            </a:xfrm>
            <a:custGeom>
              <a:avLst/>
              <a:gdLst>
                <a:gd name="T0" fmla="*/ 3969 w 4"/>
                <a:gd name="T1" fmla="*/ 4762 h 3"/>
                <a:gd name="T2" fmla="*/ 1985 w 4"/>
                <a:gd name="T3" fmla="*/ 3175 h 3"/>
                <a:gd name="T4" fmla="*/ 1985 w 4"/>
                <a:gd name="T5" fmla="*/ 1587 h 3"/>
                <a:gd name="T6" fmla="*/ 7938 w 4"/>
                <a:gd name="T7" fmla="*/ 1587 h 3"/>
                <a:gd name="T8" fmla="*/ 3969 w 4"/>
                <a:gd name="T9" fmla="*/ 4762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3"/>
                  </a:move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0"/>
                    <a:pt x="3" y="0"/>
                    <a:pt x="4" y="1"/>
                  </a:cubicBezTo>
                  <a:cubicBezTo>
                    <a:pt x="4" y="2"/>
                    <a:pt x="3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1" name="Freeform 852"/>
            <p:cNvSpPr>
              <a:spLocks noChangeAspect="1"/>
            </p:cNvSpPr>
            <p:nvPr/>
          </p:nvSpPr>
          <p:spPr bwMode="auto">
            <a:xfrm>
              <a:off x="946150" y="2538413"/>
              <a:ext cx="4763" cy="6350"/>
            </a:xfrm>
            <a:custGeom>
              <a:avLst/>
              <a:gdLst>
                <a:gd name="T0" fmla="*/ 4763 w 3"/>
                <a:gd name="T1" fmla="*/ 4233 h 3"/>
                <a:gd name="T2" fmla="*/ 1588 w 3"/>
                <a:gd name="T3" fmla="*/ 6350 h 3"/>
                <a:gd name="T4" fmla="*/ 0 w 3"/>
                <a:gd name="T5" fmla="*/ 2117 h 3"/>
                <a:gd name="T6" fmla="*/ 3175 w 3"/>
                <a:gd name="T7" fmla="*/ 0 h 3"/>
                <a:gd name="T8" fmla="*/ 476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2" name="Freeform 853"/>
            <p:cNvSpPr>
              <a:spLocks noChangeAspect="1"/>
            </p:cNvSpPr>
            <p:nvPr/>
          </p:nvSpPr>
          <p:spPr bwMode="auto">
            <a:xfrm>
              <a:off x="1606550" y="2578100"/>
              <a:ext cx="3175" cy="7938"/>
            </a:xfrm>
            <a:custGeom>
              <a:avLst/>
              <a:gdLst>
                <a:gd name="T0" fmla="*/ 3175 w 2"/>
                <a:gd name="T1" fmla="*/ 5953 h 4"/>
                <a:gd name="T2" fmla="*/ 1588 w 2"/>
                <a:gd name="T3" fmla="*/ 7938 h 4"/>
                <a:gd name="T4" fmla="*/ 0 w 2"/>
                <a:gd name="T5" fmla="*/ 3969 h 4"/>
                <a:gd name="T6" fmla="*/ 1588 w 2"/>
                <a:gd name="T7" fmla="*/ 0 h 4"/>
                <a:gd name="T8" fmla="*/ 3175 w 2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3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3" name="Freeform 854"/>
            <p:cNvSpPr>
              <a:spLocks noChangeAspect="1"/>
            </p:cNvSpPr>
            <p:nvPr/>
          </p:nvSpPr>
          <p:spPr bwMode="auto">
            <a:xfrm>
              <a:off x="1574800" y="2501900"/>
              <a:ext cx="4763" cy="6350"/>
            </a:xfrm>
            <a:custGeom>
              <a:avLst/>
              <a:gdLst>
                <a:gd name="T0" fmla="*/ 3175 w 3"/>
                <a:gd name="T1" fmla="*/ 4233 h 3"/>
                <a:gd name="T2" fmla="*/ 0 w 3"/>
                <a:gd name="T3" fmla="*/ 6350 h 3"/>
                <a:gd name="T4" fmla="*/ 0 w 3"/>
                <a:gd name="T5" fmla="*/ 2117 h 3"/>
                <a:gd name="T6" fmla="*/ 3175 w 3"/>
                <a:gd name="T7" fmla="*/ 0 h 3"/>
                <a:gd name="T8" fmla="*/ 3175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4" name="Freeform 855"/>
            <p:cNvSpPr>
              <a:spLocks noChangeAspect="1"/>
            </p:cNvSpPr>
            <p:nvPr/>
          </p:nvSpPr>
          <p:spPr bwMode="auto">
            <a:xfrm>
              <a:off x="3736975" y="1382713"/>
              <a:ext cx="7938" cy="4762"/>
            </a:xfrm>
            <a:custGeom>
              <a:avLst/>
              <a:gdLst>
                <a:gd name="T0" fmla="*/ 5953 w 4"/>
                <a:gd name="T1" fmla="*/ 1587 h 3"/>
                <a:gd name="T2" fmla="*/ 7938 w 4"/>
                <a:gd name="T3" fmla="*/ 4762 h 3"/>
                <a:gd name="T4" fmla="*/ 3969 w 4"/>
                <a:gd name="T5" fmla="*/ 4762 h 3"/>
                <a:gd name="T6" fmla="*/ 1985 w 4"/>
                <a:gd name="T7" fmla="*/ 1587 h 3"/>
                <a:gd name="T8" fmla="*/ 5953 w 4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1"/>
                  </a:moveTo>
                  <a:cubicBezTo>
                    <a:pt x="3" y="1"/>
                    <a:pt x="4" y="2"/>
                    <a:pt x="4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5" name="Freeform 856"/>
            <p:cNvSpPr>
              <a:spLocks noChangeAspect="1"/>
            </p:cNvSpPr>
            <p:nvPr/>
          </p:nvSpPr>
          <p:spPr bwMode="auto">
            <a:xfrm>
              <a:off x="3544888" y="1411288"/>
              <a:ext cx="4762" cy="4762"/>
            </a:xfrm>
            <a:custGeom>
              <a:avLst/>
              <a:gdLst>
                <a:gd name="T0" fmla="*/ 3175 w 3"/>
                <a:gd name="T1" fmla="*/ 1587 h 3"/>
                <a:gd name="T2" fmla="*/ 4762 w 3"/>
                <a:gd name="T3" fmla="*/ 3175 h 3"/>
                <a:gd name="T4" fmla="*/ 1587 w 3"/>
                <a:gd name="T5" fmla="*/ 4762 h 3"/>
                <a:gd name="T6" fmla="*/ 0 w 3"/>
                <a:gd name="T7" fmla="*/ 1587 h 3"/>
                <a:gd name="T8" fmla="*/ 3175 w 3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2" y="1"/>
                    <a:pt x="3" y="1"/>
                    <a:pt x="3" y="2"/>
                  </a:cubicBezTo>
                  <a:cubicBezTo>
                    <a:pt x="3" y="3"/>
                    <a:pt x="2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6" name="Freeform 857"/>
            <p:cNvSpPr>
              <a:spLocks noChangeAspect="1"/>
            </p:cNvSpPr>
            <p:nvPr/>
          </p:nvSpPr>
          <p:spPr bwMode="auto">
            <a:xfrm>
              <a:off x="3411538" y="1930400"/>
              <a:ext cx="7937" cy="12700"/>
            </a:xfrm>
            <a:custGeom>
              <a:avLst/>
              <a:gdLst>
                <a:gd name="T0" fmla="*/ 5953 w 4"/>
                <a:gd name="T1" fmla="*/ 8467 h 6"/>
                <a:gd name="T2" fmla="*/ 3969 w 4"/>
                <a:gd name="T3" fmla="*/ 12700 h 6"/>
                <a:gd name="T4" fmla="*/ 0 w 4"/>
                <a:gd name="T5" fmla="*/ 6350 h 6"/>
                <a:gd name="T6" fmla="*/ 3969 w 4"/>
                <a:gd name="T7" fmla="*/ 0 h 6"/>
                <a:gd name="T8" fmla="*/ 5953 w 4"/>
                <a:gd name="T9" fmla="*/ 846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3" y="4"/>
                  </a:moveTo>
                  <a:cubicBezTo>
                    <a:pt x="3" y="5"/>
                    <a:pt x="3" y="6"/>
                    <a:pt x="2" y="6"/>
                  </a:cubicBezTo>
                  <a:cubicBezTo>
                    <a:pt x="0" y="6"/>
                    <a:pt x="0" y="4"/>
                    <a:pt x="0" y="3"/>
                  </a:cubicBezTo>
                  <a:cubicBezTo>
                    <a:pt x="0" y="2"/>
                    <a:pt x="0" y="0"/>
                    <a:pt x="2" y="0"/>
                  </a:cubicBezTo>
                  <a:cubicBezTo>
                    <a:pt x="4" y="1"/>
                    <a:pt x="3" y="3"/>
                    <a:pt x="3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7" name="Freeform 858"/>
            <p:cNvSpPr>
              <a:spLocks noChangeAspect="1"/>
            </p:cNvSpPr>
            <p:nvPr/>
          </p:nvSpPr>
          <p:spPr bwMode="auto">
            <a:xfrm>
              <a:off x="3454400" y="1993900"/>
              <a:ext cx="7938" cy="11113"/>
            </a:xfrm>
            <a:custGeom>
              <a:avLst/>
              <a:gdLst>
                <a:gd name="T0" fmla="*/ 7938 w 4"/>
                <a:gd name="T1" fmla="*/ 5557 h 6"/>
                <a:gd name="T2" fmla="*/ 3969 w 4"/>
                <a:gd name="T3" fmla="*/ 9261 h 6"/>
                <a:gd name="T4" fmla="*/ 1985 w 4"/>
                <a:gd name="T5" fmla="*/ 5557 h 6"/>
                <a:gd name="T6" fmla="*/ 3969 w 4"/>
                <a:gd name="T7" fmla="*/ 0 h 6"/>
                <a:gd name="T8" fmla="*/ 7938 w 4"/>
                <a:gd name="T9" fmla="*/ 555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6"/>
                <a:gd name="T17" fmla="*/ 4 w 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6">
                  <a:moveTo>
                    <a:pt x="4" y="3"/>
                  </a:moveTo>
                  <a:cubicBezTo>
                    <a:pt x="4" y="4"/>
                    <a:pt x="3" y="6"/>
                    <a:pt x="2" y="5"/>
                  </a:cubicBezTo>
                  <a:cubicBezTo>
                    <a:pt x="1" y="5"/>
                    <a:pt x="0" y="4"/>
                    <a:pt x="1" y="3"/>
                  </a:cubicBezTo>
                  <a:cubicBezTo>
                    <a:pt x="1" y="2"/>
                    <a:pt x="1" y="0"/>
                    <a:pt x="2" y="0"/>
                  </a:cubicBezTo>
                  <a:cubicBezTo>
                    <a:pt x="4" y="0"/>
                    <a:pt x="4" y="2"/>
                    <a:pt x="4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8" name="Freeform 859"/>
            <p:cNvSpPr>
              <a:spLocks noChangeAspect="1"/>
            </p:cNvSpPr>
            <p:nvPr/>
          </p:nvSpPr>
          <p:spPr bwMode="auto">
            <a:xfrm>
              <a:off x="3422650" y="1928813"/>
              <a:ext cx="12700" cy="9525"/>
            </a:xfrm>
            <a:custGeom>
              <a:avLst/>
              <a:gdLst>
                <a:gd name="T0" fmla="*/ 9071 w 7"/>
                <a:gd name="T1" fmla="*/ 1905 h 5"/>
                <a:gd name="T2" fmla="*/ 10886 w 7"/>
                <a:gd name="T3" fmla="*/ 5715 h 5"/>
                <a:gd name="T4" fmla="*/ 5443 w 7"/>
                <a:gd name="T5" fmla="*/ 7620 h 5"/>
                <a:gd name="T6" fmla="*/ 1814 w 7"/>
                <a:gd name="T7" fmla="*/ 3810 h 5"/>
                <a:gd name="T8" fmla="*/ 9071 w 7"/>
                <a:gd name="T9" fmla="*/ 190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5"/>
                <a:gd name="T17" fmla="*/ 7 w 7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5">
                  <a:moveTo>
                    <a:pt x="5" y="1"/>
                  </a:moveTo>
                  <a:cubicBezTo>
                    <a:pt x="5" y="1"/>
                    <a:pt x="7" y="2"/>
                    <a:pt x="6" y="3"/>
                  </a:cubicBezTo>
                  <a:cubicBezTo>
                    <a:pt x="6" y="5"/>
                    <a:pt x="4" y="5"/>
                    <a:pt x="3" y="4"/>
                  </a:cubicBezTo>
                  <a:cubicBezTo>
                    <a:pt x="2" y="4"/>
                    <a:pt x="0" y="3"/>
                    <a:pt x="1" y="2"/>
                  </a:cubicBezTo>
                  <a:cubicBezTo>
                    <a:pt x="1" y="0"/>
                    <a:pt x="3" y="1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59" name="Freeform 860"/>
            <p:cNvSpPr>
              <a:spLocks noChangeAspect="1"/>
            </p:cNvSpPr>
            <p:nvPr/>
          </p:nvSpPr>
          <p:spPr bwMode="auto">
            <a:xfrm>
              <a:off x="3375025" y="1866900"/>
              <a:ext cx="11113" cy="11113"/>
            </a:xfrm>
            <a:custGeom>
              <a:avLst/>
              <a:gdLst>
                <a:gd name="T0" fmla="*/ 5557 w 6"/>
                <a:gd name="T1" fmla="*/ 1852 h 6"/>
                <a:gd name="T2" fmla="*/ 9261 w 6"/>
                <a:gd name="T3" fmla="*/ 1852 h 6"/>
                <a:gd name="T4" fmla="*/ 9261 w 6"/>
                <a:gd name="T5" fmla="*/ 7409 h 6"/>
                <a:gd name="T6" fmla="*/ 1852 w 6"/>
                <a:gd name="T7" fmla="*/ 9261 h 6"/>
                <a:gd name="T8" fmla="*/ 5557 w 6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1"/>
                  </a:moveTo>
                  <a:cubicBezTo>
                    <a:pt x="3" y="0"/>
                    <a:pt x="4" y="0"/>
                    <a:pt x="5" y="1"/>
                  </a:cubicBezTo>
                  <a:cubicBezTo>
                    <a:pt x="6" y="2"/>
                    <a:pt x="5" y="3"/>
                    <a:pt x="5" y="4"/>
                  </a:cubicBezTo>
                  <a:cubicBezTo>
                    <a:pt x="4" y="5"/>
                    <a:pt x="2" y="6"/>
                    <a:pt x="1" y="5"/>
                  </a:cubicBezTo>
                  <a:cubicBezTo>
                    <a:pt x="0" y="3"/>
                    <a:pt x="2" y="2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0" name="Freeform 861"/>
            <p:cNvSpPr>
              <a:spLocks noChangeAspect="1"/>
            </p:cNvSpPr>
            <p:nvPr/>
          </p:nvSpPr>
          <p:spPr bwMode="auto">
            <a:xfrm>
              <a:off x="2374900" y="1952625"/>
              <a:ext cx="7938" cy="6350"/>
            </a:xfrm>
            <a:custGeom>
              <a:avLst/>
              <a:gdLst>
                <a:gd name="T0" fmla="*/ 5953 w 4"/>
                <a:gd name="T1" fmla="*/ 3175 h 4"/>
                <a:gd name="T2" fmla="*/ 5953 w 4"/>
                <a:gd name="T3" fmla="*/ 4762 h 4"/>
                <a:gd name="T4" fmla="*/ 3969 w 4"/>
                <a:gd name="T5" fmla="*/ 4762 h 4"/>
                <a:gd name="T6" fmla="*/ 1985 w 4"/>
                <a:gd name="T7" fmla="*/ 1588 h 4"/>
                <a:gd name="T8" fmla="*/ 5953 w 4"/>
                <a:gd name="T9" fmla="*/ 317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3" y="2"/>
                  </a:moveTo>
                  <a:cubicBezTo>
                    <a:pt x="3" y="2"/>
                    <a:pt x="4" y="3"/>
                    <a:pt x="3" y="3"/>
                  </a:cubicBezTo>
                  <a:cubicBezTo>
                    <a:pt x="3" y="4"/>
                    <a:pt x="2" y="3"/>
                    <a:pt x="2" y="3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1" name="Freeform 862"/>
            <p:cNvSpPr>
              <a:spLocks noChangeAspect="1"/>
            </p:cNvSpPr>
            <p:nvPr/>
          </p:nvSpPr>
          <p:spPr bwMode="auto">
            <a:xfrm>
              <a:off x="2427288" y="1957388"/>
              <a:ext cx="6350" cy="9525"/>
            </a:xfrm>
            <a:custGeom>
              <a:avLst/>
              <a:gdLst>
                <a:gd name="T0" fmla="*/ 4233 w 3"/>
                <a:gd name="T1" fmla="*/ 5715 h 5"/>
                <a:gd name="T2" fmla="*/ 2117 w 3"/>
                <a:gd name="T3" fmla="*/ 7620 h 5"/>
                <a:gd name="T4" fmla="*/ 0 w 3"/>
                <a:gd name="T5" fmla="*/ 3810 h 5"/>
                <a:gd name="T6" fmla="*/ 4233 w 3"/>
                <a:gd name="T7" fmla="*/ 0 h 5"/>
                <a:gd name="T8" fmla="*/ 4233 w 3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2" y="3"/>
                  </a:moveTo>
                  <a:cubicBezTo>
                    <a:pt x="2" y="4"/>
                    <a:pt x="2" y="5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1" y="0"/>
                    <a:pt x="2" y="0"/>
                  </a:cubicBezTo>
                  <a:cubicBezTo>
                    <a:pt x="3" y="1"/>
                    <a:pt x="3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2" name="Freeform 863"/>
            <p:cNvSpPr>
              <a:spLocks noChangeAspect="1"/>
            </p:cNvSpPr>
            <p:nvPr/>
          </p:nvSpPr>
          <p:spPr bwMode="auto">
            <a:xfrm>
              <a:off x="2563813" y="1792288"/>
              <a:ext cx="6350" cy="4762"/>
            </a:xfrm>
            <a:custGeom>
              <a:avLst/>
              <a:gdLst>
                <a:gd name="T0" fmla="*/ 4762 w 4"/>
                <a:gd name="T1" fmla="*/ 1587 h 3"/>
                <a:gd name="T2" fmla="*/ 4762 w 4"/>
                <a:gd name="T3" fmla="*/ 4762 h 3"/>
                <a:gd name="T4" fmla="*/ 3175 w 4"/>
                <a:gd name="T5" fmla="*/ 3175 h 3"/>
                <a:gd name="T6" fmla="*/ 1588 w 4"/>
                <a:gd name="T7" fmla="*/ 1587 h 3"/>
                <a:gd name="T8" fmla="*/ 4762 w 4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1"/>
                  </a:moveTo>
                  <a:cubicBezTo>
                    <a:pt x="3" y="2"/>
                    <a:pt x="4" y="2"/>
                    <a:pt x="3" y="3"/>
                  </a:cubicBezTo>
                  <a:cubicBezTo>
                    <a:pt x="3" y="3"/>
                    <a:pt x="2" y="3"/>
                    <a:pt x="2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3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3" name="Freeform 864"/>
            <p:cNvSpPr>
              <a:spLocks noChangeAspect="1"/>
            </p:cNvSpPr>
            <p:nvPr/>
          </p:nvSpPr>
          <p:spPr bwMode="auto">
            <a:xfrm>
              <a:off x="3005138" y="191928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4" name="Freeform 865"/>
            <p:cNvSpPr>
              <a:spLocks noChangeAspect="1"/>
            </p:cNvSpPr>
            <p:nvPr/>
          </p:nvSpPr>
          <p:spPr bwMode="auto">
            <a:xfrm>
              <a:off x="2862263" y="2043113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0 w 3"/>
                <a:gd name="T3" fmla="*/ 6350 h 3"/>
                <a:gd name="T4" fmla="*/ 0 w 3"/>
                <a:gd name="T5" fmla="*/ 2117 h 3"/>
                <a:gd name="T6" fmla="*/ 4233 w 3"/>
                <a:gd name="T7" fmla="*/ 0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3"/>
                    <a:pt x="1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5" name="Freeform 866"/>
            <p:cNvSpPr>
              <a:spLocks noChangeAspect="1"/>
            </p:cNvSpPr>
            <p:nvPr/>
          </p:nvSpPr>
          <p:spPr bwMode="auto">
            <a:xfrm>
              <a:off x="3122613" y="2276475"/>
              <a:ext cx="12700" cy="9525"/>
            </a:xfrm>
            <a:custGeom>
              <a:avLst/>
              <a:gdLst>
                <a:gd name="T0" fmla="*/ 6350 w 6"/>
                <a:gd name="T1" fmla="*/ 9525 h 5"/>
                <a:gd name="T2" fmla="*/ 0 w 6"/>
                <a:gd name="T3" fmla="*/ 7620 h 5"/>
                <a:gd name="T4" fmla="*/ 4233 w 6"/>
                <a:gd name="T5" fmla="*/ 1905 h 5"/>
                <a:gd name="T6" fmla="*/ 12700 w 6"/>
                <a:gd name="T7" fmla="*/ 3810 h 5"/>
                <a:gd name="T8" fmla="*/ 6350 w 6"/>
                <a:gd name="T9" fmla="*/ 952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5"/>
                  </a:moveTo>
                  <a:cubicBezTo>
                    <a:pt x="2" y="5"/>
                    <a:pt x="1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6" y="2"/>
                  </a:cubicBezTo>
                  <a:cubicBezTo>
                    <a:pt x="6" y="3"/>
                    <a:pt x="4" y="4"/>
                    <a:pt x="3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6" name="Freeform 867"/>
            <p:cNvSpPr>
              <a:spLocks noChangeAspect="1"/>
            </p:cNvSpPr>
            <p:nvPr/>
          </p:nvSpPr>
          <p:spPr bwMode="auto">
            <a:xfrm>
              <a:off x="2684463" y="3527425"/>
              <a:ext cx="4762" cy="9525"/>
            </a:xfrm>
            <a:custGeom>
              <a:avLst/>
              <a:gdLst>
                <a:gd name="T0" fmla="*/ 4762 w 2"/>
                <a:gd name="T1" fmla="*/ 5715 h 5"/>
                <a:gd name="T2" fmla="*/ 2381 w 2"/>
                <a:gd name="T3" fmla="*/ 9525 h 5"/>
                <a:gd name="T4" fmla="*/ 0 w 2"/>
                <a:gd name="T5" fmla="*/ 3810 h 5"/>
                <a:gd name="T6" fmla="*/ 2381 w 2"/>
                <a:gd name="T7" fmla="*/ 0 h 5"/>
                <a:gd name="T8" fmla="*/ 4762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2" y="5"/>
                    <a:pt x="1" y="5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7" name="Freeform 868"/>
            <p:cNvSpPr>
              <a:spLocks noChangeAspect="1"/>
            </p:cNvSpPr>
            <p:nvPr/>
          </p:nvSpPr>
          <p:spPr bwMode="auto">
            <a:xfrm>
              <a:off x="2763838" y="3560763"/>
              <a:ext cx="6350" cy="3175"/>
            </a:xfrm>
            <a:custGeom>
              <a:avLst/>
              <a:gdLst>
                <a:gd name="T0" fmla="*/ 3175 w 4"/>
                <a:gd name="T1" fmla="*/ 3175 h 2"/>
                <a:gd name="T2" fmla="*/ 0 w 4"/>
                <a:gd name="T3" fmla="*/ 1588 h 2"/>
                <a:gd name="T4" fmla="*/ 3175 w 4"/>
                <a:gd name="T5" fmla="*/ 0 h 2"/>
                <a:gd name="T6" fmla="*/ 6350 w 4"/>
                <a:gd name="T7" fmla="*/ 1588 h 2"/>
                <a:gd name="T8" fmla="*/ 3175 w 4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2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4" y="2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8" name="Freeform 869"/>
            <p:cNvSpPr>
              <a:spLocks noChangeAspect="1"/>
            </p:cNvSpPr>
            <p:nvPr/>
          </p:nvSpPr>
          <p:spPr bwMode="auto">
            <a:xfrm>
              <a:off x="3062288" y="3736975"/>
              <a:ext cx="6350" cy="7938"/>
            </a:xfrm>
            <a:custGeom>
              <a:avLst/>
              <a:gdLst>
                <a:gd name="T0" fmla="*/ 6350 w 3"/>
                <a:gd name="T1" fmla="*/ 3969 h 4"/>
                <a:gd name="T2" fmla="*/ 6350 w 3"/>
                <a:gd name="T3" fmla="*/ 5953 h 4"/>
                <a:gd name="T4" fmla="*/ 2117 w 3"/>
                <a:gd name="T5" fmla="*/ 5953 h 4"/>
                <a:gd name="T6" fmla="*/ 2117 w 3"/>
                <a:gd name="T7" fmla="*/ 1985 h 4"/>
                <a:gd name="T8" fmla="*/ 6350 w 3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2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2" y="4"/>
                    <a:pt x="2" y="3"/>
                    <a:pt x="1" y="3"/>
                  </a:cubicBez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69" name="Freeform 870"/>
            <p:cNvSpPr>
              <a:spLocks noChangeAspect="1"/>
            </p:cNvSpPr>
            <p:nvPr/>
          </p:nvSpPr>
          <p:spPr bwMode="auto">
            <a:xfrm>
              <a:off x="3060700" y="3765550"/>
              <a:ext cx="4763" cy="7938"/>
            </a:xfrm>
            <a:custGeom>
              <a:avLst/>
              <a:gdLst>
                <a:gd name="T0" fmla="*/ 4763 w 3"/>
                <a:gd name="T1" fmla="*/ 3969 h 4"/>
                <a:gd name="T2" fmla="*/ 3175 w 3"/>
                <a:gd name="T3" fmla="*/ 7938 h 4"/>
                <a:gd name="T4" fmla="*/ 0 w 3"/>
                <a:gd name="T5" fmla="*/ 3969 h 4"/>
                <a:gd name="T6" fmla="*/ 1588 w 3"/>
                <a:gd name="T7" fmla="*/ 0 h 4"/>
                <a:gd name="T8" fmla="*/ 4763 w 3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3" y="2"/>
                  </a:moveTo>
                  <a:cubicBezTo>
                    <a:pt x="3" y="3"/>
                    <a:pt x="3" y="4"/>
                    <a:pt x="2" y="4"/>
                  </a:cubicBezTo>
                  <a:cubicBezTo>
                    <a:pt x="1" y="4"/>
                    <a:pt x="1" y="3"/>
                    <a:pt x="0" y="2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0" name="Freeform 871"/>
            <p:cNvSpPr>
              <a:spLocks noChangeAspect="1"/>
            </p:cNvSpPr>
            <p:nvPr/>
          </p:nvSpPr>
          <p:spPr bwMode="auto">
            <a:xfrm>
              <a:off x="2854325" y="3849688"/>
              <a:ext cx="9525" cy="3175"/>
            </a:xfrm>
            <a:custGeom>
              <a:avLst/>
              <a:gdLst>
                <a:gd name="T0" fmla="*/ 7620 w 5"/>
                <a:gd name="T1" fmla="*/ 3175 h 2"/>
                <a:gd name="T2" fmla="*/ 3810 w 5"/>
                <a:gd name="T3" fmla="*/ 3175 h 2"/>
                <a:gd name="T4" fmla="*/ 1905 w 5"/>
                <a:gd name="T5" fmla="*/ 1588 h 2"/>
                <a:gd name="T6" fmla="*/ 5715 w 5"/>
                <a:gd name="T7" fmla="*/ 0 h 2"/>
                <a:gd name="T8" fmla="*/ 7620 w 5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4" y="2"/>
                  </a:moveTo>
                  <a:cubicBezTo>
                    <a:pt x="4" y="2"/>
                    <a:pt x="3" y="2"/>
                    <a:pt x="2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1" y="0"/>
                    <a:pt x="3" y="0"/>
                  </a:cubicBezTo>
                  <a:cubicBezTo>
                    <a:pt x="5" y="0"/>
                    <a:pt x="4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1" name="Freeform 872"/>
            <p:cNvSpPr>
              <a:spLocks noChangeAspect="1"/>
            </p:cNvSpPr>
            <p:nvPr/>
          </p:nvSpPr>
          <p:spPr bwMode="auto">
            <a:xfrm>
              <a:off x="2898775" y="3859213"/>
              <a:ext cx="4763" cy="6350"/>
            </a:xfrm>
            <a:custGeom>
              <a:avLst/>
              <a:gdLst>
                <a:gd name="T0" fmla="*/ 4763 w 3"/>
                <a:gd name="T1" fmla="*/ 4233 h 3"/>
                <a:gd name="T2" fmla="*/ 1588 w 3"/>
                <a:gd name="T3" fmla="*/ 6350 h 3"/>
                <a:gd name="T4" fmla="*/ 0 w 3"/>
                <a:gd name="T5" fmla="*/ 2117 h 3"/>
                <a:gd name="T6" fmla="*/ 3175 w 3"/>
                <a:gd name="T7" fmla="*/ 2117 h 3"/>
                <a:gd name="T8" fmla="*/ 476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3"/>
                    <a:pt x="2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2" y="1"/>
                  </a:cubicBezTo>
                  <a:cubicBezTo>
                    <a:pt x="3" y="1"/>
                    <a:pt x="3" y="2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2" name="Freeform 873"/>
            <p:cNvSpPr>
              <a:spLocks noChangeAspect="1"/>
            </p:cNvSpPr>
            <p:nvPr/>
          </p:nvSpPr>
          <p:spPr bwMode="auto">
            <a:xfrm>
              <a:off x="3343275" y="4191000"/>
              <a:ext cx="9525" cy="4763"/>
            </a:xfrm>
            <a:custGeom>
              <a:avLst/>
              <a:gdLst>
                <a:gd name="T0" fmla="*/ 3810 w 5"/>
                <a:gd name="T1" fmla="*/ 4763 h 3"/>
                <a:gd name="T2" fmla="*/ 0 w 5"/>
                <a:gd name="T3" fmla="*/ 3175 h 3"/>
                <a:gd name="T4" fmla="*/ 3810 w 5"/>
                <a:gd name="T5" fmla="*/ 0 h 3"/>
                <a:gd name="T6" fmla="*/ 9525 w 5"/>
                <a:gd name="T7" fmla="*/ 1588 h 3"/>
                <a:gd name="T8" fmla="*/ 3810 w 5"/>
                <a:gd name="T9" fmla="*/ 476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3"/>
                  </a:moveTo>
                  <a:cubicBezTo>
                    <a:pt x="2" y="3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5" y="0"/>
                    <a:pt x="5" y="1"/>
                  </a:cubicBezTo>
                  <a:cubicBezTo>
                    <a:pt x="5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3" name="Freeform 874"/>
            <p:cNvSpPr>
              <a:spLocks noChangeAspect="1"/>
            </p:cNvSpPr>
            <p:nvPr/>
          </p:nvSpPr>
          <p:spPr bwMode="auto">
            <a:xfrm>
              <a:off x="2357438" y="4203700"/>
              <a:ext cx="6350" cy="6350"/>
            </a:xfrm>
            <a:custGeom>
              <a:avLst/>
              <a:gdLst>
                <a:gd name="T0" fmla="*/ 6350 w 3"/>
                <a:gd name="T1" fmla="*/ 4233 h 3"/>
                <a:gd name="T2" fmla="*/ 2117 w 3"/>
                <a:gd name="T3" fmla="*/ 6350 h 3"/>
                <a:gd name="T4" fmla="*/ 0 w 3"/>
                <a:gd name="T5" fmla="*/ 4233 h 3"/>
                <a:gd name="T6" fmla="*/ 4233 w 3"/>
                <a:gd name="T7" fmla="*/ 0 h 3"/>
                <a:gd name="T8" fmla="*/ 6350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3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4" name="Freeform 875"/>
            <p:cNvSpPr>
              <a:spLocks noChangeAspect="1"/>
            </p:cNvSpPr>
            <p:nvPr/>
          </p:nvSpPr>
          <p:spPr bwMode="auto">
            <a:xfrm>
              <a:off x="2836863" y="5664200"/>
              <a:ext cx="7937" cy="4763"/>
            </a:xfrm>
            <a:custGeom>
              <a:avLst/>
              <a:gdLst>
                <a:gd name="T0" fmla="*/ 3969 w 4"/>
                <a:gd name="T1" fmla="*/ 3175 h 3"/>
                <a:gd name="T2" fmla="*/ 1984 w 4"/>
                <a:gd name="T3" fmla="*/ 4763 h 3"/>
                <a:gd name="T4" fmla="*/ 1984 w 4"/>
                <a:gd name="T5" fmla="*/ 1588 h 3"/>
                <a:gd name="T6" fmla="*/ 5953 w 4"/>
                <a:gd name="T7" fmla="*/ 0 h 3"/>
                <a:gd name="T8" fmla="*/ 3969 w 4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1"/>
                    <a:pt x="3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5" name="Freeform 876"/>
            <p:cNvSpPr>
              <a:spLocks noChangeAspect="1"/>
            </p:cNvSpPr>
            <p:nvPr/>
          </p:nvSpPr>
          <p:spPr bwMode="auto">
            <a:xfrm>
              <a:off x="2840038" y="5672138"/>
              <a:ext cx="3175" cy="9525"/>
            </a:xfrm>
            <a:custGeom>
              <a:avLst/>
              <a:gdLst>
                <a:gd name="T0" fmla="*/ 3175 w 2"/>
                <a:gd name="T1" fmla="*/ 5715 h 5"/>
                <a:gd name="T2" fmla="*/ 1588 w 2"/>
                <a:gd name="T3" fmla="*/ 9525 h 5"/>
                <a:gd name="T4" fmla="*/ 0 w 2"/>
                <a:gd name="T5" fmla="*/ 5715 h 5"/>
                <a:gd name="T6" fmla="*/ 1588 w 2"/>
                <a:gd name="T7" fmla="*/ 0 h 5"/>
                <a:gd name="T8" fmla="*/ 3175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1" y="4"/>
                    <a:pt x="1" y="5"/>
                    <a:pt x="1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6" name="Freeform 877"/>
            <p:cNvSpPr>
              <a:spLocks noChangeAspect="1"/>
            </p:cNvSpPr>
            <p:nvPr/>
          </p:nvSpPr>
          <p:spPr bwMode="auto">
            <a:xfrm>
              <a:off x="2882900" y="5740400"/>
              <a:ext cx="4763" cy="7938"/>
            </a:xfrm>
            <a:custGeom>
              <a:avLst/>
              <a:gdLst>
                <a:gd name="T0" fmla="*/ 4763 w 2"/>
                <a:gd name="T1" fmla="*/ 5953 h 4"/>
                <a:gd name="T2" fmla="*/ 2382 w 2"/>
                <a:gd name="T3" fmla="*/ 7938 h 4"/>
                <a:gd name="T4" fmla="*/ 0 w 2"/>
                <a:gd name="T5" fmla="*/ 3969 h 4"/>
                <a:gd name="T6" fmla="*/ 2382 w 2"/>
                <a:gd name="T7" fmla="*/ 0 h 4"/>
                <a:gd name="T8" fmla="*/ 4763 w 2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3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7" name="Freeform 878"/>
            <p:cNvSpPr>
              <a:spLocks noChangeAspect="1"/>
            </p:cNvSpPr>
            <p:nvPr/>
          </p:nvSpPr>
          <p:spPr bwMode="auto">
            <a:xfrm>
              <a:off x="3043238" y="5856288"/>
              <a:ext cx="3175" cy="7937"/>
            </a:xfrm>
            <a:custGeom>
              <a:avLst/>
              <a:gdLst>
                <a:gd name="T0" fmla="*/ 3175 w 2"/>
                <a:gd name="T1" fmla="*/ 3969 h 4"/>
                <a:gd name="T2" fmla="*/ 1588 w 2"/>
                <a:gd name="T3" fmla="*/ 7937 h 4"/>
                <a:gd name="T4" fmla="*/ 0 w 2"/>
                <a:gd name="T5" fmla="*/ 3969 h 4"/>
                <a:gd name="T6" fmla="*/ 1588 w 2"/>
                <a:gd name="T7" fmla="*/ 0 h 4"/>
                <a:gd name="T8" fmla="*/ 3175 w 2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4"/>
                <a:gd name="T17" fmla="*/ 2 w 2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4">
                  <a:moveTo>
                    <a:pt x="2" y="2"/>
                  </a:moveTo>
                  <a:cubicBezTo>
                    <a:pt x="2" y="3"/>
                    <a:pt x="2" y="4"/>
                    <a:pt x="1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8" name="Freeform 879"/>
            <p:cNvSpPr>
              <a:spLocks noChangeAspect="1"/>
            </p:cNvSpPr>
            <p:nvPr/>
          </p:nvSpPr>
          <p:spPr bwMode="auto">
            <a:xfrm>
              <a:off x="2951163" y="5824538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1588 h 2"/>
                <a:gd name="T4" fmla="*/ 4233 w 3"/>
                <a:gd name="T5" fmla="*/ 3175 h 2"/>
                <a:gd name="T6" fmla="*/ 0 w 3"/>
                <a:gd name="T7" fmla="*/ 1588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79" name="Freeform 880"/>
            <p:cNvSpPr>
              <a:spLocks noChangeAspect="1"/>
            </p:cNvSpPr>
            <p:nvPr/>
          </p:nvSpPr>
          <p:spPr bwMode="auto">
            <a:xfrm>
              <a:off x="712788" y="3581400"/>
              <a:ext cx="3175" cy="4763"/>
            </a:xfrm>
            <a:custGeom>
              <a:avLst/>
              <a:gdLst>
                <a:gd name="T0" fmla="*/ 1588 w 2"/>
                <a:gd name="T1" fmla="*/ 3175 h 3"/>
                <a:gd name="T2" fmla="*/ 0 w 2"/>
                <a:gd name="T3" fmla="*/ 4763 h 3"/>
                <a:gd name="T4" fmla="*/ 0 w 2"/>
                <a:gd name="T5" fmla="*/ 1588 h 3"/>
                <a:gd name="T6" fmla="*/ 1588 w 2"/>
                <a:gd name="T7" fmla="*/ 1588 h 3"/>
                <a:gd name="T8" fmla="*/ 1588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0" name="Freeform 881"/>
            <p:cNvSpPr>
              <a:spLocks noChangeAspect="1"/>
            </p:cNvSpPr>
            <p:nvPr/>
          </p:nvSpPr>
          <p:spPr bwMode="auto">
            <a:xfrm>
              <a:off x="782638" y="3613150"/>
              <a:ext cx="6350" cy="4763"/>
            </a:xfrm>
            <a:custGeom>
              <a:avLst/>
              <a:gdLst>
                <a:gd name="T0" fmla="*/ 4233 w 3"/>
                <a:gd name="T1" fmla="*/ 2382 h 2"/>
                <a:gd name="T2" fmla="*/ 4233 w 3"/>
                <a:gd name="T3" fmla="*/ 4763 h 2"/>
                <a:gd name="T4" fmla="*/ 2117 w 3"/>
                <a:gd name="T5" fmla="*/ 4763 h 2"/>
                <a:gd name="T6" fmla="*/ 0 w 3"/>
                <a:gd name="T7" fmla="*/ 0 h 2"/>
                <a:gd name="T8" fmla="*/ 4233 w 3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1" name="Freeform 882"/>
            <p:cNvSpPr>
              <a:spLocks noChangeAspect="1"/>
            </p:cNvSpPr>
            <p:nvPr/>
          </p:nvSpPr>
          <p:spPr bwMode="auto">
            <a:xfrm>
              <a:off x="328613" y="2622550"/>
              <a:ext cx="4762" cy="6350"/>
            </a:xfrm>
            <a:custGeom>
              <a:avLst/>
              <a:gdLst>
                <a:gd name="T0" fmla="*/ 3175 w 3"/>
                <a:gd name="T1" fmla="*/ 4233 h 3"/>
                <a:gd name="T2" fmla="*/ 0 w 3"/>
                <a:gd name="T3" fmla="*/ 4233 h 3"/>
                <a:gd name="T4" fmla="*/ 1587 w 3"/>
                <a:gd name="T5" fmla="*/ 2117 h 3"/>
                <a:gd name="T6" fmla="*/ 4762 w 3"/>
                <a:gd name="T7" fmla="*/ 2117 h 3"/>
                <a:gd name="T8" fmla="*/ 3175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1" y="3"/>
                    <a:pt x="1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2" y="0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2" name="Freeform 883"/>
            <p:cNvSpPr>
              <a:spLocks noChangeAspect="1"/>
            </p:cNvSpPr>
            <p:nvPr/>
          </p:nvSpPr>
          <p:spPr bwMode="auto">
            <a:xfrm>
              <a:off x="752475" y="2468563"/>
              <a:ext cx="11113" cy="4762"/>
            </a:xfrm>
            <a:custGeom>
              <a:avLst/>
              <a:gdLst>
                <a:gd name="T0" fmla="*/ 5557 w 6"/>
                <a:gd name="T1" fmla="*/ 3175 h 3"/>
                <a:gd name="T2" fmla="*/ 1852 w 6"/>
                <a:gd name="T3" fmla="*/ 4762 h 3"/>
                <a:gd name="T4" fmla="*/ 3704 w 6"/>
                <a:gd name="T5" fmla="*/ 1587 h 3"/>
                <a:gd name="T6" fmla="*/ 9261 w 6"/>
                <a:gd name="T7" fmla="*/ 0 h 3"/>
                <a:gd name="T8" fmla="*/ 5557 w 6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2"/>
                  </a:moveTo>
                  <a:cubicBezTo>
                    <a:pt x="3" y="3"/>
                    <a:pt x="1" y="3"/>
                    <a:pt x="1" y="3"/>
                  </a:cubicBezTo>
                  <a:cubicBezTo>
                    <a:pt x="0" y="2"/>
                    <a:pt x="2" y="1"/>
                    <a:pt x="2" y="1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6" y="1"/>
                    <a:pt x="5" y="2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3" name="Oval 884"/>
            <p:cNvSpPr>
              <a:spLocks noChangeAspect="1" noChangeArrowheads="1"/>
            </p:cNvSpPr>
            <p:nvPr/>
          </p:nvSpPr>
          <p:spPr bwMode="auto">
            <a:xfrm>
              <a:off x="760413" y="2490788"/>
              <a:ext cx="6350" cy="1587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4" name="Freeform 885"/>
            <p:cNvSpPr>
              <a:spLocks noChangeAspect="1"/>
            </p:cNvSpPr>
            <p:nvPr/>
          </p:nvSpPr>
          <p:spPr bwMode="auto">
            <a:xfrm>
              <a:off x="647700" y="2635250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2117 w 3"/>
                <a:gd name="T3" fmla="*/ 4233 h 3"/>
                <a:gd name="T4" fmla="*/ 2117 w 3"/>
                <a:gd name="T5" fmla="*/ 2117 h 3"/>
                <a:gd name="T6" fmla="*/ 6350 w 3"/>
                <a:gd name="T7" fmla="*/ 2117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1" y="2"/>
                    <a:pt x="1" y="3"/>
                    <a:pt x="1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5" name="Freeform 886"/>
            <p:cNvSpPr>
              <a:spLocks noChangeAspect="1"/>
            </p:cNvSpPr>
            <p:nvPr/>
          </p:nvSpPr>
          <p:spPr bwMode="auto">
            <a:xfrm>
              <a:off x="457200" y="2644775"/>
              <a:ext cx="6350" cy="7938"/>
            </a:xfrm>
            <a:custGeom>
              <a:avLst/>
              <a:gdLst>
                <a:gd name="T0" fmla="*/ 4233 w 3"/>
                <a:gd name="T1" fmla="*/ 5953 h 4"/>
                <a:gd name="T2" fmla="*/ 0 w 3"/>
                <a:gd name="T3" fmla="*/ 5953 h 4"/>
                <a:gd name="T4" fmla="*/ 0 w 3"/>
                <a:gd name="T5" fmla="*/ 3969 h 4"/>
                <a:gd name="T6" fmla="*/ 4233 w 3"/>
                <a:gd name="T7" fmla="*/ 1985 h 4"/>
                <a:gd name="T8" fmla="*/ 4233 w 3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2" y="3"/>
                  </a:moveTo>
                  <a:cubicBezTo>
                    <a:pt x="1" y="3"/>
                    <a:pt x="1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6" name="Freeform 887"/>
            <p:cNvSpPr>
              <a:spLocks noChangeAspect="1"/>
            </p:cNvSpPr>
            <p:nvPr/>
          </p:nvSpPr>
          <p:spPr bwMode="auto">
            <a:xfrm>
              <a:off x="819150" y="2574925"/>
              <a:ext cx="4763" cy="1588"/>
            </a:xfrm>
            <a:custGeom>
              <a:avLst/>
              <a:gdLst>
                <a:gd name="T0" fmla="*/ 0 w 2"/>
                <a:gd name="T1" fmla="*/ 1588 h 1"/>
                <a:gd name="T2" fmla="*/ 0 w 2"/>
                <a:gd name="T3" fmla="*/ 1588 h 1"/>
                <a:gd name="T4" fmla="*/ 2382 w 2"/>
                <a:gd name="T5" fmla="*/ 0 h 1"/>
                <a:gd name="T6" fmla="*/ 4763 w 2"/>
                <a:gd name="T7" fmla="*/ 1588 h 1"/>
                <a:gd name="T8" fmla="*/ 0 w 2"/>
                <a:gd name="T9" fmla="*/ 1588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1" y="1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7" name="Freeform 888"/>
            <p:cNvSpPr>
              <a:spLocks noChangeAspect="1"/>
            </p:cNvSpPr>
            <p:nvPr/>
          </p:nvSpPr>
          <p:spPr bwMode="auto">
            <a:xfrm>
              <a:off x="714375" y="2624138"/>
              <a:ext cx="4763" cy="4762"/>
            </a:xfrm>
            <a:custGeom>
              <a:avLst/>
              <a:gdLst>
                <a:gd name="T0" fmla="*/ 2382 w 2"/>
                <a:gd name="T1" fmla="*/ 4762 h 2"/>
                <a:gd name="T2" fmla="*/ 0 w 2"/>
                <a:gd name="T3" fmla="*/ 2381 h 2"/>
                <a:gd name="T4" fmla="*/ 2382 w 2"/>
                <a:gd name="T5" fmla="*/ 0 h 2"/>
                <a:gd name="T6" fmla="*/ 4763 w 2"/>
                <a:gd name="T7" fmla="*/ 2381 h 2"/>
                <a:gd name="T8" fmla="*/ 2382 w 2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8" name="Freeform 889"/>
            <p:cNvSpPr>
              <a:spLocks noChangeAspect="1"/>
            </p:cNvSpPr>
            <p:nvPr/>
          </p:nvSpPr>
          <p:spPr bwMode="auto">
            <a:xfrm>
              <a:off x="1066800" y="2519363"/>
              <a:ext cx="4763" cy="6350"/>
            </a:xfrm>
            <a:custGeom>
              <a:avLst/>
              <a:gdLst>
                <a:gd name="T0" fmla="*/ 4763 w 2"/>
                <a:gd name="T1" fmla="*/ 4233 h 3"/>
                <a:gd name="T2" fmla="*/ 2382 w 2"/>
                <a:gd name="T3" fmla="*/ 6350 h 3"/>
                <a:gd name="T4" fmla="*/ 2382 w 2"/>
                <a:gd name="T5" fmla="*/ 4233 h 3"/>
                <a:gd name="T6" fmla="*/ 4763 w 2"/>
                <a:gd name="T7" fmla="*/ 2117 h 3"/>
                <a:gd name="T8" fmla="*/ 4763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89" name="Freeform 890"/>
            <p:cNvSpPr>
              <a:spLocks noChangeAspect="1"/>
            </p:cNvSpPr>
            <p:nvPr/>
          </p:nvSpPr>
          <p:spPr bwMode="auto">
            <a:xfrm>
              <a:off x="1608138" y="2562225"/>
              <a:ext cx="1587" cy="4763"/>
            </a:xfrm>
            <a:custGeom>
              <a:avLst/>
              <a:gdLst>
                <a:gd name="T0" fmla="*/ 1587 w 1"/>
                <a:gd name="T1" fmla="*/ 3175 h 3"/>
                <a:gd name="T2" fmla="*/ 0 w 1"/>
                <a:gd name="T3" fmla="*/ 3175 h 3"/>
                <a:gd name="T4" fmla="*/ 0 w 1"/>
                <a:gd name="T5" fmla="*/ 1588 h 3"/>
                <a:gd name="T6" fmla="*/ 0 w 1"/>
                <a:gd name="T7" fmla="*/ 0 h 3"/>
                <a:gd name="T8" fmla="*/ 1587 w 1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0" name="Oval 891"/>
            <p:cNvSpPr>
              <a:spLocks noChangeAspect="1" noChangeArrowheads="1"/>
            </p:cNvSpPr>
            <p:nvPr/>
          </p:nvSpPr>
          <p:spPr bwMode="auto">
            <a:xfrm>
              <a:off x="1597025" y="2544763"/>
              <a:ext cx="3175" cy="476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1" name="Freeform 892"/>
            <p:cNvSpPr>
              <a:spLocks noChangeAspect="1"/>
            </p:cNvSpPr>
            <p:nvPr/>
          </p:nvSpPr>
          <p:spPr bwMode="auto">
            <a:xfrm>
              <a:off x="1590675" y="2540000"/>
              <a:ext cx="4763" cy="6350"/>
            </a:xfrm>
            <a:custGeom>
              <a:avLst/>
              <a:gdLst>
                <a:gd name="T0" fmla="*/ 4763 w 2"/>
                <a:gd name="T1" fmla="*/ 4233 h 3"/>
                <a:gd name="T2" fmla="*/ 2382 w 2"/>
                <a:gd name="T3" fmla="*/ 4233 h 3"/>
                <a:gd name="T4" fmla="*/ 0 w 2"/>
                <a:gd name="T5" fmla="*/ 2117 h 3"/>
                <a:gd name="T6" fmla="*/ 2382 w 2"/>
                <a:gd name="T7" fmla="*/ 0 h 3"/>
                <a:gd name="T8" fmla="*/ 4763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2" name="Freeform 893"/>
            <p:cNvSpPr>
              <a:spLocks noChangeAspect="1"/>
            </p:cNvSpPr>
            <p:nvPr/>
          </p:nvSpPr>
          <p:spPr bwMode="auto">
            <a:xfrm>
              <a:off x="1643063" y="2663825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2117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3" name="Freeform 894"/>
            <p:cNvSpPr>
              <a:spLocks noChangeAspect="1"/>
            </p:cNvSpPr>
            <p:nvPr/>
          </p:nvSpPr>
          <p:spPr bwMode="auto">
            <a:xfrm>
              <a:off x="1731963" y="2767013"/>
              <a:ext cx="1587" cy="4762"/>
            </a:xfrm>
            <a:custGeom>
              <a:avLst/>
              <a:gdLst>
                <a:gd name="T0" fmla="*/ 1587 w 1"/>
                <a:gd name="T1" fmla="*/ 2381 h 2"/>
                <a:gd name="T2" fmla="*/ 1587 w 1"/>
                <a:gd name="T3" fmla="*/ 4762 h 2"/>
                <a:gd name="T4" fmla="*/ 0 w 1"/>
                <a:gd name="T5" fmla="*/ 2381 h 2"/>
                <a:gd name="T6" fmla="*/ 0 w 1"/>
                <a:gd name="T7" fmla="*/ 0 h 2"/>
                <a:gd name="T8" fmla="*/ 1587 w 1"/>
                <a:gd name="T9" fmla="*/ 2381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2"/>
                <a:gd name="T17" fmla="*/ 1 w 1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2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4" name="Freeform 895"/>
            <p:cNvSpPr>
              <a:spLocks noChangeAspect="1"/>
            </p:cNvSpPr>
            <p:nvPr/>
          </p:nvSpPr>
          <p:spPr bwMode="auto">
            <a:xfrm>
              <a:off x="3721100" y="2159000"/>
              <a:ext cx="9525" cy="7938"/>
            </a:xfrm>
            <a:custGeom>
              <a:avLst/>
              <a:gdLst>
                <a:gd name="T0" fmla="*/ 7620 w 5"/>
                <a:gd name="T1" fmla="*/ 3969 h 4"/>
                <a:gd name="T2" fmla="*/ 7620 w 5"/>
                <a:gd name="T3" fmla="*/ 7938 h 4"/>
                <a:gd name="T4" fmla="*/ 3810 w 5"/>
                <a:gd name="T5" fmla="*/ 5953 h 4"/>
                <a:gd name="T6" fmla="*/ 1905 w 5"/>
                <a:gd name="T7" fmla="*/ 0 h 4"/>
                <a:gd name="T8" fmla="*/ 7620 w 5"/>
                <a:gd name="T9" fmla="*/ 3969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4"/>
                <a:gd name="T17" fmla="*/ 5 w 5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4">
                  <a:moveTo>
                    <a:pt x="4" y="2"/>
                  </a:moveTo>
                  <a:cubicBezTo>
                    <a:pt x="4" y="2"/>
                    <a:pt x="5" y="3"/>
                    <a:pt x="4" y="4"/>
                  </a:cubicBezTo>
                  <a:cubicBezTo>
                    <a:pt x="3" y="4"/>
                    <a:pt x="2" y="4"/>
                    <a:pt x="2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2" y="0"/>
                    <a:pt x="3" y="1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5" name="Freeform 896"/>
            <p:cNvSpPr>
              <a:spLocks noChangeAspect="1"/>
            </p:cNvSpPr>
            <p:nvPr/>
          </p:nvSpPr>
          <p:spPr bwMode="auto">
            <a:xfrm>
              <a:off x="3371850" y="1820863"/>
              <a:ext cx="4763" cy="3175"/>
            </a:xfrm>
            <a:custGeom>
              <a:avLst/>
              <a:gdLst>
                <a:gd name="T0" fmla="*/ 3175 w 3"/>
                <a:gd name="T1" fmla="*/ 0 h 2"/>
                <a:gd name="T2" fmla="*/ 4763 w 3"/>
                <a:gd name="T3" fmla="*/ 1588 h 2"/>
                <a:gd name="T4" fmla="*/ 1588 w 3"/>
                <a:gd name="T5" fmla="*/ 3175 h 2"/>
                <a:gd name="T6" fmla="*/ 0 w 3"/>
                <a:gd name="T7" fmla="*/ 1588 h 2"/>
                <a:gd name="T8" fmla="*/ 3175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1"/>
                    <a:pt x="3" y="1"/>
                    <a:pt x="3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6" name="Freeform 897"/>
            <p:cNvSpPr>
              <a:spLocks noChangeAspect="1"/>
            </p:cNvSpPr>
            <p:nvPr/>
          </p:nvSpPr>
          <p:spPr bwMode="auto">
            <a:xfrm>
              <a:off x="2225675" y="1677988"/>
              <a:ext cx="6350" cy="3175"/>
            </a:xfrm>
            <a:custGeom>
              <a:avLst/>
              <a:gdLst>
                <a:gd name="T0" fmla="*/ 4233 w 3"/>
                <a:gd name="T1" fmla="*/ 1588 h 2"/>
                <a:gd name="T2" fmla="*/ 4233 w 3"/>
                <a:gd name="T3" fmla="*/ 3175 h 2"/>
                <a:gd name="T4" fmla="*/ 2117 w 3"/>
                <a:gd name="T5" fmla="*/ 3175 h 2"/>
                <a:gd name="T6" fmla="*/ 0 w 3"/>
                <a:gd name="T7" fmla="*/ 1588 h 2"/>
                <a:gd name="T8" fmla="*/ 4233 w 3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7" name="Freeform 898"/>
            <p:cNvSpPr>
              <a:spLocks noChangeAspect="1"/>
            </p:cNvSpPr>
            <p:nvPr/>
          </p:nvSpPr>
          <p:spPr bwMode="auto">
            <a:xfrm>
              <a:off x="2424113" y="1679575"/>
              <a:ext cx="3175" cy="3175"/>
            </a:xfrm>
            <a:custGeom>
              <a:avLst/>
              <a:gdLst>
                <a:gd name="T0" fmla="*/ 1588 w 2"/>
                <a:gd name="T1" fmla="*/ 0 h 2"/>
                <a:gd name="T2" fmla="*/ 3175 w 2"/>
                <a:gd name="T3" fmla="*/ 0 h 2"/>
                <a:gd name="T4" fmla="*/ 3175 w 2"/>
                <a:gd name="T5" fmla="*/ 3175 h 2"/>
                <a:gd name="T6" fmla="*/ 0 w 2"/>
                <a:gd name="T7" fmla="*/ 1588 h 2"/>
                <a:gd name="T8" fmla="*/ 1588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8" name="Freeform 899"/>
            <p:cNvSpPr>
              <a:spLocks noChangeAspect="1"/>
            </p:cNvSpPr>
            <p:nvPr/>
          </p:nvSpPr>
          <p:spPr bwMode="auto">
            <a:xfrm>
              <a:off x="2551113" y="1687513"/>
              <a:ext cx="4762" cy="3175"/>
            </a:xfrm>
            <a:custGeom>
              <a:avLst/>
              <a:gdLst>
                <a:gd name="T0" fmla="*/ 2381 w 2"/>
                <a:gd name="T1" fmla="*/ 0 h 2"/>
                <a:gd name="T2" fmla="*/ 4762 w 2"/>
                <a:gd name="T3" fmla="*/ 0 h 2"/>
                <a:gd name="T4" fmla="*/ 4762 w 2"/>
                <a:gd name="T5" fmla="*/ 1588 h 2"/>
                <a:gd name="T6" fmla="*/ 0 w 2"/>
                <a:gd name="T7" fmla="*/ 1588 h 2"/>
                <a:gd name="T8" fmla="*/ 2381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899" name="Freeform 900"/>
            <p:cNvSpPr>
              <a:spLocks noChangeAspect="1"/>
            </p:cNvSpPr>
            <p:nvPr/>
          </p:nvSpPr>
          <p:spPr bwMode="auto">
            <a:xfrm>
              <a:off x="2576513" y="1730375"/>
              <a:ext cx="3175" cy="4763"/>
            </a:xfrm>
            <a:custGeom>
              <a:avLst/>
              <a:gdLst>
                <a:gd name="T0" fmla="*/ 0 w 2"/>
                <a:gd name="T1" fmla="*/ 2382 h 2"/>
                <a:gd name="T2" fmla="*/ 1588 w 2"/>
                <a:gd name="T3" fmla="*/ 0 h 2"/>
                <a:gd name="T4" fmla="*/ 3175 w 2"/>
                <a:gd name="T5" fmla="*/ 2382 h 2"/>
                <a:gd name="T6" fmla="*/ 1588 w 2"/>
                <a:gd name="T7" fmla="*/ 4763 h 2"/>
                <a:gd name="T8" fmla="*/ 0 w 2"/>
                <a:gd name="T9" fmla="*/ 238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0" y="1"/>
                  </a:move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0" name="Freeform 901"/>
            <p:cNvSpPr>
              <a:spLocks noChangeAspect="1"/>
            </p:cNvSpPr>
            <p:nvPr/>
          </p:nvSpPr>
          <p:spPr bwMode="auto">
            <a:xfrm>
              <a:off x="2627313" y="1627188"/>
              <a:ext cx="4762" cy="6350"/>
            </a:xfrm>
            <a:custGeom>
              <a:avLst/>
              <a:gdLst>
                <a:gd name="T0" fmla="*/ 0 w 2"/>
                <a:gd name="T1" fmla="*/ 4233 h 3"/>
                <a:gd name="T2" fmla="*/ 0 w 2"/>
                <a:gd name="T3" fmla="*/ 2117 h 3"/>
                <a:gd name="T4" fmla="*/ 4762 w 2"/>
                <a:gd name="T5" fmla="*/ 2117 h 3"/>
                <a:gd name="T6" fmla="*/ 4762 w 2"/>
                <a:gd name="T7" fmla="*/ 6350 h 3"/>
                <a:gd name="T8" fmla="*/ 0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2"/>
                  </a:move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1" y="3"/>
                    <a:pt x="0" y="2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1" name="Freeform 902"/>
            <p:cNvSpPr>
              <a:spLocks noChangeAspect="1"/>
            </p:cNvSpPr>
            <p:nvPr/>
          </p:nvSpPr>
          <p:spPr bwMode="auto">
            <a:xfrm>
              <a:off x="2624138" y="1528763"/>
              <a:ext cx="11112" cy="9525"/>
            </a:xfrm>
            <a:custGeom>
              <a:avLst/>
              <a:gdLst>
                <a:gd name="T0" fmla="*/ 3704 w 6"/>
                <a:gd name="T1" fmla="*/ 7620 h 5"/>
                <a:gd name="T2" fmla="*/ 1852 w 6"/>
                <a:gd name="T3" fmla="*/ 1905 h 5"/>
                <a:gd name="T4" fmla="*/ 5556 w 6"/>
                <a:gd name="T5" fmla="*/ 1905 h 5"/>
                <a:gd name="T6" fmla="*/ 9260 w 6"/>
                <a:gd name="T7" fmla="*/ 7620 h 5"/>
                <a:gd name="T8" fmla="*/ 3704 w 6"/>
                <a:gd name="T9" fmla="*/ 762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2" y="4"/>
                  </a:moveTo>
                  <a:cubicBezTo>
                    <a:pt x="1" y="3"/>
                    <a:pt x="0" y="2"/>
                    <a:pt x="1" y="1"/>
                  </a:cubicBezTo>
                  <a:cubicBezTo>
                    <a:pt x="1" y="0"/>
                    <a:pt x="3" y="0"/>
                    <a:pt x="3" y="1"/>
                  </a:cubicBezTo>
                  <a:cubicBezTo>
                    <a:pt x="4" y="1"/>
                    <a:pt x="6" y="2"/>
                    <a:pt x="5" y="4"/>
                  </a:cubicBezTo>
                  <a:cubicBezTo>
                    <a:pt x="5" y="5"/>
                    <a:pt x="3" y="4"/>
                    <a:pt x="2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2" name="Freeform 903"/>
            <p:cNvSpPr>
              <a:spLocks noChangeAspect="1"/>
            </p:cNvSpPr>
            <p:nvPr/>
          </p:nvSpPr>
          <p:spPr bwMode="auto">
            <a:xfrm>
              <a:off x="3035300" y="1604963"/>
              <a:ext cx="7938" cy="6350"/>
            </a:xfrm>
            <a:custGeom>
              <a:avLst/>
              <a:gdLst>
                <a:gd name="T0" fmla="*/ 1985 w 4"/>
                <a:gd name="T1" fmla="*/ 4233 h 3"/>
                <a:gd name="T2" fmla="*/ 1985 w 4"/>
                <a:gd name="T3" fmla="*/ 0 h 3"/>
                <a:gd name="T4" fmla="*/ 3969 w 4"/>
                <a:gd name="T5" fmla="*/ 0 h 3"/>
                <a:gd name="T6" fmla="*/ 5953 w 4"/>
                <a:gd name="T7" fmla="*/ 4233 h 3"/>
                <a:gd name="T8" fmla="*/ 1985 w 4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1" y="2"/>
                  </a:moveTo>
                  <a:cubicBezTo>
                    <a:pt x="1" y="1"/>
                    <a:pt x="0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4" y="1"/>
                    <a:pt x="3" y="2"/>
                  </a:cubicBezTo>
                  <a:cubicBezTo>
                    <a:pt x="3" y="3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3" name="Freeform 904"/>
            <p:cNvSpPr>
              <a:spLocks noChangeAspect="1"/>
            </p:cNvSpPr>
            <p:nvPr/>
          </p:nvSpPr>
          <p:spPr bwMode="auto">
            <a:xfrm>
              <a:off x="2805113" y="1662113"/>
              <a:ext cx="7937" cy="7937"/>
            </a:xfrm>
            <a:custGeom>
              <a:avLst/>
              <a:gdLst>
                <a:gd name="T0" fmla="*/ 1984 w 4"/>
                <a:gd name="T1" fmla="*/ 5953 h 4"/>
                <a:gd name="T2" fmla="*/ 0 w 4"/>
                <a:gd name="T3" fmla="*/ 1984 h 4"/>
                <a:gd name="T4" fmla="*/ 3969 w 4"/>
                <a:gd name="T5" fmla="*/ 1984 h 4"/>
                <a:gd name="T6" fmla="*/ 7937 w 4"/>
                <a:gd name="T7" fmla="*/ 5953 h 4"/>
                <a:gd name="T8" fmla="*/ 1984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1" y="3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1"/>
                  </a:cubicBezTo>
                  <a:cubicBezTo>
                    <a:pt x="3" y="1"/>
                    <a:pt x="4" y="2"/>
                    <a:pt x="4" y="3"/>
                  </a:cubicBezTo>
                  <a:cubicBezTo>
                    <a:pt x="4" y="4"/>
                    <a:pt x="2" y="3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4" name="Freeform 905"/>
            <p:cNvSpPr>
              <a:spLocks noChangeAspect="1"/>
            </p:cNvSpPr>
            <p:nvPr/>
          </p:nvSpPr>
          <p:spPr bwMode="auto">
            <a:xfrm>
              <a:off x="2459038" y="1630363"/>
              <a:ext cx="4762" cy="6350"/>
            </a:xfrm>
            <a:custGeom>
              <a:avLst/>
              <a:gdLst>
                <a:gd name="T0" fmla="*/ 1587 w 3"/>
                <a:gd name="T1" fmla="*/ 1588 h 4"/>
                <a:gd name="T2" fmla="*/ 4762 w 3"/>
                <a:gd name="T3" fmla="*/ 0 h 4"/>
                <a:gd name="T4" fmla="*/ 3175 w 3"/>
                <a:gd name="T5" fmla="*/ 3175 h 4"/>
                <a:gd name="T6" fmla="*/ 1587 w 3"/>
                <a:gd name="T7" fmla="*/ 4762 h 4"/>
                <a:gd name="T8" fmla="*/ 1587 w 3"/>
                <a:gd name="T9" fmla="*/ 1588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4"/>
                <a:gd name="T17" fmla="*/ 3 w 3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4">
                  <a:moveTo>
                    <a:pt x="1" y="1"/>
                  </a:move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3" y="2"/>
                    <a:pt x="2" y="2"/>
                  </a:cubicBezTo>
                  <a:cubicBezTo>
                    <a:pt x="2" y="3"/>
                    <a:pt x="1" y="4"/>
                    <a:pt x="1" y="3"/>
                  </a:cubicBezTo>
                  <a:cubicBezTo>
                    <a:pt x="0" y="2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5" name="Freeform 906"/>
            <p:cNvSpPr>
              <a:spLocks noChangeAspect="1"/>
            </p:cNvSpPr>
            <p:nvPr/>
          </p:nvSpPr>
          <p:spPr bwMode="auto">
            <a:xfrm>
              <a:off x="2236788" y="1679575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1588 h 2"/>
                <a:gd name="T4" fmla="*/ 2117 w 3"/>
                <a:gd name="T5" fmla="*/ 3175 h 2"/>
                <a:gd name="T6" fmla="*/ 0 w 3"/>
                <a:gd name="T7" fmla="*/ 1588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3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6" name="Freeform 907"/>
            <p:cNvSpPr>
              <a:spLocks noChangeAspect="1"/>
            </p:cNvSpPr>
            <p:nvPr/>
          </p:nvSpPr>
          <p:spPr bwMode="auto">
            <a:xfrm>
              <a:off x="2109788" y="2070100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1588 h 2"/>
                <a:gd name="T4" fmla="*/ 2117 w 3"/>
                <a:gd name="T5" fmla="*/ 0 h 2"/>
                <a:gd name="T6" fmla="*/ 6350 w 3"/>
                <a:gd name="T7" fmla="*/ 1588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7" name="Freeform 908"/>
            <p:cNvSpPr>
              <a:spLocks noChangeAspect="1"/>
            </p:cNvSpPr>
            <p:nvPr/>
          </p:nvSpPr>
          <p:spPr bwMode="auto">
            <a:xfrm>
              <a:off x="2157413" y="2058988"/>
              <a:ext cx="3175" cy="3175"/>
            </a:xfrm>
            <a:custGeom>
              <a:avLst/>
              <a:gdLst>
                <a:gd name="T0" fmla="*/ 1588 w 2"/>
                <a:gd name="T1" fmla="*/ 3175 h 2"/>
                <a:gd name="T2" fmla="*/ 0 w 2"/>
                <a:gd name="T3" fmla="*/ 3175 h 2"/>
                <a:gd name="T4" fmla="*/ 1588 w 2"/>
                <a:gd name="T5" fmla="*/ 1588 h 2"/>
                <a:gd name="T6" fmla="*/ 3175 w 2"/>
                <a:gd name="T7" fmla="*/ 1588 h 2"/>
                <a:gd name="T8" fmla="*/ 1588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8" name="Freeform 909"/>
            <p:cNvSpPr>
              <a:spLocks noChangeAspect="1"/>
            </p:cNvSpPr>
            <p:nvPr/>
          </p:nvSpPr>
          <p:spPr bwMode="auto">
            <a:xfrm>
              <a:off x="2120900" y="2070100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1588 h 2"/>
                <a:gd name="T4" fmla="*/ 2117 w 3"/>
                <a:gd name="T5" fmla="*/ 0 h 2"/>
                <a:gd name="T6" fmla="*/ 6350 w 3"/>
                <a:gd name="T7" fmla="*/ 1588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09" name="Freeform 910"/>
            <p:cNvSpPr>
              <a:spLocks noChangeAspect="1"/>
            </p:cNvSpPr>
            <p:nvPr/>
          </p:nvSpPr>
          <p:spPr bwMode="auto">
            <a:xfrm>
              <a:off x="2414588" y="2020888"/>
              <a:ext cx="3175" cy="9525"/>
            </a:xfrm>
            <a:custGeom>
              <a:avLst/>
              <a:gdLst>
                <a:gd name="T0" fmla="*/ 3175 w 2"/>
                <a:gd name="T1" fmla="*/ 5715 h 5"/>
                <a:gd name="T2" fmla="*/ 1588 w 2"/>
                <a:gd name="T3" fmla="*/ 7620 h 5"/>
                <a:gd name="T4" fmla="*/ 0 w 2"/>
                <a:gd name="T5" fmla="*/ 3810 h 5"/>
                <a:gd name="T6" fmla="*/ 1588 w 2"/>
                <a:gd name="T7" fmla="*/ 0 h 5"/>
                <a:gd name="T8" fmla="*/ 3175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3"/>
                    <a:pt x="2" y="5"/>
                    <a:pt x="1" y="4"/>
                  </a:cubicBezTo>
                  <a:cubicBezTo>
                    <a:pt x="0" y="4"/>
                    <a:pt x="0" y="3"/>
                    <a:pt x="0" y="2"/>
                  </a:cubicBezTo>
                  <a:cubicBezTo>
                    <a:pt x="0" y="2"/>
                    <a:pt x="0" y="0"/>
                    <a:pt x="1" y="0"/>
                  </a:cubicBezTo>
                  <a:cubicBezTo>
                    <a:pt x="2" y="0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0" name="Freeform 911"/>
            <p:cNvSpPr>
              <a:spLocks noChangeAspect="1"/>
            </p:cNvSpPr>
            <p:nvPr/>
          </p:nvSpPr>
          <p:spPr bwMode="auto">
            <a:xfrm>
              <a:off x="2279650" y="1897063"/>
              <a:ext cx="1588" cy="4762"/>
            </a:xfrm>
            <a:custGeom>
              <a:avLst/>
              <a:gdLst>
                <a:gd name="T0" fmla="*/ 1588 w 1"/>
                <a:gd name="T1" fmla="*/ 3175 h 3"/>
                <a:gd name="T2" fmla="*/ 0 w 1"/>
                <a:gd name="T3" fmla="*/ 4762 h 3"/>
                <a:gd name="T4" fmla="*/ 0 w 1"/>
                <a:gd name="T5" fmla="*/ 3175 h 3"/>
                <a:gd name="T6" fmla="*/ 0 w 1"/>
                <a:gd name="T7" fmla="*/ 1587 h 3"/>
                <a:gd name="T8" fmla="*/ 1588 w 1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0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1" name="Freeform 912"/>
            <p:cNvSpPr>
              <a:spLocks noChangeAspect="1"/>
            </p:cNvSpPr>
            <p:nvPr/>
          </p:nvSpPr>
          <p:spPr bwMode="auto">
            <a:xfrm>
              <a:off x="2300288" y="1833563"/>
              <a:ext cx="6350" cy="3175"/>
            </a:xfrm>
            <a:custGeom>
              <a:avLst/>
              <a:gdLst>
                <a:gd name="T0" fmla="*/ 4233 w 3"/>
                <a:gd name="T1" fmla="*/ 3175 h 2"/>
                <a:gd name="T2" fmla="*/ 2117 w 3"/>
                <a:gd name="T3" fmla="*/ 3175 h 2"/>
                <a:gd name="T4" fmla="*/ 2117 w 3"/>
                <a:gd name="T5" fmla="*/ 1588 h 2"/>
                <a:gd name="T6" fmla="*/ 6350 w 3"/>
                <a:gd name="T7" fmla="*/ 1588 h 2"/>
                <a:gd name="T8" fmla="*/ 4233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2" name="Freeform 913"/>
            <p:cNvSpPr>
              <a:spLocks noChangeAspect="1"/>
            </p:cNvSpPr>
            <p:nvPr/>
          </p:nvSpPr>
          <p:spPr bwMode="auto">
            <a:xfrm>
              <a:off x="2062163" y="1738313"/>
              <a:ext cx="6350" cy="3175"/>
            </a:xfrm>
            <a:custGeom>
              <a:avLst/>
              <a:gdLst>
                <a:gd name="T0" fmla="*/ 4233 w 3"/>
                <a:gd name="T1" fmla="*/ 3175 h 2"/>
                <a:gd name="T2" fmla="*/ 2117 w 3"/>
                <a:gd name="T3" fmla="*/ 3175 h 2"/>
                <a:gd name="T4" fmla="*/ 2117 w 3"/>
                <a:gd name="T5" fmla="*/ 1588 h 2"/>
                <a:gd name="T6" fmla="*/ 6350 w 3"/>
                <a:gd name="T7" fmla="*/ 0 h 2"/>
                <a:gd name="T8" fmla="*/ 4233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3" name="Freeform 914"/>
            <p:cNvSpPr>
              <a:spLocks noChangeAspect="1"/>
            </p:cNvSpPr>
            <p:nvPr/>
          </p:nvSpPr>
          <p:spPr bwMode="auto">
            <a:xfrm>
              <a:off x="2414588" y="1971675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3175 w 2"/>
                <a:gd name="T3" fmla="*/ 3175 h 2"/>
                <a:gd name="T4" fmla="*/ 1588 w 2"/>
                <a:gd name="T5" fmla="*/ 1588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4" name="Freeform 915"/>
            <p:cNvSpPr>
              <a:spLocks noChangeAspect="1"/>
            </p:cNvSpPr>
            <p:nvPr/>
          </p:nvSpPr>
          <p:spPr bwMode="auto">
            <a:xfrm>
              <a:off x="2468563" y="1820863"/>
              <a:ext cx="4762" cy="3175"/>
            </a:xfrm>
            <a:custGeom>
              <a:avLst/>
              <a:gdLst>
                <a:gd name="T0" fmla="*/ 1587 w 3"/>
                <a:gd name="T1" fmla="*/ 3175 h 2"/>
                <a:gd name="T2" fmla="*/ 0 w 3"/>
                <a:gd name="T3" fmla="*/ 3175 h 2"/>
                <a:gd name="T4" fmla="*/ 1587 w 3"/>
                <a:gd name="T5" fmla="*/ 0 h 2"/>
                <a:gd name="T6" fmla="*/ 4762 w 3"/>
                <a:gd name="T7" fmla="*/ 1588 h 2"/>
                <a:gd name="T8" fmla="*/ 158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2" y="0"/>
                    <a:pt x="3" y="1"/>
                  </a:cubicBezTo>
                  <a:cubicBezTo>
                    <a:pt x="3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5" name="Freeform 916"/>
            <p:cNvSpPr>
              <a:spLocks noChangeAspect="1"/>
            </p:cNvSpPr>
            <p:nvPr/>
          </p:nvSpPr>
          <p:spPr bwMode="auto">
            <a:xfrm>
              <a:off x="2522538" y="1866900"/>
              <a:ext cx="6350" cy="4763"/>
            </a:xfrm>
            <a:custGeom>
              <a:avLst/>
              <a:gdLst>
                <a:gd name="T0" fmla="*/ 4233 w 3"/>
                <a:gd name="T1" fmla="*/ 3175 h 3"/>
                <a:gd name="T2" fmla="*/ 2117 w 3"/>
                <a:gd name="T3" fmla="*/ 4763 h 3"/>
                <a:gd name="T4" fmla="*/ 0 w 3"/>
                <a:gd name="T5" fmla="*/ 1588 h 3"/>
                <a:gd name="T6" fmla="*/ 2117 w 3"/>
                <a:gd name="T7" fmla="*/ 0 h 3"/>
                <a:gd name="T8" fmla="*/ 4233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" y="0"/>
                    <a:pt x="3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6" name="Freeform 917"/>
            <p:cNvSpPr>
              <a:spLocks noChangeAspect="1"/>
            </p:cNvSpPr>
            <p:nvPr/>
          </p:nvSpPr>
          <p:spPr bwMode="auto">
            <a:xfrm>
              <a:off x="2674938" y="1812925"/>
              <a:ext cx="6350" cy="1588"/>
            </a:xfrm>
            <a:custGeom>
              <a:avLst/>
              <a:gdLst>
                <a:gd name="T0" fmla="*/ 4233 w 3"/>
                <a:gd name="T1" fmla="*/ 0 h 1"/>
                <a:gd name="T2" fmla="*/ 6350 w 3"/>
                <a:gd name="T3" fmla="*/ 1588 h 1"/>
                <a:gd name="T4" fmla="*/ 2117 w 3"/>
                <a:gd name="T5" fmla="*/ 1588 h 1"/>
                <a:gd name="T6" fmla="*/ 0 w 3"/>
                <a:gd name="T7" fmla="*/ 1588 h 1"/>
                <a:gd name="T8" fmla="*/ 4233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2" y="0"/>
                  </a:moveTo>
                  <a:cubicBezTo>
                    <a:pt x="2" y="0"/>
                    <a:pt x="3" y="0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7" name="Freeform 918"/>
            <p:cNvSpPr>
              <a:spLocks noChangeAspect="1"/>
            </p:cNvSpPr>
            <p:nvPr/>
          </p:nvSpPr>
          <p:spPr bwMode="auto">
            <a:xfrm>
              <a:off x="2887663" y="1882775"/>
              <a:ext cx="4762" cy="4763"/>
            </a:xfrm>
            <a:custGeom>
              <a:avLst/>
              <a:gdLst>
                <a:gd name="T0" fmla="*/ 1587 w 3"/>
                <a:gd name="T1" fmla="*/ 4763 h 2"/>
                <a:gd name="T2" fmla="*/ 0 w 3"/>
                <a:gd name="T3" fmla="*/ 2382 h 2"/>
                <a:gd name="T4" fmla="*/ 3175 w 3"/>
                <a:gd name="T5" fmla="*/ 2382 h 2"/>
                <a:gd name="T6" fmla="*/ 4762 w 3"/>
                <a:gd name="T7" fmla="*/ 2382 h 2"/>
                <a:gd name="T8" fmla="*/ 1587 w 3"/>
                <a:gd name="T9" fmla="*/ 476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8" name="Freeform 919"/>
            <p:cNvSpPr>
              <a:spLocks noChangeAspect="1"/>
            </p:cNvSpPr>
            <p:nvPr/>
          </p:nvSpPr>
          <p:spPr bwMode="auto">
            <a:xfrm>
              <a:off x="3111500" y="2001838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1588 h 2"/>
                <a:gd name="T4" fmla="*/ 2117 w 3"/>
                <a:gd name="T5" fmla="*/ 0 h 2"/>
                <a:gd name="T6" fmla="*/ 4233 w 3"/>
                <a:gd name="T7" fmla="*/ 0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19" name="Freeform 920"/>
            <p:cNvSpPr>
              <a:spLocks noChangeAspect="1"/>
            </p:cNvSpPr>
            <p:nvPr/>
          </p:nvSpPr>
          <p:spPr bwMode="auto">
            <a:xfrm>
              <a:off x="3101975" y="1997075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2117 w 3"/>
                <a:gd name="T3" fmla="*/ 4233 h 3"/>
                <a:gd name="T4" fmla="*/ 2117 w 3"/>
                <a:gd name="T5" fmla="*/ 2117 h 3"/>
                <a:gd name="T6" fmla="*/ 6350 w 3"/>
                <a:gd name="T7" fmla="*/ 0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1" y="3"/>
                    <a:pt x="1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0" name="Freeform 921"/>
            <p:cNvSpPr>
              <a:spLocks noChangeAspect="1"/>
            </p:cNvSpPr>
            <p:nvPr/>
          </p:nvSpPr>
          <p:spPr bwMode="auto">
            <a:xfrm>
              <a:off x="3141663" y="2230438"/>
              <a:ext cx="4762" cy="4762"/>
            </a:xfrm>
            <a:custGeom>
              <a:avLst/>
              <a:gdLst>
                <a:gd name="T0" fmla="*/ 4762 w 2"/>
                <a:gd name="T1" fmla="*/ 1587 h 3"/>
                <a:gd name="T2" fmla="*/ 4762 w 2"/>
                <a:gd name="T3" fmla="*/ 3175 h 3"/>
                <a:gd name="T4" fmla="*/ 0 w 2"/>
                <a:gd name="T5" fmla="*/ 3175 h 3"/>
                <a:gd name="T6" fmla="*/ 2381 w 2"/>
                <a:gd name="T7" fmla="*/ 0 h 3"/>
                <a:gd name="T8" fmla="*/ 4762 w 2"/>
                <a:gd name="T9" fmla="*/ 158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1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1" name="Freeform 922"/>
            <p:cNvSpPr>
              <a:spLocks noChangeAspect="1"/>
            </p:cNvSpPr>
            <p:nvPr/>
          </p:nvSpPr>
          <p:spPr bwMode="auto">
            <a:xfrm>
              <a:off x="3135313" y="2214563"/>
              <a:ext cx="4762" cy="6350"/>
            </a:xfrm>
            <a:custGeom>
              <a:avLst/>
              <a:gdLst>
                <a:gd name="T0" fmla="*/ 3175 w 3"/>
                <a:gd name="T1" fmla="*/ 2117 h 3"/>
                <a:gd name="T2" fmla="*/ 3175 w 3"/>
                <a:gd name="T3" fmla="*/ 4233 h 3"/>
                <a:gd name="T4" fmla="*/ 1587 w 3"/>
                <a:gd name="T5" fmla="*/ 4233 h 3"/>
                <a:gd name="T6" fmla="*/ 1587 w 3"/>
                <a:gd name="T7" fmla="*/ 0 h 3"/>
                <a:gd name="T8" fmla="*/ 3175 w 3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1"/>
                  </a:moveTo>
                  <a:cubicBezTo>
                    <a:pt x="3" y="2"/>
                    <a:pt x="3" y="2"/>
                    <a:pt x="2" y="2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2" name="Freeform 923"/>
            <p:cNvSpPr>
              <a:spLocks noChangeAspect="1"/>
            </p:cNvSpPr>
            <p:nvPr/>
          </p:nvSpPr>
          <p:spPr bwMode="auto">
            <a:xfrm>
              <a:off x="3081338" y="2257425"/>
              <a:ext cx="3175" cy="4763"/>
            </a:xfrm>
            <a:custGeom>
              <a:avLst/>
              <a:gdLst>
                <a:gd name="T0" fmla="*/ 3175 w 2"/>
                <a:gd name="T1" fmla="*/ 1588 h 3"/>
                <a:gd name="T2" fmla="*/ 3175 w 2"/>
                <a:gd name="T3" fmla="*/ 3175 h 3"/>
                <a:gd name="T4" fmla="*/ 1588 w 2"/>
                <a:gd name="T5" fmla="*/ 3175 h 3"/>
                <a:gd name="T6" fmla="*/ 1588 w 2"/>
                <a:gd name="T7" fmla="*/ 0 h 3"/>
                <a:gd name="T8" fmla="*/ 3175 w 2"/>
                <a:gd name="T9" fmla="*/ 1588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3" name="Freeform 924"/>
            <p:cNvSpPr>
              <a:spLocks noChangeAspect="1"/>
            </p:cNvSpPr>
            <p:nvPr/>
          </p:nvSpPr>
          <p:spPr bwMode="auto">
            <a:xfrm>
              <a:off x="3122613" y="2197100"/>
              <a:ext cx="6350" cy="6350"/>
            </a:xfrm>
            <a:custGeom>
              <a:avLst/>
              <a:gdLst>
                <a:gd name="T0" fmla="*/ 4233 w 3"/>
                <a:gd name="T1" fmla="*/ 6350 h 3"/>
                <a:gd name="T2" fmla="*/ 0 w 3"/>
                <a:gd name="T3" fmla="*/ 6350 h 3"/>
                <a:gd name="T4" fmla="*/ 2117 w 3"/>
                <a:gd name="T5" fmla="*/ 2117 h 3"/>
                <a:gd name="T6" fmla="*/ 4233 w 3"/>
                <a:gd name="T7" fmla="*/ 2117 h 3"/>
                <a:gd name="T8" fmla="*/ 4233 w 3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3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4" name="Freeform 925"/>
            <p:cNvSpPr>
              <a:spLocks noChangeAspect="1"/>
            </p:cNvSpPr>
            <p:nvPr/>
          </p:nvSpPr>
          <p:spPr bwMode="auto">
            <a:xfrm>
              <a:off x="3192463" y="2098675"/>
              <a:ext cx="6350" cy="6350"/>
            </a:xfrm>
            <a:custGeom>
              <a:avLst/>
              <a:gdLst>
                <a:gd name="T0" fmla="*/ 4762 w 4"/>
                <a:gd name="T1" fmla="*/ 6350 h 3"/>
                <a:gd name="T2" fmla="*/ 1588 w 4"/>
                <a:gd name="T3" fmla="*/ 6350 h 3"/>
                <a:gd name="T4" fmla="*/ 3175 w 4"/>
                <a:gd name="T5" fmla="*/ 2117 h 3"/>
                <a:gd name="T6" fmla="*/ 6350 w 4"/>
                <a:gd name="T7" fmla="*/ 0 h 3"/>
                <a:gd name="T8" fmla="*/ 4762 w 4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3" y="3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1"/>
                    <a:pt x="3" y="2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5" name="Freeform 926"/>
            <p:cNvSpPr>
              <a:spLocks noChangeAspect="1"/>
            </p:cNvSpPr>
            <p:nvPr/>
          </p:nvSpPr>
          <p:spPr bwMode="auto">
            <a:xfrm>
              <a:off x="2786063" y="1993900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1588 h 2"/>
                <a:gd name="T4" fmla="*/ 4233 w 3"/>
                <a:gd name="T5" fmla="*/ 3175 h 2"/>
                <a:gd name="T6" fmla="*/ 2117 w 3"/>
                <a:gd name="T7" fmla="*/ 0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1"/>
                    <a:pt x="0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6" name="Freeform 927"/>
            <p:cNvSpPr>
              <a:spLocks noChangeAspect="1"/>
            </p:cNvSpPr>
            <p:nvPr/>
          </p:nvSpPr>
          <p:spPr bwMode="auto">
            <a:xfrm>
              <a:off x="2803525" y="2009775"/>
              <a:ext cx="9525" cy="3175"/>
            </a:xfrm>
            <a:custGeom>
              <a:avLst/>
              <a:gdLst>
                <a:gd name="T0" fmla="*/ 5715 w 5"/>
                <a:gd name="T1" fmla="*/ 1588 h 2"/>
                <a:gd name="T2" fmla="*/ 9525 w 5"/>
                <a:gd name="T3" fmla="*/ 3175 h 2"/>
                <a:gd name="T4" fmla="*/ 5715 w 5"/>
                <a:gd name="T5" fmla="*/ 3175 h 2"/>
                <a:gd name="T6" fmla="*/ 1905 w 5"/>
                <a:gd name="T7" fmla="*/ 1588 h 2"/>
                <a:gd name="T8" fmla="*/ 5715 w 5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3" y="1"/>
                  </a:moveTo>
                  <a:cubicBezTo>
                    <a:pt x="4" y="1"/>
                    <a:pt x="5" y="1"/>
                    <a:pt x="5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2"/>
                    <a:pt x="0" y="2"/>
                    <a:pt x="1" y="1"/>
                  </a:cubicBezTo>
                  <a:cubicBezTo>
                    <a:pt x="1" y="0"/>
                    <a:pt x="3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7" name="Freeform 928"/>
            <p:cNvSpPr>
              <a:spLocks noChangeAspect="1"/>
            </p:cNvSpPr>
            <p:nvPr/>
          </p:nvSpPr>
          <p:spPr bwMode="auto">
            <a:xfrm>
              <a:off x="3116263" y="2344738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3175 w 2"/>
                <a:gd name="T3" fmla="*/ 3175 h 2"/>
                <a:gd name="T4" fmla="*/ 1588 w 2"/>
                <a:gd name="T5" fmla="*/ 3175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8" name="Freeform 929"/>
            <p:cNvSpPr>
              <a:spLocks noChangeAspect="1"/>
            </p:cNvSpPr>
            <p:nvPr/>
          </p:nvSpPr>
          <p:spPr bwMode="auto">
            <a:xfrm>
              <a:off x="2851150" y="222408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2117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29" name="Freeform 930"/>
            <p:cNvSpPr>
              <a:spLocks noChangeAspect="1"/>
            </p:cNvSpPr>
            <p:nvPr/>
          </p:nvSpPr>
          <p:spPr bwMode="auto">
            <a:xfrm>
              <a:off x="3116263" y="2301875"/>
              <a:ext cx="3175" cy="6350"/>
            </a:xfrm>
            <a:custGeom>
              <a:avLst/>
              <a:gdLst>
                <a:gd name="T0" fmla="*/ 3175 w 2"/>
                <a:gd name="T1" fmla="*/ 2117 h 3"/>
                <a:gd name="T2" fmla="*/ 3175 w 2"/>
                <a:gd name="T3" fmla="*/ 4233 h 3"/>
                <a:gd name="T4" fmla="*/ 1588 w 2"/>
                <a:gd name="T5" fmla="*/ 4233 h 3"/>
                <a:gd name="T6" fmla="*/ 0 w 2"/>
                <a:gd name="T7" fmla="*/ 2117 h 3"/>
                <a:gd name="T8" fmla="*/ 3175 w 2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1" y="3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0" name="Freeform 931"/>
            <p:cNvSpPr>
              <a:spLocks noChangeAspect="1"/>
            </p:cNvSpPr>
            <p:nvPr/>
          </p:nvSpPr>
          <p:spPr bwMode="auto">
            <a:xfrm>
              <a:off x="2779713" y="2505075"/>
              <a:ext cx="4762" cy="9525"/>
            </a:xfrm>
            <a:custGeom>
              <a:avLst/>
              <a:gdLst>
                <a:gd name="T0" fmla="*/ 4762 w 2"/>
                <a:gd name="T1" fmla="*/ 5715 h 5"/>
                <a:gd name="T2" fmla="*/ 2381 w 2"/>
                <a:gd name="T3" fmla="*/ 9525 h 5"/>
                <a:gd name="T4" fmla="*/ 2381 w 2"/>
                <a:gd name="T5" fmla="*/ 3810 h 5"/>
                <a:gd name="T6" fmla="*/ 4762 w 2"/>
                <a:gd name="T7" fmla="*/ 0 h 5"/>
                <a:gd name="T8" fmla="*/ 4762 w 2"/>
                <a:gd name="T9" fmla="*/ 571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3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1" name="Freeform 932"/>
            <p:cNvSpPr>
              <a:spLocks noChangeAspect="1"/>
            </p:cNvSpPr>
            <p:nvPr/>
          </p:nvSpPr>
          <p:spPr bwMode="auto">
            <a:xfrm>
              <a:off x="2736850" y="2652713"/>
              <a:ext cx="9525" cy="6350"/>
            </a:xfrm>
            <a:custGeom>
              <a:avLst/>
              <a:gdLst>
                <a:gd name="T0" fmla="*/ 3810 w 5"/>
                <a:gd name="T1" fmla="*/ 6350 h 3"/>
                <a:gd name="T2" fmla="*/ 1905 w 5"/>
                <a:gd name="T3" fmla="*/ 6350 h 3"/>
                <a:gd name="T4" fmla="*/ 5715 w 5"/>
                <a:gd name="T5" fmla="*/ 2117 h 3"/>
                <a:gd name="T6" fmla="*/ 9525 w 5"/>
                <a:gd name="T7" fmla="*/ 2117 h 3"/>
                <a:gd name="T8" fmla="*/ 3810 w 5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2" y="3"/>
                  </a:moveTo>
                  <a:cubicBezTo>
                    <a:pt x="2" y="3"/>
                    <a:pt x="0" y="3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5" y="0"/>
                    <a:pt x="5" y="1"/>
                  </a:cubicBezTo>
                  <a:cubicBezTo>
                    <a:pt x="5" y="2"/>
                    <a:pt x="3" y="3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2" name="Freeform 933"/>
            <p:cNvSpPr>
              <a:spLocks noChangeAspect="1"/>
            </p:cNvSpPr>
            <p:nvPr/>
          </p:nvSpPr>
          <p:spPr bwMode="auto">
            <a:xfrm>
              <a:off x="2751138" y="2501900"/>
              <a:ext cx="7937" cy="7938"/>
            </a:xfrm>
            <a:custGeom>
              <a:avLst/>
              <a:gdLst>
                <a:gd name="T0" fmla="*/ 3969 w 4"/>
                <a:gd name="T1" fmla="*/ 5953 h 4"/>
                <a:gd name="T2" fmla="*/ 0 w 4"/>
                <a:gd name="T3" fmla="*/ 5953 h 4"/>
                <a:gd name="T4" fmla="*/ 1984 w 4"/>
                <a:gd name="T5" fmla="*/ 1985 h 4"/>
                <a:gd name="T6" fmla="*/ 7937 w 4"/>
                <a:gd name="T7" fmla="*/ 0 h 4"/>
                <a:gd name="T8" fmla="*/ 3969 w 4"/>
                <a:gd name="T9" fmla="*/ 5953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4"/>
                <a:gd name="T17" fmla="*/ 4 w 4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4">
                  <a:moveTo>
                    <a:pt x="2" y="3"/>
                  </a:moveTo>
                  <a:cubicBezTo>
                    <a:pt x="1" y="3"/>
                    <a:pt x="0" y="4"/>
                    <a:pt x="0" y="3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2" y="1"/>
                    <a:pt x="3" y="0"/>
                    <a:pt x="4" y="0"/>
                  </a:cubicBezTo>
                  <a:cubicBezTo>
                    <a:pt x="4" y="1"/>
                    <a:pt x="2" y="2"/>
                    <a:pt x="2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3" name="Oval 934"/>
            <p:cNvSpPr>
              <a:spLocks noChangeAspect="1" noChangeArrowheads="1"/>
            </p:cNvSpPr>
            <p:nvPr/>
          </p:nvSpPr>
          <p:spPr bwMode="auto">
            <a:xfrm>
              <a:off x="3244850" y="2820988"/>
              <a:ext cx="1588" cy="317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4" name="Freeform 935"/>
            <p:cNvSpPr>
              <a:spLocks noChangeAspect="1"/>
            </p:cNvSpPr>
            <p:nvPr/>
          </p:nvSpPr>
          <p:spPr bwMode="auto">
            <a:xfrm>
              <a:off x="3303588" y="2725738"/>
              <a:ext cx="6350" cy="4762"/>
            </a:xfrm>
            <a:custGeom>
              <a:avLst/>
              <a:gdLst>
                <a:gd name="T0" fmla="*/ 2117 w 3"/>
                <a:gd name="T1" fmla="*/ 3175 h 3"/>
                <a:gd name="T2" fmla="*/ 0 w 3"/>
                <a:gd name="T3" fmla="*/ 3175 h 3"/>
                <a:gd name="T4" fmla="*/ 2117 w 3"/>
                <a:gd name="T5" fmla="*/ 1587 h 3"/>
                <a:gd name="T6" fmla="*/ 4233 w 3"/>
                <a:gd name="T7" fmla="*/ 1587 h 3"/>
                <a:gd name="T8" fmla="*/ 2117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2"/>
                  </a:moveTo>
                  <a:cubicBezTo>
                    <a:pt x="1" y="3"/>
                    <a:pt x="0" y="3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5" name="Oval 936"/>
            <p:cNvSpPr>
              <a:spLocks noChangeAspect="1" noChangeArrowheads="1"/>
            </p:cNvSpPr>
            <p:nvPr/>
          </p:nvSpPr>
          <p:spPr bwMode="auto">
            <a:xfrm>
              <a:off x="3008313" y="3279775"/>
              <a:ext cx="3175" cy="4763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6" name="Oval 937"/>
            <p:cNvSpPr>
              <a:spLocks noChangeAspect="1" noChangeArrowheads="1"/>
            </p:cNvSpPr>
            <p:nvPr/>
          </p:nvSpPr>
          <p:spPr bwMode="auto">
            <a:xfrm>
              <a:off x="2763838" y="3517900"/>
              <a:ext cx="1587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7" name="Freeform 938"/>
            <p:cNvSpPr>
              <a:spLocks noChangeAspect="1"/>
            </p:cNvSpPr>
            <p:nvPr/>
          </p:nvSpPr>
          <p:spPr bwMode="auto">
            <a:xfrm>
              <a:off x="2587625" y="3594100"/>
              <a:ext cx="6350" cy="4763"/>
            </a:xfrm>
            <a:custGeom>
              <a:avLst/>
              <a:gdLst>
                <a:gd name="T0" fmla="*/ 4233 w 3"/>
                <a:gd name="T1" fmla="*/ 4763 h 2"/>
                <a:gd name="T2" fmla="*/ 2117 w 3"/>
                <a:gd name="T3" fmla="*/ 4763 h 2"/>
                <a:gd name="T4" fmla="*/ 2117 w 3"/>
                <a:gd name="T5" fmla="*/ 0 h 2"/>
                <a:gd name="T6" fmla="*/ 6350 w 3"/>
                <a:gd name="T7" fmla="*/ 0 h 2"/>
                <a:gd name="T8" fmla="*/ 4233 w 3"/>
                <a:gd name="T9" fmla="*/ 476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8" name="Freeform 939"/>
            <p:cNvSpPr>
              <a:spLocks noChangeAspect="1"/>
            </p:cNvSpPr>
            <p:nvPr/>
          </p:nvSpPr>
          <p:spPr bwMode="auto">
            <a:xfrm>
              <a:off x="2660650" y="3565525"/>
              <a:ext cx="4763" cy="4763"/>
            </a:xfrm>
            <a:custGeom>
              <a:avLst/>
              <a:gdLst>
                <a:gd name="T0" fmla="*/ 3175 w 3"/>
                <a:gd name="T1" fmla="*/ 4763 h 2"/>
                <a:gd name="T2" fmla="*/ 0 w 3"/>
                <a:gd name="T3" fmla="*/ 2382 h 2"/>
                <a:gd name="T4" fmla="*/ 1588 w 3"/>
                <a:gd name="T5" fmla="*/ 0 h 2"/>
                <a:gd name="T6" fmla="*/ 4763 w 3"/>
                <a:gd name="T7" fmla="*/ 2382 h 2"/>
                <a:gd name="T8" fmla="*/ 3175 w 3"/>
                <a:gd name="T9" fmla="*/ 476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39" name="Freeform 940"/>
            <p:cNvSpPr>
              <a:spLocks noChangeAspect="1"/>
            </p:cNvSpPr>
            <p:nvPr/>
          </p:nvSpPr>
          <p:spPr bwMode="auto">
            <a:xfrm>
              <a:off x="2479675" y="3735388"/>
              <a:ext cx="4763" cy="3175"/>
            </a:xfrm>
            <a:custGeom>
              <a:avLst/>
              <a:gdLst>
                <a:gd name="T0" fmla="*/ 3175 w 3"/>
                <a:gd name="T1" fmla="*/ 3175 h 2"/>
                <a:gd name="T2" fmla="*/ 0 w 3"/>
                <a:gd name="T3" fmla="*/ 3175 h 2"/>
                <a:gd name="T4" fmla="*/ 1588 w 3"/>
                <a:gd name="T5" fmla="*/ 0 h 2"/>
                <a:gd name="T6" fmla="*/ 4763 w 3"/>
                <a:gd name="T7" fmla="*/ 1588 h 2"/>
                <a:gd name="T8" fmla="*/ 3175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0" name="Freeform 941"/>
            <p:cNvSpPr>
              <a:spLocks noChangeAspect="1"/>
            </p:cNvSpPr>
            <p:nvPr/>
          </p:nvSpPr>
          <p:spPr bwMode="auto">
            <a:xfrm>
              <a:off x="2794000" y="3595688"/>
              <a:ext cx="4763" cy="4762"/>
            </a:xfrm>
            <a:custGeom>
              <a:avLst/>
              <a:gdLst>
                <a:gd name="T0" fmla="*/ 3175 w 3"/>
                <a:gd name="T1" fmla="*/ 4762 h 2"/>
                <a:gd name="T2" fmla="*/ 1588 w 3"/>
                <a:gd name="T3" fmla="*/ 4762 h 2"/>
                <a:gd name="T4" fmla="*/ 1588 w 3"/>
                <a:gd name="T5" fmla="*/ 2381 h 2"/>
                <a:gd name="T6" fmla="*/ 3175 w 3"/>
                <a:gd name="T7" fmla="*/ 0 h 2"/>
                <a:gd name="T8" fmla="*/ 3175 w 3"/>
                <a:gd name="T9" fmla="*/ 4762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1" name="Freeform 942"/>
            <p:cNvSpPr>
              <a:spLocks noChangeAspect="1"/>
            </p:cNvSpPr>
            <p:nvPr/>
          </p:nvSpPr>
          <p:spPr bwMode="auto">
            <a:xfrm>
              <a:off x="2774950" y="3560763"/>
              <a:ext cx="3175" cy="4762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2 h 3"/>
                <a:gd name="T4" fmla="*/ 0 w 2"/>
                <a:gd name="T5" fmla="*/ 1587 h 3"/>
                <a:gd name="T6" fmla="*/ 1588 w 2"/>
                <a:gd name="T7" fmla="*/ 0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2" name="Freeform 943"/>
            <p:cNvSpPr>
              <a:spLocks noChangeAspect="1"/>
            </p:cNvSpPr>
            <p:nvPr/>
          </p:nvSpPr>
          <p:spPr bwMode="auto">
            <a:xfrm>
              <a:off x="2827338" y="3589338"/>
              <a:ext cx="6350" cy="3175"/>
            </a:xfrm>
            <a:custGeom>
              <a:avLst/>
              <a:gdLst>
                <a:gd name="T0" fmla="*/ 4233 w 3"/>
                <a:gd name="T1" fmla="*/ 1588 h 2"/>
                <a:gd name="T2" fmla="*/ 4233 w 3"/>
                <a:gd name="T3" fmla="*/ 1588 h 2"/>
                <a:gd name="T4" fmla="*/ 2117 w 3"/>
                <a:gd name="T5" fmla="*/ 3175 h 2"/>
                <a:gd name="T6" fmla="*/ 0 w 3"/>
                <a:gd name="T7" fmla="*/ 1588 h 2"/>
                <a:gd name="T8" fmla="*/ 4233 w 3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ubicBezTo>
                    <a:pt x="0" y="0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3" name="Freeform 944"/>
            <p:cNvSpPr>
              <a:spLocks noChangeAspect="1"/>
            </p:cNvSpPr>
            <p:nvPr/>
          </p:nvSpPr>
          <p:spPr bwMode="auto">
            <a:xfrm>
              <a:off x="2813050" y="3589338"/>
              <a:ext cx="3175" cy="1587"/>
            </a:xfrm>
            <a:custGeom>
              <a:avLst/>
              <a:gdLst>
                <a:gd name="T0" fmla="*/ 1588 w 2"/>
                <a:gd name="T1" fmla="*/ 0 h 1"/>
                <a:gd name="T2" fmla="*/ 3175 w 2"/>
                <a:gd name="T3" fmla="*/ 0 h 1"/>
                <a:gd name="T4" fmla="*/ 1588 w 2"/>
                <a:gd name="T5" fmla="*/ 1587 h 1"/>
                <a:gd name="T6" fmla="*/ 0 w 2"/>
                <a:gd name="T7" fmla="*/ 1587 h 1"/>
                <a:gd name="T8" fmla="*/ 1588 w 2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1"/>
                <a:gd name="T17" fmla="*/ 2 w 2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1">
                  <a:moveTo>
                    <a:pt x="1" y="0"/>
                  </a:moveTo>
                  <a:cubicBezTo>
                    <a:pt x="1" y="0"/>
                    <a:pt x="2" y="0"/>
                    <a:pt x="2" y="0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4" name="Oval 945"/>
            <p:cNvSpPr>
              <a:spLocks noChangeAspect="1" noChangeArrowheads="1"/>
            </p:cNvSpPr>
            <p:nvPr/>
          </p:nvSpPr>
          <p:spPr bwMode="auto">
            <a:xfrm>
              <a:off x="2984500" y="3700463"/>
              <a:ext cx="3175" cy="3175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5" name="Freeform 946"/>
            <p:cNvSpPr>
              <a:spLocks noChangeAspect="1"/>
            </p:cNvSpPr>
            <p:nvPr/>
          </p:nvSpPr>
          <p:spPr bwMode="auto">
            <a:xfrm>
              <a:off x="3024188" y="3690938"/>
              <a:ext cx="6350" cy="6350"/>
            </a:xfrm>
            <a:custGeom>
              <a:avLst/>
              <a:gdLst>
                <a:gd name="T0" fmla="*/ 2117 w 3"/>
                <a:gd name="T1" fmla="*/ 6350 h 3"/>
                <a:gd name="T2" fmla="*/ 0 w 3"/>
                <a:gd name="T3" fmla="*/ 6350 h 3"/>
                <a:gd name="T4" fmla="*/ 2117 w 3"/>
                <a:gd name="T5" fmla="*/ 2117 h 3"/>
                <a:gd name="T6" fmla="*/ 4233 w 3"/>
                <a:gd name="T7" fmla="*/ 2117 h 3"/>
                <a:gd name="T8" fmla="*/ 2117 w 3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3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6" name="Freeform 947"/>
            <p:cNvSpPr>
              <a:spLocks noChangeAspect="1"/>
            </p:cNvSpPr>
            <p:nvPr/>
          </p:nvSpPr>
          <p:spPr bwMode="auto">
            <a:xfrm>
              <a:off x="3055938" y="3722688"/>
              <a:ext cx="4762" cy="3175"/>
            </a:xfrm>
            <a:custGeom>
              <a:avLst/>
              <a:gdLst>
                <a:gd name="T0" fmla="*/ 2381 w 2"/>
                <a:gd name="T1" fmla="*/ 1588 h 2"/>
                <a:gd name="T2" fmla="*/ 0 w 2"/>
                <a:gd name="T3" fmla="*/ 1588 h 2"/>
                <a:gd name="T4" fmla="*/ 2381 w 2"/>
                <a:gd name="T5" fmla="*/ 0 h 2"/>
                <a:gd name="T6" fmla="*/ 4762 w 2"/>
                <a:gd name="T7" fmla="*/ 1588 h 2"/>
                <a:gd name="T8" fmla="*/ 2381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1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7" name="Freeform 948"/>
            <p:cNvSpPr>
              <a:spLocks noChangeAspect="1"/>
            </p:cNvSpPr>
            <p:nvPr/>
          </p:nvSpPr>
          <p:spPr bwMode="auto">
            <a:xfrm>
              <a:off x="3055938" y="3705225"/>
              <a:ext cx="4762" cy="3175"/>
            </a:xfrm>
            <a:custGeom>
              <a:avLst/>
              <a:gdLst>
                <a:gd name="T0" fmla="*/ 4762 w 2"/>
                <a:gd name="T1" fmla="*/ 1588 h 2"/>
                <a:gd name="T2" fmla="*/ 4762 w 2"/>
                <a:gd name="T3" fmla="*/ 3175 h 2"/>
                <a:gd name="T4" fmla="*/ 2381 w 2"/>
                <a:gd name="T5" fmla="*/ 1588 h 2"/>
                <a:gd name="T6" fmla="*/ 2381 w 2"/>
                <a:gd name="T7" fmla="*/ 0 h 2"/>
                <a:gd name="T8" fmla="*/ 4762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2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8" name="Freeform 949"/>
            <p:cNvSpPr>
              <a:spLocks noChangeAspect="1"/>
            </p:cNvSpPr>
            <p:nvPr/>
          </p:nvSpPr>
          <p:spPr bwMode="auto">
            <a:xfrm>
              <a:off x="2987675" y="3868738"/>
              <a:ext cx="4763" cy="3175"/>
            </a:xfrm>
            <a:custGeom>
              <a:avLst/>
              <a:gdLst>
                <a:gd name="T0" fmla="*/ 4763 w 2"/>
                <a:gd name="T1" fmla="*/ 1588 h 2"/>
                <a:gd name="T2" fmla="*/ 2382 w 2"/>
                <a:gd name="T3" fmla="*/ 3175 h 2"/>
                <a:gd name="T4" fmla="*/ 0 w 2"/>
                <a:gd name="T5" fmla="*/ 1588 h 2"/>
                <a:gd name="T6" fmla="*/ 2382 w 2"/>
                <a:gd name="T7" fmla="*/ 0 h 2"/>
                <a:gd name="T8" fmla="*/ 4763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49" name="Freeform 950"/>
            <p:cNvSpPr>
              <a:spLocks noChangeAspect="1"/>
            </p:cNvSpPr>
            <p:nvPr/>
          </p:nvSpPr>
          <p:spPr bwMode="auto">
            <a:xfrm>
              <a:off x="3060700" y="3849688"/>
              <a:ext cx="1588" cy="6350"/>
            </a:xfrm>
            <a:custGeom>
              <a:avLst/>
              <a:gdLst>
                <a:gd name="T0" fmla="*/ 1588 w 1"/>
                <a:gd name="T1" fmla="*/ 4233 h 3"/>
                <a:gd name="T2" fmla="*/ 1588 w 1"/>
                <a:gd name="T3" fmla="*/ 6350 h 3"/>
                <a:gd name="T4" fmla="*/ 0 w 1"/>
                <a:gd name="T5" fmla="*/ 2117 h 3"/>
                <a:gd name="T6" fmla="*/ 1588 w 1"/>
                <a:gd name="T7" fmla="*/ 0 h 3"/>
                <a:gd name="T8" fmla="*/ 1588 w 1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0" name="Freeform 951"/>
            <p:cNvSpPr>
              <a:spLocks noChangeAspect="1"/>
            </p:cNvSpPr>
            <p:nvPr/>
          </p:nvSpPr>
          <p:spPr bwMode="auto">
            <a:xfrm>
              <a:off x="3068638" y="3827463"/>
              <a:ext cx="1587" cy="4762"/>
            </a:xfrm>
            <a:custGeom>
              <a:avLst/>
              <a:gdLst>
                <a:gd name="T0" fmla="*/ 1587 w 1"/>
                <a:gd name="T1" fmla="*/ 3175 h 3"/>
                <a:gd name="T2" fmla="*/ 0 w 1"/>
                <a:gd name="T3" fmla="*/ 4762 h 3"/>
                <a:gd name="T4" fmla="*/ 0 w 1"/>
                <a:gd name="T5" fmla="*/ 3175 h 3"/>
                <a:gd name="T6" fmla="*/ 1587 w 1"/>
                <a:gd name="T7" fmla="*/ 1587 h 3"/>
                <a:gd name="T8" fmla="*/ 1587 w 1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1" y="2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1" name="Freeform 952"/>
            <p:cNvSpPr>
              <a:spLocks noChangeAspect="1"/>
            </p:cNvSpPr>
            <p:nvPr/>
          </p:nvSpPr>
          <p:spPr bwMode="auto">
            <a:xfrm>
              <a:off x="3055938" y="3859213"/>
              <a:ext cx="4762" cy="6350"/>
            </a:xfrm>
            <a:custGeom>
              <a:avLst/>
              <a:gdLst>
                <a:gd name="T0" fmla="*/ 2381 w 2"/>
                <a:gd name="T1" fmla="*/ 4233 h 3"/>
                <a:gd name="T2" fmla="*/ 2381 w 2"/>
                <a:gd name="T3" fmla="*/ 6350 h 3"/>
                <a:gd name="T4" fmla="*/ 0 w 2"/>
                <a:gd name="T5" fmla="*/ 2117 h 3"/>
                <a:gd name="T6" fmla="*/ 2381 w 2"/>
                <a:gd name="T7" fmla="*/ 0 h 3"/>
                <a:gd name="T8" fmla="*/ 2381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2" name="Freeform 953"/>
            <p:cNvSpPr>
              <a:spLocks noChangeAspect="1"/>
            </p:cNvSpPr>
            <p:nvPr/>
          </p:nvSpPr>
          <p:spPr bwMode="auto">
            <a:xfrm>
              <a:off x="3078163" y="3881438"/>
              <a:ext cx="4762" cy="6350"/>
            </a:xfrm>
            <a:custGeom>
              <a:avLst/>
              <a:gdLst>
                <a:gd name="T0" fmla="*/ 3175 w 3"/>
                <a:gd name="T1" fmla="*/ 4233 h 3"/>
                <a:gd name="T2" fmla="*/ 0 w 3"/>
                <a:gd name="T3" fmla="*/ 4233 h 3"/>
                <a:gd name="T4" fmla="*/ 1587 w 3"/>
                <a:gd name="T5" fmla="*/ 2117 h 3"/>
                <a:gd name="T6" fmla="*/ 3175 w 3"/>
                <a:gd name="T7" fmla="*/ 2117 h 3"/>
                <a:gd name="T8" fmla="*/ 3175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3" name="Freeform 954"/>
            <p:cNvSpPr>
              <a:spLocks noChangeAspect="1"/>
            </p:cNvSpPr>
            <p:nvPr/>
          </p:nvSpPr>
          <p:spPr bwMode="auto">
            <a:xfrm>
              <a:off x="3328988" y="4173538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2117 w 3"/>
                <a:gd name="T3" fmla="*/ 4233 h 3"/>
                <a:gd name="T4" fmla="*/ 2117 w 3"/>
                <a:gd name="T5" fmla="*/ 2117 h 3"/>
                <a:gd name="T6" fmla="*/ 4233 w 3"/>
                <a:gd name="T7" fmla="*/ 0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1" y="3"/>
                    <a:pt x="1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4" name="Freeform 955"/>
            <p:cNvSpPr>
              <a:spLocks noChangeAspect="1"/>
            </p:cNvSpPr>
            <p:nvPr/>
          </p:nvSpPr>
          <p:spPr bwMode="auto">
            <a:xfrm>
              <a:off x="2328863" y="4200525"/>
              <a:ext cx="3175" cy="4763"/>
            </a:xfrm>
            <a:custGeom>
              <a:avLst/>
              <a:gdLst>
                <a:gd name="T0" fmla="*/ 1588 w 2"/>
                <a:gd name="T1" fmla="*/ 3175 h 3"/>
                <a:gd name="T2" fmla="*/ 0 w 2"/>
                <a:gd name="T3" fmla="*/ 3175 h 3"/>
                <a:gd name="T4" fmla="*/ 0 w 2"/>
                <a:gd name="T5" fmla="*/ 1588 h 3"/>
                <a:gd name="T6" fmla="*/ 1588 w 2"/>
                <a:gd name="T7" fmla="*/ 0 h 3"/>
                <a:gd name="T8" fmla="*/ 1588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1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5" name="Freeform 956"/>
            <p:cNvSpPr>
              <a:spLocks noChangeAspect="1"/>
            </p:cNvSpPr>
            <p:nvPr/>
          </p:nvSpPr>
          <p:spPr bwMode="auto">
            <a:xfrm>
              <a:off x="2349500" y="4194175"/>
              <a:ext cx="4763" cy="6350"/>
            </a:xfrm>
            <a:custGeom>
              <a:avLst/>
              <a:gdLst>
                <a:gd name="T0" fmla="*/ 4763 w 2"/>
                <a:gd name="T1" fmla="*/ 2117 h 3"/>
                <a:gd name="T2" fmla="*/ 4763 w 2"/>
                <a:gd name="T3" fmla="*/ 6350 h 3"/>
                <a:gd name="T4" fmla="*/ 2382 w 2"/>
                <a:gd name="T5" fmla="*/ 4233 h 3"/>
                <a:gd name="T6" fmla="*/ 0 w 2"/>
                <a:gd name="T7" fmla="*/ 2117 h 3"/>
                <a:gd name="T8" fmla="*/ 4763 w 2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6" name="Freeform 957"/>
            <p:cNvSpPr>
              <a:spLocks noChangeAspect="1"/>
            </p:cNvSpPr>
            <p:nvPr/>
          </p:nvSpPr>
          <p:spPr bwMode="auto">
            <a:xfrm>
              <a:off x="2603500" y="4268788"/>
              <a:ext cx="3175" cy="3175"/>
            </a:xfrm>
            <a:custGeom>
              <a:avLst/>
              <a:gdLst>
                <a:gd name="T0" fmla="*/ 1588 w 2"/>
                <a:gd name="T1" fmla="*/ 3175 h 2"/>
                <a:gd name="T2" fmla="*/ 0 w 2"/>
                <a:gd name="T3" fmla="*/ 3175 h 2"/>
                <a:gd name="T4" fmla="*/ 1588 w 2"/>
                <a:gd name="T5" fmla="*/ 0 h 2"/>
                <a:gd name="T6" fmla="*/ 3175 w 2"/>
                <a:gd name="T7" fmla="*/ 1588 h 2"/>
                <a:gd name="T8" fmla="*/ 1588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7" name="Freeform 958"/>
            <p:cNvSpPr>
              <a:spLocks noChangeAspect="1"/>
            </p:cNvSpPr>
            <p:nvPr/>
          </p:nvSpPr>
          <p:spPr bwMode="auto">
            <a:xfrm>
              <a:off x="2608263" y="4265613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1588 h 2"/>
                <a:gd name="T4" fmla="*/ 2117 w 3"/>
                <a:gd name="T5" fmla="*/ 0 h 2"/>
                <a:gd name="T6" fmla="*/ 4233 w 3"/>
                <a:gd name="T7" fmla="*/ 1588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8" name="Freeform 959"/>
            <p:cNvSpPr>
              <a:spLocks noChangeAspect="1"/>
            </p:cNvSpPr>
            <p:nvPr/>
          </p:nvSpPr>
          <p:spPr bwMode="auto">
            <a:xfrm>
              <a:off x="2852738" y="5521325"/>
              <a:ext cx="3175" cy="3175"/>
            </a:xfrm>
            <a:custGeom>
              <a:avLst/>
              <a:gdLst>
                <a:gd name="T0" fmla="*/ 3175 w 2"/>
                <a:gd name="T1" fmla="*/ 1588 h 2"/>
                <a:gd name="T2" fmla="*/ 1588 w 2"/>
                <a:gd name="T3" fmla="*/ 3175 h 2"/>
                <a:gd name="T4" fmla="*/ 0 w 2"/>
                <a:gd name="T5" fmla="*/ 1588 h 2"/>
                <a:gd name="T6" fmla="*/ 1588 w 2"/>
                <a:gd name="T7" fmla="*/ 0 h 2"/>
                <a:gd name="T8" fmla="*/ 3175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2"/>
                    <a:pt x="1" y="2"/>
                    <a:pt x="1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59" name="Freeform 960"/>
            <p:cNvSpPr>
              <a:spLocks noChangeAspect="1"/>
            </p:cNvSpPr>
            <p:nvPr/>
          </p:nvSpPr>
          <p:spPr bwMode="auto">
            <a:xfrm>
              <a:off x="2854325" y="5408613"/>
              <a:ext cx="4763" cy="4762"/>
            </a:xfrm>
            <a:custGeom>
              <a:avLst/>
              <a:gdLst>
                <a:gd name="T0" fmla="*/ 4763 w 2"/>
                <a:gd name="T1" fmla="*/ 3175 h 3"/>
                <a:gd name="T2" fmla="*/ 2382 w 2"/>
                <a:gd name="T3" fmla="*/ 4762 h 3"/>
                <a:gd name="T4" fmla="*/ 0 w 2"/>
                <a:gd name="T5" fmla="*/ 3175 h 3"/>
                <a:gd name="T6" fmla="*/ 2382 w 2"/>
                <a:gd name="T7" fmla="*/ 0 h 3"/>
                <a:gd name="T8" fmla="*/ 4763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0" name="Freeform 961"/>
            <p:cNvSpPr>
              <a:spLocks noChangeAspect="1"/>
            </p:cNvSpPr>
            <p:nvPr/>
          </p:nvSpPr>
          <p:spPr bwMode="auto">
            <a:xfrm>
              <a:off x="2832100" y="5475288"/>
              <a:ext cx="3175" cy="3175"/>
            </a:xfrm>
            <a:custGeom>
              <a:avLst/>
              <a:gdLst>
                <a:gd name="T0" fmla="*/ 1588 w 2"/>
                <a:gd name="T1" fmla="*/ 3175 h 2"/>
                <a:gd name="T2" fmla="*/ 0 w 2"/>
                <a:gd name="T3" fmla="*/ 3175 h 2"/>
                <a:gd name="T4" fmla="*/ 0 w 2"/>
                <a:gd name="T5" fmla="*/ 1588 h 2"/>
                <a:gd name="T6" fmla="*/ 3175 w 2"/>
                <a:gd name="T7" fmla="*/ 0 h 2"/>
                <a:gd name="T8" fmla="*/ 1588 w 2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1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1" name="Freeform 962"/>
            <p:cNvSpPr>
              <a:spLocks noChangeAspect="1"/>
            </p:cNvSpPr>
            <p:nvPr/>
          </p:nvSpPr>
          <p:spPr bwMode="auto">
            <a:xfrm>
              <a:off x="2840038" y="5492750"/>
              <a:ext cx="4762" cy="3175"/>
            </a:xfrm>
            <a:custGeom>
              <a:avLst/>
              <a:gdLst>
                <a:gd name="T0" fmla="*/ 3175 w 3"/>
                <a:gd name="T1" fmla="*/ 3175 h 2"/>
                <a:gd name="T2" fmla="*/ 0 w 3"/>
                <a:gd name="T3" fmla="*/ 1588 h 2"/>
                <a:gd name="T4" fmla="*/ 1587 w 3"/>
                <a:gd name="T5" fmla="*/ 0 h 2"/>
                <a:gd name="T6" fmla="*/ 4762 w 3"/>
                <a:gd name="T7" fmla="*/ 1588 h 2"/>
                <a:gd name="T8" fmla="*/ 3175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2"/>
                  </a:moveTo>
                  <a:cubicBezTo>
                    <a:pt x="1" y="2"/>
                    <a:pt x="1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2" name="Freeform 963"/>
            <p:cNvSpPr>
              <a:spLocks noChangeAspect="1"/>
            </p:cNvSpPr>
            <p:nvPr/>
          </p:nvSpPr>
          <p:spPr bwMode="auto">
            <a:xfrm>
              <a:off x="2835275" y="5499100"/>
              <a:ext cx="6350" cy="4763"/>
            </a:xfrm>
            <a:custGeom>
              <a:avLst/>
              <a:gdLst>
                <a:gd name="T0" fmla="*/ 2117 w 3"/>
                <a:gd name="T1" fmla="*/ 4763 h 2"/>
                <a:gd name="T2" fmla="*/ 0 w 3"/>
                <a:gd name="T3" fmla="*/ 4763 h 2"/>
                <a:gd name="T4" fmla="*/ 2117 w 3"/>
                <a:gd name="T5" fmla="*/ 2382 h 2"/>
                <a:gd name="T6" fmla="*/ 4233 w 3"/>
                <a:gd name="T7" fmla="*/ 0 h 2"/>
                <a:gd name="T8" fmla="*/ 2117 w 3"/>
                <a:gd name="T9" fmla="*/ 4763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3" name="Freeform 964"/>
            <p:cNvSpPr>
              <a:spLocks noChangeAspect="1"/>
            </p:cNvSpPr>
            <p:nvPr/>
          </p:nvSpPr>
          <p:spPr bwMode="auto">
            <a:xfrm>
              <a:off x="2851150" y="5483225"/>
              <a:ext cx="3175" cy="4763"/>
            </a:xfrm>
            <a:custGeom>
              <a:avLst/>
              <a:gdLst>
                <a:gd name="T0" fmla="*/ 1588 w 2"/>
                <a:gd name="T1" fmla="*/ 3175 h 3"/>
                <a:gd name="T2" fmla="*/ 1588 w 2"/>
                <a:gd name="T3" fmla="*/ 4763 h 3"/>
                <a:gd name="T4" fmla="*/ 0 w 2"/>
                <a:gd name="T5" fmla="*/ 3175 h 3"/>
                <a:gd name="T6" fmla="*/ 1588 w 2"/>
                <a:gd name="T7" fmla="*/ 0 h 3"/>
                <a:gd name="T8" fmla="*/ 1588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4" name="Oval 965"/>
            <p:cNvSpPr>
              <a:spLocks noChangeAspect="1" noChangeArrowheads="1"/>
            </p:cNvSpPr>
            <p:nvPr/>
          </p:nvSpPr>
          <p:spPr bwMode="auto">
            <a:xfrm>
              <a:off x="2849563" y="5487988"/>
              <a:ext cx="1587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5" name="Freeform 966"/>
            <p:cNvSpPr>
              <a:spLocks noChangeAspect="1"/>
            </p:cNvSpPr>
            <p:nvPr/>
          </p:nvSpPr>
          <p:spPr bwMode="auto">
            <a:xfrm>
              <a:off x="2849563" y="5461000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3175 w 2"/>
                <a:gd name="T3" fmla="*/ 6350 h 3"/>
                <a:gd name="T4" fmla="*/ 0 w 2"/>
                <a:gd name="T5" fmla="*/ 4233 h 3"/>
                <a:gd name="T6" fmla="*/ 1588 w 2"/>
                <a:gd name="T7" fmla="*/ 2117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2" y="3"/>
                    <a:pt x="2" y="3"/>
                  </a:cubicBezTo>
                  <a:cubicBezTo>
                    <a:pt x="1" y="3"/>
                    <a:pt x="1" y="3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6" name="Freeform 967"/>
            <p:cNvSpPr>
              <a:spLocks noChangeAspect="1"/>
            </p:cNvSpPr>
            <p:nvPr/>
          </p:nvSpPr>
          <p:spPr bwMode="auto">
            <a:xfrm>
              <a:off x="2846388" y="5508625"/>
              <a:ext cx="4762" cy="4763"/>
            </a:xfrm>
            <a:custGeom>
              <a:avLst/>
              <a:gdLst>
                <a:gd name="T0" fmla="*/ 2381 w 2"/>
                <a:gd name="T1" fmla="*/ 0 h 2"/>
                <a:gd name="T2" fmla="*/ 4762 w 2"/>
                <a:gd name="T3" fmla="*/ 2382 h 2"/>
                <a:gd name="T4" fmla="*/ 2381 w 2"/>
                <a:gd name="T5" fmla="*/ 2382 h 2"/>
                <a:gd name="T6" fmla="*/ 0 w 2"/>
                <a:gd name="T7" fmla="*/ 0 h 2"/>
                <a:gd name="T8" fmla="*/ 2381 w 2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1" y="0"/>
                  </a:moveTo>
                  <a:cubicBezTo>
                    <a:pt x="2" y="0"/>
                    <a:pt x="2" y="1"/>
                    <a:pt x="2" y="1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7" name="Freeform 968"/>
            <p:cNvSpPr>
              <a:spLocks noChangeAspect="1"/>
            </p:cNvSpPr>
            <p:nvPr/>
          </p:nvSpPr>
          <p:spPr bwMode="auto">
            <a:xfrm>
              <a:off x="2844800" y="5503863"/>
              <a:ext cx="6350" cy="3175"/>
            </a:xfrm>
            <a:custGeom>
              <a:avLst/>
              <a:gdLst>
                <a:gd name="T0" fmla="*/ 4233 w 3"/>
                <a:gd name="T1" fmla="*/ 0 h 2"/>
                <a:gd name="T2" fmla="*/ 4233 w 3"/>
                <a:gd name="T3" fmla="*/ 1588 h 2"/>
                <a:gd name="T4" fmla="*/ 2117 w 3"/>
                <a:gd name="T5" fmla="*/ 1588 h 2"/>
                <a:gd name="T6" fmla="*/ 0 w 3"/>
                <a:gd name="T7" fmla="*/ 0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2" y="0"/>
                    <a:pt x="3" y="1"/>
                    <a:pt x="2" y="1"/>
                  </a:cubicBezTo>
                  <a:cubicBezTo>
                    <a:pt x="2" y="2"/>
                    <a:pt x="2" y="2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8" name="Freeform 969"/>
            <p:cNvSpPr>
              <a:spLocks noChangeAspect="1"/>
            </p:cNvSpPr>
            <p:nvPr/>
          </p:nvSpPr>
          <p:spPr bwMode="auto">
            <a:xfrm>
              <a:off x="2844800" y="5497513"/>
              <a:ext cx="6350" cy="4762"/>
            </a:xfrm>
            <a:custGeom>
              <a:avLst/>
              <a:gdLst>
                <a:gd name="T0" fmla="*/ 4233 w 3"/>
                <a:gd name="T1" fmla="*/ 0 h 2"/>
                <a:gd name="T2" fmla="*/ 6350 w 3"/>
                <a:gd name="T3" fmla="*/ 2381 h 2"/>
                <a:gd name="T4" fmla="*/ 4233 w 3"/>
                <a:gd name="T5" fmla="*/ 4762 h 2"/>
                <a:gd name="T6" fmla="*/ 0 w 3"/>
                <a:gd name="T7" fmla="*/ 0 h 2"/>
                <a:gd name="T8" fmla="*/ 4233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0"/>
                  </a:moveTo>
                  <a:cubicBezTo>
                    <a:pt x="3" y="0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69" name="Oval 970"/>
            <p:cNvSpPr>
              <a:spLocks noChangeAspect="1" noChangeArrowheads="1"/>
            </p:cNvSpPr>
            <p:nvPr/>
          </p:nvSpPr>
          <p:spPr bwMode="auto">
            <a:xfrm>
              <a:off x="2817813" y="5487988"/>
              <a:ext cx="3175" cy="4762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0" name="Freeform 971"/>
            <p:cNvSpPr>
              <a:spLocks noChangeAspect="1"/>
            </p:cNvSpPr>
            <p:nvPr/>
          </p:nvSpPr>
          <p:spPr bwMode="auto">
            <a:xfrm>
              <a:off x="2817813" y="5449888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0 w 3"/>
                <a:gd name="T3" fmla="*/ 4233 h 3"/>
                <a:gd name="T4" fmla="*/ 2117 w 3"/>
                <a:gd name="T5" fmla="*/ 2117 h 3"/>
                <a:gd name="T6" fmla="*/ 4233 w 3"/>
                <a:gd name="T7" fmla="*/ 2117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1" y="3"/>
                    <a:pt x="1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2" y="0"/>
                    <a:pt x="2" y="1"/>
                  </a:cubicBezTo>
                  <a:cubicBezTo>
                    <a:pt x="3" y="2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1" name="Freeform 972"/>
            <p:cNvSpPr>
              <a:spLocks noChangeAspect="1"/>
            </p:cNvSpPr>
            <p:nvPr/>
          </p:nvSpPr>
          <p:spPr bwMode="auto">
            <a:xfrm>
              <a:off x="2865438" y="5584825"/>
              <a:ext cx="6350" cy="6350"/>
            </a:xfrm>
            <a:custGeom>
              <a:avLst/>
              <a:gdLst>
                <a:gd name="T0" fmla="*/ 6350 w 3"/>
                <a:gd name="T1" fmla="*/ 4233 h 3"/>
                <a:gd name="T2" fmla="*/ 2117 w 3"/>
                <a:gd name="T3" fmla="*/ 6350 h 3"/>
                <a:gd name="T4" fmla="*/ 0 w 3"/>
                <a:gd name="T5" fmla="*/ 4233 h 3"/>
                <a:gd name="T6" fmla="*/ 2117 w 3"/>
                <a:gd name="T7" fmla="*/ 0 h 3"/>
                <a:gd name="T8" fmla="*/ 6350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2"/>
                  </a:moveTo>
                  <a:cubicBezTo>
                    <a:pt x="3" y="2"/>
                    <a:pt x="2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2" name="Freeform 973"/>
            <p:cNvSpPr>
              <a:spLocks noChangeAspect="1"/>
            </p:cNvSpPr>
            <p:nvPr/>
          </p:nvSpPr>
          <p:spPr bwMode="auto">
            <a:xfrm>
              <a:off x="2827338" y="5618163"/>
              <a:ext cx="4762" cy="3175"/>
            </a:xfrm>
            <a:custGeom>
              <a:avLst/>
              <a:gdLst>
                <a:gd name="T0" fmla="*/ 4762 w 2"/>
                <a:gd name="T1" fmla="*/ 1588 h 2"/>
                <a:gd name="T2" fmla="*/ 2381 w 2"/>
                <a:gd name="T3" fmla="*/ 3175 h 2"/>
                <a:gd name="T4" fmla="*/ 0 w 2"/>
                <a:gd name="T5" fmla="*/ 3175 h 2"/>
                <a:gd name="T6" fmla="*/ 0 w 2"/>
                <a:gd name="T7" fmla="*/ 0 h 2"/>
                <a:gd name="T8" fmla="*/ 4762 w 2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2"/>
                <a:gd name="T17" fmla="*/ 2 w 2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2">
                  <a:moveTo>
                    <a:pt x="2" y="1"/>
                  </a:move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3" name="Freeform 974"/>
            <p:cNvSpPr>
              <a:spLocks noChangeAspect="1"/>
            </p:cNvSpPr>
            <p:nvPr/>
          </p:nvSpPr>
          <p:spPr bwMode="auto">
            <a:xfrm>
              <a:off x="2825750" y="5624513"/>
              <a:ext cx="4763" cy="4762"/>
            </a:xfrm>
            <a:custGeom>
              <a:avLst/>
              <a:gdLst>
                <a:gd name="T0" fmla="*/ 2382 w 2"/>
                <a:gd name="T1" fmla="*/ 3175 h 3"/>
                <a:gd name="T2" fmla="*/ 2382 w 2"/>
                <a:gd name="T3" fmla="*/ 4762 h 3"/>
                <a:gd name="T4" fmla="*/ 0 w 2"/>
                <a:gd name="T5" fmla="*/ 3175 h 3"/>
                <a:gd name="T6" fmla="*/ 2382 w 2"/>
                <a:gd name="T7" fmla="*/ 0 h 3"/>
                <a:gd name="T8" fmla="*/ 2382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1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4" name="Freeform 975"/>
            <p:cNvSpPr>
              <a:spLocks noChangeAspect="1"/>
            </p:cNvSpPr>
            <p:nvPr/>
          </p:nvSpPr>
          <p:spPr bwMode="auto">
            <a:xfrm>
              <a:off x="2832100" y="5614988"/>
              <a:ext cx="3175" cy="4762"/>
            </a:xfrm>
            <a:custGeom>
              <a:avLst/>
              <a:gdLst>
                <a:gd name="T0" fmla="*/ 3175 w 2"/>
                <a:gd name="T1" fmla="*/ 3175 h 3"/>
                <a:gd name="T2" fmla="*/ 1588 w 2"/>
                <a:gd name="T3" fmla="*/ 4762 h 3"/>
                <a:gd name="T4" fmla="*/ 0 w 2"/>
                <a:gd name="T5" fmla="*/ 3175 h 3"/>
                <a:gd name="T6" fmla="*/ 1588 w 2"/>
                <a:gd name="T7" fmla="*/ 1587 h 3"/>
                <a:gd name="T8" fmla="*/ 3175 w 2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2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5" name="Freeform 976"/>
            <p:cNvSpPr>
              <a:spLocks noChangeAspect="1"/>
            </p:cNvSpPr>
            <p:nvPr/>
          </p:nvSpPr>
          <p:spPr bwMode="auto">
            <a:xfrm>
              <a:off x="2833688" y="5608638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6350 h 3"/>
                <a:gd name="T4" fmla="*/ 0 w 2"/>
                <a:gd name="T5" fmla="*/ 4233 h 3"/>
                <a:gd name="T6" fmla="*/ 1588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6" name="Freeform 977"/>
            <p:cNvSpPr>
              <a:spLocks noChangeAspect="1"/>
            </p:cNvSpPr>
            <p:nvPr/>
          </p:nvSpPr>
          <p:spPr bwMode="auto">
            <a:xfrm>
              <a:off x="2835275" y="5621338"/>
              <a:ext cx="4763" cy="6350"/>
            </a:xfrm>
            <a:custGeom>
              <a:avLst/>
              <a:gdLst>
                <a:gd name="T0" fmla="*/ 4763 w 2"/>
                <a:gd name="T1" fmla="*/ 4233 h 3"/>
                <a:gd name="T2" fmla="*/ 2382 w 2"/>
                <a:gd name="T3" fmla="*/ 6350 h 3"/>
                <a:gd name="T4" fmla="*/ 0 w 2"/>
                <a:gd name="T5" fmla="*/ 4233 h 3"/>
                <a:gd name="T6" fmla="*/ 2382 w 2"/>
                <a:gd name="T7" fmla="*/ 0 h 3"/>
                <a:gd name="T8" fmla="*/ 4763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7" name="Oval 978"/>
            <p:cNvSpPr>
              <a:spLocks noChangeAspect="1" noChangeArrowheads="1"/>
            </p:cNvSpPr>
            <p:nvPr/>
          </p:nvSpPr>
          <p:spPr bwMode="auto">
            <a:xfrm>
              <a:off x="2833688" y="5592763"/>
              <a:ext cx="1587" cy="635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8" name="Freeform 979"/>
            <p:cNvSpPr>
              <a:spLocks noChangeAspect="1"/>
            </p:cNvSpPr>
            <p:nvPr/>
          </p:nvSpPr>
          <p:spPr bwMode="auto">
            <a:xfrm>
              <a:off x="2827338" y="5578475"/>
              <a:ext cx="6350" cy="3175"/>
            </a:xfrm>
            <a:custGeom>
              <a:avLst/>
              <a:gdLst>
                <a:gd name="T0" fmla="*/ 2117 w 3"/>
                <a:gd name="T1" fmla="*/ 1588 h 2"/>
                <a:gd name="T2" fmla="*/ 0 w 3"/>
                <a:gd name="T3" fmla="*/ 1588 h 2"/>
                <a:gd name="T4" fmla="*/ 2117 w 3"/>
                <a:gd name="T5" fmla="*/ 0 h 2"/>
                <a:gd name="T6" fmla="*/ 6350 w 3"/>
                <a:gd name="T7" fmla="*/ 0 h 2"/>
                <a:gd name="T8" fmla="*/ 2117 w 3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1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79" name="Freeform 980"/>
            <p:cNvSpPr>
              <a:spLocks noChangeAspect="1"/>
            </p:cNvSpPr>
            <p:nvPr/>
          </p:nvSpPr>
          <p:spPr bwMode="auto">
            <a:xfrm>
              <a:off x="2841625" y="5556250"/>
              <a:ext cx="3175" cy="6350"/>
            </a:xfrm>
            <a:custGeom>
              <a:avLst/>
              <a:gdLst>
                <a:gd name="T0" fmla="*/ 1588 w 2"/>
                <a:gd name="T1" fmla="*/ 6350 h 3"/>
                <a:gd name="T2" fmla="*/ 0 w 2"/>
                <a:gd name="T3" fmla="*/ 6350 h 3"/>
                <a:gd name="T4" fmla="*/ 0 w 2"/>
                <a:gd name="T5" fmla="*/ 2117 h 3"/>
                <a:gd name="T6" fmla="*/ 3175 w 2"/>
                <a:gd name="T7" fmla="*/ 2117 h 3"/>
                <a:gd name="T8" fmla="*/ 1588 w 2"/>
                <a:gd name="T9" fmla="*/ 635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1" y="3"/>
                  </a:moveTo>
                  <a:cubicBezTo>
                    <a:pt x="1" y="3"/>
                    <a:pt x="1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1" y="1"/>
                    <a:pt x="1" y="0"/>
                    <a:pt x="2" y="1"/>
                  </a:cubicBezTo>
                  <a:cubicBezTo>
                    <a:pt x="2" y="1"/>
                    <a:pt x="2" y="2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0" name="Freeform 981"/>
            <p:cNvSpPr>
              <a:spLocks noChangeAspect="1"/>
            </p:cNvSpPr>
            <p:nvPr/>
          </p:nvSpPr>
          <p:spPr bwMode="auto">
            <a:xfrm>
              <a:off x="2836863" y="5656263"/>
              <a:ext cx="6350" cy="3175"/>
            </a:xfrm>
            <a:custGeom>
              <a:avLst/>
              <a:gdLst>
                <a:gd name="T0" fmla="*/ 4233 w 3"/>
                <a:gd name="T1" fmla="*/ 1588 h 2"/>
                <a:gd name="T2" fmla="*/ 4233 w 3"/>
                <a:gd name="T3" fmla="*/ 3175 h 2"/>
                <a:gd name="T4" fmla="*/ 2117 w 3"/>
                <a:gd name="T5" fmla="*/ 3175 h 2"/>
                <a:gd name="T6" fmla="*/ 0 w 3"/>
                <a:gd name="T7" fmla="*/ 0 h 2"/>
                <a:gd name="T8" fmla="*/ 4233 w 3"/>
                <a:gd name="T9" fmla="*/ 158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2" y="1"/>
                  </a:moveTo>
                  <a:cubicBezTo>
                    <a:pt x="2" y="1"/>
                    <a:pt x="3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2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1" name="Freeform 982"/>
            <p:cNvSpPr>
              <a:spLocks noChangeAspect="1"/>
            </p:cNvSpPr>
            <p:nvPr/>
          </p:nvSpPr>
          <p:spPr bwMode="auto">
            <a:xfrm>
              <a:off x="2868613" y="5697538"/>
              <a:ext cx="3175" cy="6350"/>
            </a:xfrm>
            <a:custGeom>
              <a:avLst/>
              <a:gdLst>
                <a:gd name="T0" fmla="*/ 3175 w 2"/>
                <a:gd name="T1" fmla="*/ 2117 h 3"/>
                <a:gd name="T2" fmla="*/ 1588 w 2"/>
                <a:gd name="T3" fmla="*/ 6350 h 3"/>
                <a:gd name="T4" fmla="*/ 0 w 2"/>
                <a:gd name="T5" fmla="*/ 4233 h 3"/>
                <a:gd name="T6" fmla="*/ 0 w 2"/>
                <a:gd name="T7" fmla="*/ 0 h 3"/>
                <a:gd name="T8" fmla="*/ 3175 w 2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1"/>
                  </a:moveTo>
                  <a:cubicBezTo>
                    <a:pt x="2" y="2"/>
                    <a:pt x="2" y="2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2" name="Freeform 983"/>
            <p:cNvSpPr>
              <a:spLocks noChangeAspect="1"/>
            </p:cNvSpPr>
            <p:nvPr/>
          </p:nvSpPr>
          <p:spPr bwMode="auto">
            <a:xfrm>
              <a:off x="2851150" y="5667375"/>
              <a:ext cx="3175" cy="6350"/>
            </a:xfrm>
            <a:custGeom>
              <a:avLst/>
              <a:gdLst>
                <a:gd name="T0" fmla="*/ 3175 w 2"/>
                <a:gd name="T1" fmla="*/ 4233 h 3"/>
                <a:gd name="T2" fmla="*/ 1588 w 2"/>
                <a:gd name="T3" fmla="*/ 4233 h 3"/>
                <a:gd name="T4" fmla="*/ 1588 w 2"/>
                <a:gd name="T5" fmla="*/ 2117 h 3"/>
                <a:gd name="T6" fmla="*/ 3175 w 2"/>
                <a:gd name="T7" fmla="*/ 0 h 3"/>
                <a:gd name="T8" fmla="*/ 3175 w 2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2"/>
                  </a:moveTo>
                  <a:cubicBezTo>
                    <a:pt x="2" y="2"/>
                    <a:pt x="1" y="3"/>
                    <a:pt x="1" y="2"/>
                  </a:cubicBezTo>
                  <a:cubicBezTo>
                    <a:pt x="0" y="2"/>
                    <a:pt x="0" y="2"/>
                    <a:pt x="1" y="1"/>
                  </a:cubicBez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3" name="Freeform 984"/>
            <p:cNvSpPr>
              <a:spLocks noChangeAspect="1"/>
            </p:cNvSpPr>
            <p:nvPr/>
          </p:nvSpPr>
          <p:spPr bwMode="auto">
            <a:xfrm>
              <a:off x="2859088" y="5729288"/>
              <a:ext cx="4762" cy="3175"/>
            </a:xfrm>
            <a:custGeom>
              <a:avLst/>
              <a:gdLst>
                <a:gd name="T0" fmla="*/ 1587 w 3"/>
                <a:gd name="T1" fmla="*/ 3175 h 2"/>
                <a:gd name="T2" fmla="*/ 0 w 3"/>
                <a:gd name="T3" fmla="*/ 1588 h 2"/>
                <a:gd name="T4" fmla="*/ 1587 w 3"/>
                <a:gd name="T5" fmla="*/ 0 h 2"/>
                <a:gd name="T6" fmla="*/ 4762 w 3"/>
                <a:gd name="T7" fmla="*/ 1588 h 2"/>
                <a:gd name="T8" fmla="*/ 158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3" y="2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4" name="Freeform 985"/>
            <p:cNvSpPr>
              <a:spLocks noChangeAspect="1"/>
            </p:cNvSpPr>
            <p:nvPr/>
          </p:nvSpPr>
          <p:spPr bwMode="auto">
            <a:xfrm>
              <a:off x="3046413" y="5838825"/>
              <a:ext cx="6350" cy="6350"/>
            </a:xfrm>
            <a:custGeom>
              <a:avLst/>
              <a:gdLst>
                <a:gd name="T0" fmla="*/ 4233 w 3"/>
                <a:gd name="T1" fmla="*/ 4233 h 3"/>
                <a:gd name="T2" fmla="*/ 2117 w 3"/>
                <a:gd name="T3" fmla="*/ 4233 h 3"/>
                <a:gd name="T4" fmla="*/ 2117 w 3"/>
                <a:gd name="T5" fmla="*/ 2117 h 3"/>
                <a:gd name="T6" fmla="*/ 4233 w 3"/>
                <a:gd name="T7" fmla="*/ 0 h 3"/>
                <a:gd name="T8" fmla="*/ 4233 w 3"/>
                <a:gd name="T9" fmla="*/ 4233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2" y="2"/>
                    <a:pt x="1" y="3"/>
                    <a:pt x="1" y="2"/>
                  </a:cubicBezTo>
                  <a:cubicBezTo>
                    <a:pt x="0" y="2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1"/>
                    <a:pt x="2" y="2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5" name="Freeform 986"/>
            <p:cNvSpPr>
              <a:spLocks noChangeAspect="1"/>
            </p:cNvSpPr>
            <p:nvPr/>
          </p:nvSpPr>
          <p:spPr bwMode="auto">
            <a:xfrm>
              <a:off x="3035300" y="5864225"/>
              <a:ext cx="6350" cy="3175"/>
            </a:xfrm>
            <a:custGeom>
              <a:avLst/>
              <a:gdLst>
                <a:gd name="T0" fmla="*/ 2117 w 3"/>
                <a:gd name="T1" fmla="*/ 3175 h 2"/>
                <a:gd name="T2" fmla="*/ 0 w 3"/>
                <a:gd name="T3" fmla="*/ 3175 h 2"/>
                <a:gd name="T4" fmla="*/ 2117 w 3"/>
                <a:gd name="T5" fmla="*/ 0 h 2"/>
                <a:gd name="T6" fmla="*/ 4233 w 3"/>
                <a:gd name="T7" fmla="*/ 0 h 2"/>
                <a:gd name="T8" fmla="*/ 2117 w 3"/>
                <a:gd name="T9" fmla="*/ 3175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1" y="2"/>
                  </a:moveTo>
                  <a:cubicBezTo>
                    <a:pt x="1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1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6" name="Freeform 987"/>
            <p:cNvSpPr>
              <a:spLocks noChangeAspect="1"/>
            </p:cNvSpPr>
            <p:nvPr/>
          </p:nvSpPr>
          <p:spPr bwMode="auto">
            <a:xfrm>
              <a:off x="2998788" y="5748338"/>
              <a:ext cx="90487" cy="85725"/>
            </a:xfrm>
            <a:custGeom>
              <a:avLst/>
              <a:gdLst>
                <a:gd name="T0" fmla="*/ 46206 w 47"/>
                <a:gd name="T1" fmla="*/ 83820 h 45"/>
                <a:gd name="T2" fmla="*/ 69309 w 47"/>
                <a:gd name="T3" fmla="*/ 85725 h 45"/>
                <a:gd name="T4" fmla="*/ 88562 w 47"/>
                <a:gd name="T5" fmla="*/ 76200 h 45"/>
                <a:gd name="T6" fmla="*/ 88562 w 47"/>
                <a:gd name="T7" fmla="*/ 70485 h 45"/>
                <a:gd name="T8" fmla="*/ 71234 w 47"/>
                <a:gd name="T9" fmla="*/ 68580 h 45"/>
                <a:gd name="T10" fmla="*/ 51982 w 47"/>
                <a:gd name="T11" fmla="*/ 57150 h 45"/>
                <a:gd name="T12" fmla="*/ 26954 w 47"/>
                <a:gd name="T13" fmla="*/ 40005 h 45"/>
                <a:gd name="T14" fmla="*/ 13477 w 47"/>
                <a:gd name="T15" fmla="*/ 26670 h 45"/>
                <a:gd name="T16" fmla="*/ 7701 w 47"/>
                <a:gd name="T17" fmla="*/ 19050 h 45"/>
                <a:gd name="T18" fmla="*/ 11552 w 47"/>
                <a:gd name="T19" fmla="*/ 13335 h 45"/>
                <a:gd name="T20" fmla="*/ 5776 w 47"/>
                <a:gd name="T21" fmla="*/ 1905 h 45"/>
                <a:gd name="T22" fmla="*/ 0 w 47"/>
                <a:gd name="T23" fmla="*/ 0 h 45"/>
                <a:gd name="T24" fmla="*/ 11552 w 47"/>
                <a:gd name="T25" fmla="*/ 76200 h 45"/>
                <a:gd name="T26" fmla="*/ 19253 w 47"/>
                <a:gd name="T27" fmla="*/ 76200 h 45"/>
                <a:gd name="T28" fmla="*/ 26954 w 47"/>
                <a:gd name="T29" fmla="*/ 80010 h 45"/>
                <a:gd name="T30" fmla="*/ 38505 w 47"/>
                <a:gd name="T31" fmla="*/ 80010 h 45"/>
                <a:gd name="T32" fmla="*/ 46206 w 47"/>
                <a:gd name="T33" fmla="*/ 83820 h 4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45"/>
                <a:gd name="T53" fmla="*/ 47 w 47"/>
                <a:gd name="T54" fmla="*/ 45 h 4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45">
                  <a:moveTo>
                    <a:pt x="24" y="44"/>
                  </a:moveTo>
                  <a:cubicBezTo>
                    <a:pt x="28" y="44"/>
                    <a:pt x="32" y="45"/>
                    <a:pt x="36" y="45"/>
                  </a:cubicBezTo>
                  <a:cubicBezTo>
                    <a:pt x="40" y="44"/>
                    <a:pt x="43" y="43"/>
                    <a:pt x="46" y="40"/>
                  </a:cubicBezTo>
                  <a:cubicBezTo>
                    <a:pt x="47" y="40"/>
                    <a:pt x="47" y="38"/>
                    <a:pt x="46" y="37"/>
                  </a:cubicBezTo>
                  <a:cubicBezTo>
                    <a:pt x="43" y="36"/>
                    <a:pt x="40" y="37"/>
                    <a:pt x="37" y="36"/>
                  </a:cubicBezTo>
                  <a:cubicBezTo>
                    <a:pt x="33" y="35"/>
                    <a:pt x="30" y="32"/>
                    <a:pt x="27" y="30"/>
                  </a:cubicBezTo>
                  <a:cubicBezTo>
                    <a:pt x="22" y="27"/>
                    <a:pt x="18" y="25"/>
                    <a:pt x="14" y="21"/>
                  </a:cubicBezTo>
                  <a:cubicBezTo>
                    <a:pt x="11" y="19"/>
                    <a:pt x="9" y="16"/>
                    <a:pt x="7" y="14"/>
                  </a:cubicBezTo>
                  <a:cubicBezTo>
                    <a:pt x="6" y="13"/>
                    <a:pt x="4" y="12"/>
                    <a:pt x="4" y="10"/>
                  </a:cubicBezTo>
                  <a:cubicBezTo>
                    <a:pt x="4" y="9"/>
                    <a:pt x="7" y="9"/>
                    <a:pt x="6" y="7"/>
                  </a:cubicBezTo>
                  <a:cubicBezTo>
                    <a:pt x="6" y="5"/>
                    <a:pt x="5" y="3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2" y="13"/>
                    <a:pt x="4" y="27"/>
                    <a:pt x="6" y="40"/>
                  </a:cubicBezTo>
                  <a:cubicBezTo>
                    <a:pt x="7" y="40"/>
                    <a:pt x="9" y="40"/>
                    <a:pt x="10" y="40"/>
                  </a:cubicBezTo>
                  <a:cubicBezTo>
                    <a:pt x="12" y="41"/>
                    <a:pt x="13" y="42"/>
                    <a:pt x="14" y="42"/>
                  </a:cubicBezTo>
                  <a:cubicBezTo>
                    <a:pt x="16" y="42"/>
                    <a:pt x="18" y="42"/>
                    <a:pt x="20" y="42"/>
                  </a:cubicBezTo>
                  <a:cubicBezTo>
                    <a:pt x="21" y="43"/>
                    <a:pt x="23" y="43"/>
                    <a:pt x="24" y="4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7" name="Freeform 988"/>
            <p:cNvSpPr>
              <a:spLocks noChangeAspect="1"/>
            </p:cNvSpPr>
            <p:nvPr/>
          </p:nvSpPr>
          <p:spPr bwMode="auto">
            <a:xfrm>
              <a:off x="3025775" y="5827713"/>
              <a:ext cx="20638" cy="12700"/>
            </a:xfrm>
            <a:custGeom>
              <a:avLst/>
              <a:gdLst>
                <a:gd name="T0" fmla="*/ 18762 w 11"/>
                <a:gd name="T1" fmla="*/ 3629 h 7"/>
                <a:gd name="T2" fmla="*/ 18762 w 11"/>
                <a:gd name="T3" fmla="*/ 12700 h 7"/>
                <a:gd name="T4" fmla="*/ 11257 w 11"/>
                <a:gd name="T5" fmla="*/ 9071 h 7"/>
                <a:gd name="T6" fmla="*/ 1876 w 11"/>
                <a:gd name="T7" fmla="*/ 10886 h 7"/>
                <a:gd name="T8" fmla="*/ 0 w 11"/>
                <a:gd name="T9" fmla="*/ 5443 h 7"/>
                <a:gd name="T10" fmla="*/ 0 w 11"/>
                <a:gd name="T11" fmla="*/ 0 h 7"/>
                <a:gd name="T12" fmla="*/ 11257 w 11"/>
                <a:gd name="T13" fmla="*/ 0 h 7"/>
                <a:gd name="T14" fmla="*/ 18762 w 11"/>
                <a:gd name="T15" fmla="*/ 3629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10" y="2"/>
                  </a:moveTo>
                  <a:cubicBezTo>
                    <a:pt x="10" y="3"/>
                    <a:pt x="11" y="6"/>
                    <a:pt x="10" y="7"/>
                  </a:cubicBezTo>
                  <a:cubicBezTo>
                    <a:pt x="9" y="7"/>
                    <a:pt x="7" y="5"/>
                    <a:pt x="6" y="5"/>
                  </a:cubicBezTo>
                  <a:cubicBezTo>
                    <a:pt x="4" y="4"/>
                    <a:pt x="3" y="6"/>
                    <a:pt x="1" y="6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2" y="0"/>
                    <a:pt x="4" y="0"/>
                    <a:pt x="6" y="0"/>
                  </a:cubicBezTo>
                  <a:cubicBezTo>
                    <a:pt x="7" y="1"/>
                    <a:pt x="9" y="1"/>
                    <a:pt x="1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8" name="Freeform 989"/>
            <p:cNvSpPr>
              <a:spLocks noChangeAspect="1"/>
            </p:cNvSpPr>
            <p:nvPr/>
          </p:nvSpPr>
          <p:spPr bwMode="auto">
            <a:xfrm>
              <a:off x="2909888" y="5711825"/>
              <a:ext cx="76200" cy="77788"/>
            </a:xfrm>
            <a:custGeom>
              <a:avLst/>
              <a:gdLst>
                <a:gd name="T0" fmla="*/ 76200 w 40"/>
                <a:gd name="T1" fmla="*/ 22767 h 41"/>
                <a:gd name="T2" fmla="*/ 68580 w 40"/>
                <a:gd name="T3" fmla="*/ 28459 h 41"/>
                <a:gd name="T4" fmla="*/ 47625 w 40"/>
                <a:gd name="T5" fmla="*/ 34151 h 41"/>
                <a:gd name="T6" fmla="*/ 43815 w 40"/>
                <a:gd name="T7" fmla="*/ 51226 h 41"/>
                <a:gd name="T8" fmla="*/ 47625 w 40"/>
                <a:gd name="T9" fmla="*/ 72096 h 41"/>
                <a:gd name="T10" fmla="*/ 36195 w 40"/>
                <a:gd name="T11" fmla="*/ 77788 h 41"/>
                <a:gd name="T12" fmla="*/ 20955 w 40"/>
                <a:gd name="T13" fmla="*/ 64507 h 41"/>
                <a:gd name="T14" fmla="*/ 15240 w 40"/>
                <a:gd name="T15" fmla="*/ 56918 h 41"/>
                <a:gd name="T16" fmla="*/ 20955 w 40"/>
                <a:gd name="T17" fmla="*/ 53124 h 41"/>
                <a:gd name="T18" fmla="*/ 20955 w 40"/>
                <a:gd name="T19" fmla="*/ 60713 h 41"/>
                <a:gd name="T20" fmla="*/ 26670 w 40"/>
                <a:gd name="T21" fmla="*/ 58815 h 41"/>
                <a:gd name="T22" fmla="*/ 32385 w 40"/>
                <a:gd name="T23" fmla="*/ 49329 h 41"/>
                <a:gd name="T24" fmla="*/ 38100 w 40"/>
                <a:gd name="T25" fmla="*/ 37945 h 41"/>
                <a:gd name="T26" fmla="*/ 30480 w 40"/>
                <a:gd name="T27" fmla="*/ 34151 h 41"/>
                <a:gd name="T28" fmla="*/ 28575 w 40"/>
                <a:gd name="T29" fmla="*/ 30356 h 41"/>
                <a:gd name="T30" fmla="*/ 9525 w 40"/>
                <a:gd name="T31" fmla="*/ 30356 h 41"/>
                <a:gd name="T32" fmla="*/ 7620 w 40"/>
                <a:gd name="T33" fmla="*/ 34151 h 41"/>
                <a:gd name="T34" fmla="*/ 1905 w 40"/>
                <a:gd name="T35" fmla="*/ 28459 h 41"/>
                <a:gd name="T36" fmla="*/ 1905 w 40"/>
                <a:gd name="T37" fmla="*/ 24664 h 41"/>
                <a:gd name="T38" fmla="*/ 7620 w 40"/>
                <a:gd name="T39" fmla="*/ 20870 h 41"/>
                <a:gd name="T40" fmla="*/ 5715 w 40"/>
                <a:gd name="T41" fmla="*/ 13281 h 41"/>
                <a:gd name="T42" fmla="*/ 1905 w 40"/>
                <a:gd name="T43" fmla="*/ 7589 h 41"/>
                <a:gd name="T44" fmla="*/ 7620 w 40"/>
                <a:gd name="T45" fmla="*/ 0 h 41"/>
                <a:gd name="T46" fmla="*/ 17145 w 40"/>
                <a:gd name="T47" fmla="*/ 17075 h 41"/>
                <a:gd name="T48" fmla="*/ 59055 w 40"/>
                <a:gd name="T49" fmla="*/ 17075 h 41"/>
                <a:gd name="T50" fmla="*/ 76200 w 40"/>
                <a:gd name="T51" fmla="*/ 22767 h 4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0"/>
                <a:gd name="T79" fmla="*/ 0 h 41"/>
                <a:gd name="T80" fmla="*/ 40 w 40"/>
                <a:gd name="T81" fmla="*/ 41 h 4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0" h="41">
                  <a:moveTo>
                    <a:pt x="40" y="12"/>
                  </a:moveTo>
                  <a:cubicBezTo>
                    <a:pt x="39" y="13"/>
                    <a:pt x="38" y="15"/>
                    <a:pt x="36" y="15"/>
                  </a:cubicBezTo>
                  <a:cubicBezTo>
                    <a:pt x="33" y="17"/>
                    <a:pt x="28" y="16"/>
                    <a:pt x="25" y="18"/>
                  </a:cubicBezTo>
                  <a:cubicBezTo>
                    <a:pt x="23" y="20"/>
                    <a:pt x="23" y="24"/>
                    <a:pt x="23" y="27"/>
                  </a:cubicBezTo>
                  <a:cubicBezTo>
                    <a:pt x="22" y="31"/>
                    <a:pt x="26" y="35"/>
                    <a:pt x="25" y="38"/>
                  </a:cubicBezTo>
                  <a:cubicBezTo>
                    <a:pt x="24" y="40"/>
                    <a:pt x="21" y="41"/>
                    <a:pt x="19" y="41"/>
                  </a:cubicBezTo>
                  <a:cubicBezTo>
                    <a:pt x="16" y="39"/>
                    <a:pt x="13" y="36"/>
                    <a:pt x="11" y="34"/>
                  </a:cubicBezTo>
                  <a:cubicBezTo>
                    <a:pt x="10" y="33"/>
                    <a:pt x="8" y="32"/>
                    <a:pt x="8" y="30"/>
                  </a:cubicBezTo>
                  <a:cubicBezTo>
                    <a:pt x="8" y="29"/>
                    <a:pt x="10" y="28"/>
                    <a:pt x="11" y="28"/>
                  </a:cubicBezTo>
                  <a:cubicBezTo>
                    <a:pt x="12" y="29"/>
                    <a:pt x="11" y="31"/>
                    <a:pt x="11" y="32"/>
                  </a:cubicBezTo>
                  <a:cubicBezTo>
                    <a:pt x="12" y="33"/>
                    <a:pt x="14" y="32"/>
                    <a:pt x="14" y="31"/>
                  </a:cubicBezTo>
                  <a:cubicBezTo>
                    <a:pt x="16" y="30"/>
                    <a:pt x="17" y="28"/>
                    <a:pt x="17" y="26"/>
                  </a:cubicBezTo>
                  <a:cubicBezTo>
                    <a:pt x="18" y="24"/>
                    <a:pt x="20" y="22"/>
                    <a:pt x="20" y="20"/>
                  </a:cubicBezTo>
                  <a:cubicBezTo>
                    <a:pt x="20" y="19"/>
                    <a:pt x="17" y="19"/>
                    <a:pt x="16" y="18"/>
                  </a:cubicBezTo>
                  <a:cubicBezTo>
                    <a:pt x="15" y="18"/>
                    <a:pt x="15" y="16"/>
                    <a:pt x="15" y="16"/>
                  </a:cubicBezTo>
                  <a:cubicBezTo>
                    <a:pt x="12" y="15"/>
                    <a:pt x="8" y="15"/>
                    <a:pt x="5" y="16"/>
                  </a:cubicBezTo>
                  <a:cubicBezTo>
                    <a:pt x="4" y="16"/>
                    <a:pt x="5" y="18"/>
                    <a:pt x="4" y="18"/>
                  </a:cubicBezTo>
                  <a:cubicBezTo>
                    <a:pt x="3" y="18"/>
                    <a:pt x="2" y="16"/>
                    <a:pt x="1" y="15"/>
                  </a:cubicBezTo>
                  <a:cubicBezTo>
                    <a:pt x="0" y="15"/>
                    <a:pt x="0" y="14"/>
                    <a:pt x="1" y="13"/>
                  </a:cubicBezTo>
                  <a:cubicBezTo>
                    <a:pt x="2" y="12"/>
                    <a:pt x="4" y="13"/>
                    <a:pt x="4" y="11"/>
                  </a:cubicBezTo>
                  <a:cubicBezTo>
                    <a:pt x="5" y="10"/>
                    <a:pt x="3" y="8"/>
                    <a:pt x="3" y="7"/>
                  </a:cubicBezTo>
                  <a:cubicBezTo>
                    <a:pt x="2" y="6"/>
                    <a:pt x="1" y="5"/>
                    <a:pt x="1" y="4"/>
                  </a:cubicBezTo>
                  <a:cubicBezTo>
                    <a:pt x="1" y="3"/>
                    <a:pt x="3" y="2"/>
                    <a:pt x="4" y="0"/>
                  </a:cubicBezTo>
                  <a:cubicBezTo>
                    <a:pt x="5" y="3"/>
                    <a:pt x="6" y="8"/>
                    <a:pt x="9" y="9"/>
                  </a:cubicBezTo>
                  <a:cubicBezTo>
                    <a:pt x="16" y="11"/>
                    <a:pt x="23" y="8"/>
                    <a:pt x="31" y="9"/>
                  </a:cubicBezTo>
                  <a:cubicBezTo>
                    <a:pt x="34" y="9"/>
                    <a:pt x="37" y="11"/>
                    <a:pt x="40" y="1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89" name="Freeform 990"/>
            <p:cNvSpPr>
              <a:spLocks noChangeAspect="1"/>
            </p:cNvSpPr>
            <p:nvPr/>
          </p:nvSpPr>
          <p:spPr bwMode="auto">
            <a:xfrm>
              <a:off x="2979738" y="5827713"/>
              <a:ext cx="53975" cy="31750"/>
            </a:xfrm>
            <a:custGeom>
              <a:avLst/>
              <a:gdLst>
                <a:gd name="T0" fmla="*/ 1928 w 28"/>
                <a:gd name="T1" fmla="*/ 11206 h 17"/>
                <a:gd name="T2" fmla="*/ 25060 w 28"/>
                <a:gd name="T3" fmla="*/ 3735 h 17"/>
                <a:gd name="T4" fmla="*/ 38554 w 28"/>
                <a:gd name="T5" fmla="*/ 1868 h 17"/>
                <a:gd name="T6" fmla="*/ 36626 w 28"/>
                <a:gd name="T7" fmla="*/ 7471 h 17"/>
                <a:gd name="T8" fmla="*/ 26988 w 28"/>
                <a:gd name="T9" fmla="*/ 7471 h 17"/>
                <a:gd name="T10" fmla="*/ 40481 w 28"/>
                <a:gd name="T11" fmla="*/ 9338 h 17"/>
                <a:gd name="T12" fmla="*/ 36626 w 28"/>
                <a:gd name="T13" fmla="*/ 13074 h 17"/>
                <a:gd name="T14" fmla="*/ 48192 w 28"/>
                <a:gd name="T15" fmla="*/ 18676 h 17"/>
                <a:gd name="T16" fmla="*/ 50120 w 28"/>
                <a:gd name="T17" fmla="*/ 29882 h 17"/>
                <a:gd name="T18" fmla="*/ 42409 w 28"/>
                <a:gd name="T19" fmla="*/ 22412 h 17"/>
                <a:gd name="T20" fmla="*/ 32771 w 28"/>
                <a:gd name="T21" fmla="*/ 22412 h 17"/>
                <a:gd name="T22" fmla="*/ 30843 w 28"/>
                <a:gd name="T23" fmla="*/ 11206 h 17"/>
                <a:gd name="T24" fmla="*/ 25060 w 28"/>
                <a:gd name="T25" fmla="*/ 13074 h 17"/>
                <a:gd name="T26" fmla="*/ 17349 w 28"/>
                <a:gd name="T27" fmla="*/ 13074 h 17"/>
                <a:gd name="T28" fmla="*/ 25060 w 28"/>
                <a:gd name="T29" fmla="*/ 24279 h 17"/>
                <a:gd name="T30" fmla="*/ 15421 w 28"/>
                <a:gd name="T31" fmla="*/ 24279 h 17"/>
                <a:gd name="T32" fmla="*/ 11566 w 28"/>
                <a:gd name="T33" fmla="*/ 13074 h 17"/>
                <a:gd name="T34" fmla="*/ 1928 w 28"/>
                <a:gd name="T35" fmla="*/ 11206 h 1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8"/>
                <a:gd name="T55" fmla="*/ 0 h 17"/>
                <a:gd name="T56" fmla="*/ 28 w 28"/>
                <a:gd name="T57" fmla="*/ 17 h 1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8" h="17">
                  <a:moveTo>
                    <a:pt x="1" y="6"/>
                  </a:moveTo>
                  <a:cubicBezTo>
                    <a:pt x="4" y="3"/>
                    <a:pt x="9" y="3"/>
                    <a:pt x="13" y="2"/>
                  </a:cubicBezTo>
                  <a:cubicBezTo>
                    <a:pt x="15" y="1"/>
                    <a:pt x="18" y="0"/>
                    <a:pt x="20" y="1"/>
                  </a:cubicBezTo>
                  <a:cubicBezTo>
                    <a:pt x="21" y="1"/>
                    <a:pt x="20" y="3"/>
                    <a:pt x="19" y="4"/>
                  </a:cubicBezTo>
                  <a:cubicBezTo>
                    <a:pt x="17" y="4"/>
                    <a:pt x="12" y="2"/>
                    <a:pt x="14" y="4"/>
                  </a:cubicBezTo>
                  <a:cubicBezTo>
                    <a:pt x="16" y="5"/>
                    <a:pt x="19" y="4"/>
                    <a:pt x="21" y="5"/>
                  </a:cubicBezTo>
                  <a:cubicBezTo>
                    <a:pt x="22" y="6"/>
                    <a:pt x="18" y="6"/>
                    <a:pt x="19" y="7"/>
                  </a:cubicBezTo>
                  <a:cubicBezTo>
                    <a:pt x="20" y="9"/>
                    <a:pt x="23" y="8"/>
                    <a:pt x="25" y="10"/>
                  </a:cubicBezTo>
                  <a:cubicBezTo>
                    <a:pt x="26" y="11"/>
                    <a:pt x="28" y="15"/>
                    <a:pt x="26" y="16"/>
                  </a:cubicBezTo>
                  <a:cubicBezTo>
                    <a:pt x="25" y="17"/>
                    <a:pt x="24" y="13"/>
                    <a:pt x="22" y="12"/>
                  </a:cubicBezTo>
                  <a:cubicBezTo>
                    <a:pt x="21" y="11"/>
                    <a:pt x="18" y="13"/>
                    <a:pt x="17" y="12"/>
                  </a:cubicBezTo>
                  <a:cubicBezTo>
                    <a:pt x="16" y="10"/>
                    <a:pt x="17" y="8"/>
                    <a:pt x="16" y="6"/>
                  </a:cubicBezTo>
                  <a:cubicBezTo>
                    <a:pt x="15" y="5"/>
                    <a:pt x="14" y="7"/>
                    <a:pt x="13" y="7"/>
                  </a:cubicBezTo>
                  <a:cubicBezTo>
                    <a:pt x="12" y="7"/>
                    <a:pt x="9" y="6"/>
                    <a:pt x="9" y="7"/>
                  </a:cubicBezTo>
                  <a:cubicBezTo>
                    <a:pt x="9" y="9"/>
                    <a:pt x="13" y="11"/>
                    <a:pt x="13" y="13"/>
                  </a:cubicBezTo>
                  <a:cubicBezTo>
                    <a:pt x="12" y="14"/>
                    <a:pt x="9" y="14"/>
                    <a:pt x="8" y="13"/>
                  </a:cubicBezTo>
                  <a:cubicBezTo>
                    <a:pt x="7" y="11"/>
                    <a:pt x="8" y="9"/>
                    <a:pt x="6" y="7"/>
                  </a:cubicBezTo>
                  <a:cubicBezTo>
                    <a:pt x="5" y="6"/>
                    <a:pt x="0" y="7"/>
                    <a:pt x="1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0" name="Freeform 991"/>
            <p:cNvSpPr>
              <a:spLocks noChangeAspect="1"/>
            </p:cNvSpPr>
            <p:nvPr/>
          </p:nvSpPr>
          <p:spPr bwMode="auto">
            <a:xfrm>
              <a:off x="2890838" y="5772150"/>
              <a:ext cx="38100" cy="28575"/>
            </a:xfrm>
            <a:custGeom>
              <a:avLst/>
              <a:gdLst>
                <a:gd name="T0" fmla="*/ 15240 w 20"/>
                <a:gd name="T1" fmla="*/ 0 h 15"/>
                <a:gd name="T2" fmla="*/ 28575 w 20"/>
                <a:gd name="T3" fmla="*/ 7620 h 15"/>
                <a:gd name="T4" fmla="*/ 36195 w 20"/>
                <a:gd name="T5" fmla="*/ 15240 h 15"/>
                <a:gd name="T6" fmla="*/ 32385 w 20"/>
                <a:gd name="T7" fmla="*/ 24765 h 15"/>
                <a:gd name="T8" fmla="*/ 24765 w 20"/>
                <a:gd name="T9" fmla="*/ 19050 h 15"/>
                <a:gd name="T10" fmla="*/ 22860 w 20"/>
                <a:gd name="T11" fmla="*/ 28575 h 15"/>
                <a:gd name="T12" fmla="*/ 19050 w 20"/>
                <a:gd name="T13" fmla="*/ 20955 h 15"/>
                <a:gd name="T14" fmla="*/ 13335 w 20"/>
                <a:gd name="T15" fmla="*/ 22860 h 15"/>
                <a:gd name="T16" fmla="*/ 11430 w 20"/>
                <a:gd name="T17" fmla="*/ 11430 h 15"/>
                <a:gd name="T18" fmla="*/ 0 w 20"/>
                <a:gd name="T19" fmla="*/ 1905 h 15"/>
                <a:gd name="T20" fmla="*/ 3810 w 20"/>
                <a:gd name="T21" fmla="*/ 0 h 15"/>
                <a:gd name="T22" fmla="*/ 13335 w 20"/>
                <a:gd name="T23" fmla="*/ 3810 h 15"/>
                <a:gd name="T24" fmla="*/ 15240 w 20"/>
                <a:gd name="T25" fmla="*/ 0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15"/>
                <a:gd name="T41" fmla="*/ 20 w 20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15">
                  <a:moveTo>
                    <a:pt x="8" y="0"/>
                  </a:moveTo>
                  <a:cubicBezTo>
                    <a:pt x="11" y="1"/>
                    <a:pt x="13" y="2"/>
                    <a:pt x="15" y="4"/>
                  </a:cubicBezTo>
                  <a:cubicBezTo>
                    <a:pt x="17" y="5"/>
                    <a:pt x="19" y="6"/>
                    <a:pt x="19" y="8"/>
                  </a:cubicBezTo>
                  <a:cubicBezTo>
                    <a:pt x="20" y="10"/>
                    <a:pt x="19" y="12"/>
                    <a:pt x="17" y="13"/>
                  </a:cubicBezTo>
                  <a:cubicBezTo>
                    <a:pt x="16" y="13"/>
                    <a:pt x="15" y="10"/>
                    <a:pt x="13" y="10"/>
                  </a:cubicBezTo>
                  <a:cubicBezTo>
                    <a:pt x="12" y="11"/>
                    <a:pt x="13" y="14"/>
                    <a:pt x="12" y="15"/>
                  </a:cubicBezTo>
                  <a:cubicBezTo>
                    <a:pt x="10" y="15"/>
                    <a:pt x="11" y="12"/>
                    <a:pt x="10" y="11"/>
                  </a:cubicBezTo>
                  <a:cubicBezTo>
                    <a:pt x="9" y="11"/>
                    <a:pt x="7" y="13"/>
                    <a:pt x="7" y="12"/>
                  </a:cubicBezTo>
                  <a:cubicBezTo>
                    <a:pt x="5" y="10"/>
                    <a:pt x="7" y="8"/>
                    <a:pt x="6" y="6"/>
                  </a:cubicBezTo>
                  <a:cubicBezTo>
                    <a:pt x="5" y="4"/>
                    <a:pt x="2" y="3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4" y="0"/>
                    <a:pt x="5" y="1"/>
                    <a:pt x="7" y="2"/>
                  </a:cubicBezTo>
                  <a:cubicBezTo>
                    <a:pt x="8" y="2"/>
                    <a:pt x="8" y="0"/>
                    <a:pt x="8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1" name="Freeform 992"/>
            <p:cNvSpPr>
              <a:spLocks noChangeAspect="1"/>
            </p:cNvSpPr>
            <p:nvPr/>
          </p:nvSpPr>
          <p:spPr bwMode="auto">
            <a:xfrm>
              <a:off x="2959100" y="5773738"/>
              <a:ext cx="14288" cy="28575"/>
            </a:xfrm>
            <a:custGeom>
              <a:avLst/>
              <a:gdLst>
                <a:gd name="T0" fmla="*/ 4082 w 7"/>
                <a:gd name="T1" fmla="*/ 1905 h 15"/>
                <a:gd name="T2" fmla="*/ 8165 w 7"/>
                <a:gd name="T3" fmla="*/ 20955 h 15"/>
                <a:gd name="T4" fmla="*/ 10206 w 7"/>
                <a:gd name="T5" fmla="*/ 28575 h 15"/>
                <a:gd name="T6" fmla="*/ 0 w 7"/>
                <a:gd name="T7" fmla="*/ 19050 h 15"/>
                <a:gd name="T8" fmla="*/ 2041 w 7"/>
                <a:gd name="T9" fmla="*/ 13335 h 15"/>
                <a:gd name="T10" fmla="*/ 4082 w 7"/>
                <a:gd name="T11" fmla="*/ 1905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5"/>
                <a:gd name="T20" fmla="*/ 7 w 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5">
                  <a:moveTo>
                    <a:pt x="2" y="1"/>
                  </a:moveTo>
                  <a:cubicBezTo>
                    <a:pt x="4" y="4"/>
                    <a:pt x="3" y="8"/>
                    <a:pt x="4" y="11"/>
                  </a:cubicBezTo>
                  <a:cubicBezTo>
                    <a:pt x="4" y="12"/>
                    <a:pt x="7" y="15"/>
                    <a:pt x="5" y="15"/>
                  </a:cubicBezTo>
                  <a:cubicBezTo>
                    <a:pt x="3" y="14"/>
                    <a:pt x="2" y="12"/>
                    <a:pt x="0" y="10"/>
                  </a:cubicBezTo>
                  <a:cubicBezTo>
                    <a:pt x="0" y="9"/>
                    <a:pt x="1" y="8"/>
                    <a:pt x="1" y="7"/>
                  </a:cubicBezTo>
                  <a:cubicBezTo>
                    <a:pt x="1" y="5"/>
                    <a:pt x="0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2" name="Freeform 993"/>
            <p:cNvSpPr>
              <a:spLocks noChangeAspect="1"/>
            </p:cNvSpPr>
            <p:nvPr/>
          </p:nvSpPr>
          <p:spPr bwMode="auto">
            <a:xfrm>
              <a:off x="2928938" y="5788025"/>
              <a:ext cx="15875" cy="17463"/>
            </a:xfrm>
            <a:custGeom>
              <a:avLst/>
              <a:gdLst>
                <a:gd name="T0" fmla="*/ 1984 w 8"/>
                <a:gd name="T1" fmla="*/ 5821 h 9"/>
                <a:gd name="T2" fmla="*/ 11906 w 8"/>
                <a:gd name="T3" fmla="*/ 1940 h 9"/>
                <a:gd name="T4" fmla="*/ 13891 w 8"/>
                <a:gd name="T5" fmla="*/ 15523 h 9"/>
                <a:gd name="T6" fmla="*/ 3969 w 8"/>
                <a:gd name="T7" fmla="*/ 13582 h 9"/>
                <a:gd name="T8" fmla="*/ 1984 w 8"/>
                <a:gd name="T9" fmla="*/ 582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1" y="3"/>
                  </a:moveTo>
                  <a:cubicBezTo>
                    <a:pt x="2" y="1"/>
                    <a:pt x="5" y="0"/>
                    <a:pt x="6" y="1"/>
                  </a:cubicBezTo>
                  <a:cubicBezTo>
                    <a:pt x="8" y="3"/>
                    <a:pt x="8" y="6"/>
                    <a:pt x="7" y="8"/>
                  </a:cubicBezTo>
                  <a:cubicBezTo>
                    <a:pt x="6" y="9"/>
                    <a:pt x="3" y="8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3" name="Freeform 994"/>
            <p:cNvSpPr>
              <a:spLocks noChangeAspect="1"/>
            </p:cNvSpPr>
            <p:nvPr/>
          </p:nvSpPr>
          <p:spPr bwMode="auto">
            <a:xfrm>
              <a:off x="2946400" y="5792788"/>
              <a:ext cx="12700" cy="14287"/>
            </a:xfrm>
            <a:custGeom>
              <a:avLst/>
              <a:gdLst>
                <a:gd name="T0" fmla="*/ 3629 w 7"/>
                <a:gd name="T1" fmla="*/ 2041 h 7"/>
                <a:gd name="T2" fmla="*/ 10886 w 7"/>
                <a:gd name="T3" fmla="*/ 8164 h 7"/>
                <a:gd name="T4" fmla="*/ 10886 w 7"/>
                <a:gd name="T5" fmla="*/ 14287 h 7"/>
                <a:gd name="T6" fmla="*/ 3629 w 7"/>
                <a:gd name="T7" fmla="*/ 8164 h 7"/>
                <a:gd name="T8" fmla="*/ 3629 w 7"/>
                <a:gd name="T9" fmla="*/ 204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2" y="1"/>
                  </a:moveTo>
                  <a:cubicBezTo>
                    <a:pt x="3" y="0"/>
                    <a:pt x="5" y="2"/>
                    <a:pt x="6" y="4"/>
                  </a:cubicBezTo>
                  <a:cubicBezTo>
                    <a:pt x="6" y="5"/>
                    <a:pt x="7" y="7"/>
                    <a:pt x="6" y="7"/>
                  </a:cubicBezTo>
                  <a:cubicBezTo>
                    <a:pt x="4" y="7"/>
                    <a:pt x="3" y="6"/>
                    <a:pt x="2" y="4"/>
                  </a:cubicBezTo>
                  <a:cubicBezTo>
                    <a:pt x="1" y="3"/>
                    <a:pt x="0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4" name="Freeform 995"/>
            <p:cNvSpPr>
              <a:spLocks noChangeAspect="1"/>
            </p:cNvSpPr>
            <p:nvPr/>
          </p:nvSpPr>
          <p:spPr bwMode="auto">
            <a:xfrm>
              <a:off x="2938463" y="5807075"/>
              <a:ext cx="19050" cy="9525"/>
            </a:xfrm>
            <a:custGeom>
              <a:avLst/>
              <a:gdLst>
                <a:gd name="T0" fmla="*/ 17145 w 10"/>
                <a:gd name="T1" fmla="*/ 3810 h 5"/>
                <a:gd name="T2" fmla="*/ 17145 w 10"/>
                <a:gd name="T3" fmla="*/ 9525 h 5"/>
                <a:gd name="T4" fmla="*/ 1905 w 10"/>
                <a:gd name="T5" fmla="*/ 7620 h 5"/>
                <a:gd name="T6" fmla="*/ 1905 w 10"/>
                <a:gd name="T7" fmla="*/ 1905 h 5"/>
                <a:gd name="T8" fmla="*/ 17145 w 10"/>
                <a:gd name="T9" fmla="*/ 381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5"/>
                <a:gd name="T17" fmla="*/ 10 w 10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5">
                  <a:moveTo>
                    <a:pt x="9" y="2"/>
                  </a:moveTo>
                  <a:cubicBezTo>
                    <a:pt x="9" y="3"/>
                    <a:pt x="10" y="4"/>
                    <a:pt x="9" y="5"/>
                  </a:cubicBezTo>
                  <a:cubicBezTo>
                    <a:pt x="6" y="5"/>
                    <a:pt x="3" y="5"/>
                    <a:pt x="1" y="4"/>
                  </a:cubicBezTo>
                  <a:cubicBezTo>
                    <a:pt x="0" y="4"/>
                    <a:pt x="0" y="1"/>
                    <a:pt x="1" y="1"/>
                  </a:cubicBezTo>
                  <a:cubicBezTo>
                    <a:pt x="3" y="0"/>
                    <a:pt x="6" y="1"/>
                    <a:pt x="9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5" name="Freeform 996"/>
            <p:cNvSpPr>
              <a:spLocks noChangeAspect="1"/>
            </p:cNvSpPr>
            <p:nvPr/>
          </p:nvSpPr>
          <p:spPr bwMode="auto">
            <a:xfrm>
              <a:off x="2959100" y="5827713"/>
              <a:ext cx="17463" cy="12700"/>
            </a:xfrm>
            <a:custGeom>
              <a:avLst/>
              <a:gdLst>
                <a:gd name="T0" fmla="*/ 9702 w 9"/>
                <a:gd name="T1" fmla="*/ 0 h 7"/>
                <a:gd name="T2" fmla="*/ 1940 w 9"/>
                <a:gd name="T3" fmla="*/ 5443 h 7"/>
                <a:gd name="T4" fmla="*/ 13582 w 9"/>
                <a:gd name="T5" fmla="*/ 12700 h 7"/>
                <a:gd name="T6" fmla="*/ 11642 w 9"/>
                <a:gd name="T7" fmla="*/ 7257 h 7"/>
                <a:gd name="T8" fmla="*/ 13582 w 9"/>
                <a:gd name="T9" fmla="*/ 1814 h 7"/>
                <a:gd name="T10" fmla="*/ 9702 w 9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5" y="0"/>
                  </a:moveTo>
                  <a:cubicBezTo>
                    <a:pt x="4" y="0"/>
                    <a:pt x="0" y="1"/>
                    <a:pt x="1" y="3"/>
                  </a:cubicBezTo>
                  <a:cubicBezTo>
                    <a:pt x="1" y="5"/>
                    <a:pt x="5" y="6"/>
                    <a:pt x="7" y="7"/>
                  </a:cubicBezTo>
                  <a:cubicBezTo>
                    <a:pt x="9" y="7"/>
                    <a:pt x="6" y="5"/>
                    <a:pt x="6" y="4"/>
                  </a:cubicBezTo>
                  <a:cubicBezTo>
                    <a:pt x="6" y="3"/>
                    <a:pt x="7" y="2"/>
                    <a:pt x="7" y="1"/>
                  </a:cubicBezTo>
                  <a:cubicBezTo>
                    <a:pt x="7" y="0"/>
                    <a:pt x="6" y="0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6" name="Freeform 997"/>
            <p:cNvSpPr>
              <a:spLocks noChangeAspect="1"/>
            </p:cNvSpPr>
            <p:nvPr/>
          </p:nvSpPr>
          <p:spPr bwMode="auto">
            <a:xfrm>
              <a:off x="2979738" y="5826125"/>
              <a:ext cx="15875" cy="7938"/>
            </a:xfrm>
            <a:custGeom>
              <a:avLst/>
              <a:gdLst>
                <a:gd name="T0" fmla="*/ 1984 w 8"/>
                <a:gd name="T1" fmla="*/ 1985 h 4"/>
                <a:gd name="T2" fmla="*/ 1984 w 8"/>
                <a:gd name="T3" fmla="*/ 7938 h 4"/>
                <a:gd name="T4" fmla="*/ 13891 w 8"/>
                <a:gd name="T5" fmla="*/ 3969 h 4"/>
                <a:gd name="T6" fmla="*/ 11906 w 8"/>
                <a:gd name="T7" fmla="*/ 1985 h 4"/>
                <a:gd name="T8" fmla="*/ 1984 w 8"/>
                <a:gd name="T9" fmla="*/ 1985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1" y="1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3" y="4"/>
                    <a:pt x="6" y="3"/>
                    <a:pt x="7" y="2"/>
                  </a:cubicBezTo>
                  <a:cubicBezTo>
                    <a:pt x="8" y="2"/>
                    <a:pt x="6" y="1"/>
                    <a:pt x="6" y="1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7" name="Freeform 998"/>
            <p:cNvSpPr>
              <a:spLocks noChangeAspect="1"/>
            </p:cNvSpPr>
            <p:nvPr/>
          </p:nvSpPr>
          <p:spPr bwMode="auto">
            <a:xfrm>
              <a:off x="2908300" y="5743575"/>
              <a:ext cx="31750" cy="30163"/>
            </a:xfrm>
            <a:custGeom>
              <a:avLst/>
              <a:gdLst>
                <a:gd name="T0" fmla="*/ 28015 w 17"/>
                <a:gd name="T1" fmla="*/ 0 h 16"/>
                <a:gd name="T2" fmla="*/ 29882 w 17"/>
                <a:gd name="T3" fmla="*/ 7541 h 16"/>
                <a:gd name="T4" fmla="*/ 18676 w 17"/>
                <a:gd name="T5" fmla="*/ 16967 h 16"/>
                <a:gd name="T6" fmla="*/ 11206 w 17"/>
                <a:gd name="T7" fmla="*/ 15082 h 16"/>
                <a:gd name="T8" fmla="*/ 11206 w 17"/>
                <a:gd name="T9" fmla="*/ 24507 h 16"/>
                <a:gd name="T10" fmla="*/ 13074 w 17"/>
                <a:gd name="T11" fmla="*/ 28278 h 16"/>
                <a:gd name="T12" fmla="*/ 7471 w 17"/>
                <a:gd name="T13" fmla="*/ 24507 h 16"/>
                <a:gd name="T14" fmla="*/ 1868 w 17"/>
                <a:gd name="T15" fmla="*/ 18852 h 16"/>
                <a:gd name="T16" fmla="*/ 3735 w 17"/>
                <a:gd name="T17" fmla="*/ 7541 h 16"/>
                <a:gd name="T18" fmla="*/ 14941 w 17"/>
                <a:gd name="T19" fmla="*/ 3770 h 16"/>
                <a:gd name="T20" fmla="*/ 24279 w 17"/>
                <a:gd name="T21" fmla="*/ 3770 h 16"/>
                <a:gd name="T22" fmla="*/ 28015 w 17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"/>
                <a:gd name="T37" fmla="*/ 0 h 16"/>
                <a:gd name="T38" fmla="*/ 17 w 17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" h="16">
                  <a:moveTo>
                    <a:pt x="15" y="0"/>
                  </a:moveTo>
                  <a:cubicBezTo>
                    <a:pt x="16" y="1"/>
                    <a:pt x="17" y="3"/>
                    <a:pt x="16" y="4"/>
                  </a:cubicBezTo>
                  <a:cubicBezTo>
                    <a:pt x="15" y="6"/>
                    <a:pt x="12" y="8"/>
                    <a:pt x="10" y="9"/>
                  </a:cubicBezTo>
                  <a:cubicBezTo>
                    <a:pt x="9" y="9"/>
                    <a:pt x="7" y="7"/>
                    <a:pt x="6" y="8"/>
                  </a:cubicBezTo>
                  <a:cubicBezTo>
                    <a:pt x="5" y="9"/>
                    <a:pt x="6" y="11"/>
                    <a:pt x="6" y="13"/>
                  </a:cubicBezTo>
                  <a:cubicBezTo>
                    <a:pt x="6" y="14"/>
                    <a:pt x="8" y="15"/>
                    <a:pt x="7" y="15"/>
                  </a:cubicBezTo>
                  <a:cubicBezTo>
                    <a:pt x="6" y="16"/>
                    <a:pt x="5" y="14"/>
                    <a:pt x="4" y="13"/>
                  </a:cubicBezTo>
                  <a:cubicBezTo>
                    <a:pt x="3" y="13"/>
                    <a:pt x="1" y="12"/>
                    <a:pt x="1" y="10"/>
                  </a:cubicBezTo>
                  <a:cubicBezTo>
                    <a:pt x="0" y="8"/>
                    <a:pt x="0" y="6"/>
                    <a:pt x="2" y="4"/>
                  </a:cubicBezTo>
                  <a:cubicBezTo>
                    <a:pt x="3" y="2"/>
                    <a:pt x="6" y="2"/>
                    <a:pt x="8" y="2"/>
                  </a:cubicBezTo>
                  <a:cubicBezTo>
                    <a:pt x="10" y="1"/>
                    <a:pt x="11" y="2"/>
                    <a:pt x="13" y="2"/>
                  </a:cubicBezTo>
                  <a:cubicBezTo>
                    <a:pt x="14" y="1"/>
                    <a:pt x="14" y="0"/>
                    <a:pt x="1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8" name="Freeform 999"/>
            <p:cNvSpPr>
              <a:spLocks noChangeAspect="1"/>
            </p:cNvSpPr>
            <p:nvPr/>
          </p:nvSpPr>
          <p:spPr bwMode="auto">
            <a:xfrm>
              <a:off x="2863850" y="5743575"/>
              <a:ext cx="42863" cy="23813"/>
            </a:xfrm>
            <a:custGeom>
              <a:avLst/>
              <a:gdLst>
                <a:gd name="T0" fmla="*/ 1948 w 22"/>
                <a:gd name="T1" fmla="*/ 1984 h 12"/>
                <a:gd name="T2" fmla="*/ 5845 w 22"/>
                <a:gd name="T3" fmla="*/ 9922 h 12"/>
                <a:gd name="T4" fmla="*/ 17535 w 22"/>
                <a:gd name="T5" fmla="*/ 19844 h 12"/>
                <a:gd name="T6" fmla="*/ 40915 w 22"/>
                <a:gd name="T7" fmla="*/ 23813 h 12"/>
                <a:gd name="T8" fmla="*/ 40915 w 22"/>
                <a:gd name="T9" fmla="*/ 19844 h 12"/>
                <a:gd name="T10" fmla="*/ 25328 w 22"/>
                <a:gd name="T11" fmla="*/ 11907 h 12"/>
                <a:gd name="T12" fmla="*/ 11690 w 22"/>
                <a:gd name="T13" fmla="*/ 9922 h 12"/>
                <a:gd name="T14" fmla="*/ 5845 w 22"/>
                <a:gd name="T15" fmla="*/ 3969 h 12"/>
                <a:gd name="T16" fmla="*/ 1948 w 22"/>
                <a:gd name="T17" fmla="*/ 1984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12"/>
                <a:gd name="T29" fmla="*/ 22 w 22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12">
                  <a:moveTo>
                    <a:pt x="1" y="1"/>
                  </a:moveTo>
                  <a:cubicBezTo>
                    <a:pt x="0" y="3"/>
                    <a:pt x="2" y="4"/>
                    <a:pt x="3" y="5"/>
                  </a:cubicBezTo>
                  <a:cubicBezTo>
                    <a:pt x="4" y="7"/>
                    <a:pt x="7" y="9"/>
                    <a:pt x="9" y="10"/>
                  </a:cubicBezTo>
                  <a:cubicBezTo>
                    <a:pt x="13" y="11"/>
                    <a:pt x="17" y="12"/>
                    <a:pt x="21" y="12"/>
                  </a:cubicBezTo>
                  <a:cubicBezTo>
                    <a:pt x="22" y="12"/>
                    <a:pt x="21" y="10"/>
                    <a:pt x="21" y="10"/>
                  </a:cubicBezTo>
                  <a:cubicBezTo>
                    <a:pt x="18" y="8"/>
                    <a:pt x="16" y="7"/>
                    <a:pt x="13" y="6"/>
                  </a:cubicBezTo>
                  <a:cubicBezTo>
                    <a:pt x="11" y="6"/>
                    <a:pt x="8" y="6"/>
                    <a:pt x="6" y="5"/>
                  </a:cubicBezTo>
                  <a:cubicBezTo>
                    <a:pt x="5" y="4"/>
                    <a:pt x="5" y="3"/>
                    <a:pt x="3" y="2"/>
                  </a:cubicBezTo>
                  <a:cubicBezTo>
                    <a:pt x="3" y="1"/>
                    <a:pt x="1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999" name="Freeform 1000"/>
            <p:cNvSpPr>
              <a:spLocks noChangeAspect="1"/>
            </p:cNvSpPr>
            <p:nvPr/>
          </p:nvSpPr>
          <p:spPr bwMode="auto">
            <a:xfrm>
              <a:off x="2889250" y="5721350"/>
              <a:ext cx="22225" cy="36513"/>
            </a:xfrm>
            <a:custGeom>
              <a:avLst/>
              <a:gdLst>
                <a:gd name="T0" fmla="*/ 18521 w 12"/>
                <a:gd name="T1" fmla="*/ 0 h 19"/>
                <a:gd name="T2" fmla="*/ 22225 w 12"/>
                <a:gd name="T3" fmla="*/ 7687 h 19"/>
                <a:gd name="T4" fmla="*/ 16669 w 12"/>
                <a:gd name="T5" fmla="*/ 17296 h 19"/>
                <a:gd name="T6" fmla="*/ 16669 w 12"/>
                <a:gd name="T7" fmla="*/ 28826 h 19"/>
                <a:gd name="T8" fmla="*/ 16669 w 12"/>
                <a:gd name="T9" fmla="*/ 36513 h 19"/>
                <a:gd name="T10" fmla="*/ 5556 w 12"/>
                <a:gd name="T11" fmla="*/ 28826 h 19"/>
                <a:gd name="T12" fmla="*/ 3704 w 12"/>
                <a:gd name="T13" fmla="*/ 23061 h 19"/>
                <a:gd name="T14" fmla="*/ 1852 w 12"/>
                <a:gd name="T15" fmla="*/ 9609 h 19"/>
                <a:gd name="T16" fmla="*/ 12965 w 12"/>
                <a:gd name="T17" fmla="*/ 7687 h 19"/>
                <a:gd name="T18" fmla="*/ 18521 w 12"/>
                <a:gd name="T19" fmla="*/ 7687 h 19"/>
                <a:gd name="T20" fmla="*/ 18521 w 12"/>
                <a:gd name="T21" fmla="*/ 0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9"/>
                <a:gd name="T35" fmla="*/ 12 w 12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9">
                  <a:moveTo>
                    <a:pt x="10" y="0"/>
                  </a:moveTo>
                  <a:cubicBezTo>
                    <a:pt x="11" y="0"/>
                    <a:pt x="12" y="3"/>
                    <a:pt x="12" y="4"/>
                  </a:cubicBezTo>
                  <a:cubicBezTo>
                    <a:pt x="12" y="6"/>
                    <a:pt x="9" y="7"/>
                    <a:pt x="9" y="9"/>
                  </a:cubicBezTo>
                  <a:cubicBezTo>
                    <a:pt x="8" y="11"/>
                    <a:pt x="9" y="13"/>
                    <a:pt x="9" y="15"/>
                  </a:cubicBezTo>
                  <a:cubicBezTo>
                    <a:pt x="9" y="16"/>
                    <a:pt x="10" y="19"/>
                    <a:pt x="9" y="19"/>
                  </a:cubicBezTo>
                  <a:cubicBezTo>
                    <a:pt x="6" y="19"/>
                    <a:pt x="4" y="17"/>
                    <a:pt x="3" y="15"/>
                  </a:cubicBezTo>
                  <a:cubicBezTo>
                    <a:pt x="2" y="15"/>
                    <a:pt x="2" y="13"/>
                    <a:pt x="2" y="12"/>
                  </a:cubicBezTo>
                  <a:cubicBezTo>
                    <a:pt x="2" y="10"/>
                    <a:pt x="0" y="7"/>
                    <a:pt x="1" y="5"/>
                  </a:cubicBezTo>
                  <a:cubicBezTo>
                    <a:pt x="2" y="4"/>
                    <a:pt x="5" y="5"/>
                    <a:pt x="7" y="4"/>
                  </a:cubicBezTo>
                  <a:cubicBezTo>
                    <a:pt x="8" y="4"/>
                    <a:pt x="9" y="5"/>
                    <a:pt x="10" y="4"/>
                  </a:cubicBezTo>
                  <a:cubicBezTo>
                    <a:pt x="11" y="3"/>
                    <a:pt x="9" y="1"/>
                    <a:pt x="1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0" name="Freeform 1001"/>
            <p:cNvSpPr>
              <a:spLocks noChangeAspect="1"/>
            </p:cNvSpPr>
            <p:nvPr/>
          </p:nvSpPr>
          <p:spPr bwMode="auto">
            <a:xfrm>
              <a:off x="2868613" y="5705475"/>
              <a:ext cx="9525" cy="11113"/>
            </a:xfrm>
            <a:custGeom>
              <a:avLst/>
              <a:gdLst>
                <a:gd name="T0" fmla="*/ 1905 w 5"/>
                <a:gd name="T1" fmla="*/ 3704 h 6"/>
                <a:gd name="T2" fmla="*/ 9525 w 5"/>
                <a:gd name="T3" fmla="*/ 11113 h 6"/>
                <a:gd name="T4" fmla="*/ 9525 w 5"/>
                <a:gd name="T5" fmla="*/ 7409 h 6"/>
                <a:gd name="T6" fmla="*/ 5715 w 5"/>
                <a:gd name="T7" fmla="*/ 0 h 6"/>
                <a:gd name="T8" fmla="*/ 1905 w 5"/>
                <a:gd name="T9" fmla="*/ 3704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1" y="2"/>
                  </a:moveTo>
                  <a:cubicBezTo>
                    <a:pt x="1" y="4"/>
                    <a:pt x="3" y="5"/>
                    <a:pt x="5" y="6"/>
                  </a:cubicBezTo>
                  <a:cubicBezTo>
                    <a:pt x="5" y="6"/>
                    <a:pt x="5" y="5"/>
                    <a:pt x="5" y="4"/>
                  </a:cubicBezTo>
                  <a:cubicBezTo>
                    <a:pt x="5" y="3"/>
                    <a:pt x="4" y="1"/>
                    <a:pt x="3" y="0"/>
                  </a:cubicBezTo>
                  <a:cubicBezTo>
                    <a:pt x="2" y="0"/>
                    <a:pt x="0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1" name="Freeform 1002"/>
            <p:cNvSpPr>
              <a:spLocks noChangeAspect="1"/>
            </p:cNvSpPr>
            <p:nvPr/>
          </p:nvSpPr>
          <p:spPr bwMode="auto">
            <a:xfrm>
              <a:off x="2849563" y="5676900"/>
              <a:ext cx="12700" cy="17463"/>
            </a:xfrm>
            <a:custGeom>
              <a:avLst/>
              <a:gdLst>
                <a:gd name="T0" fmla="*/ 1814 w 7"/>
                <a:gd name="T1" fmla="*/ 0 h 9"/>
                <a:gd name="T2" fmla="*/ 10886 w 7"/>
                <a:gd name="T3" fmla="*/ 3881 h 9"/>
                <a:gd name="T4" fmla="*/ 12700 w 7"/>
                <a:gd name="T5" fmla="*/ 15523 h 9"/>
                <a:gd name="T6" fmla="*/ 5443 w 7"/>
                <a:gd name="T7" fmla="*/ 15523 h 9"/>
                <a:gd name="T8" fmla="*/ 1814 w 7"/>
                <a:gd name="T9" fmla="*/ 9702 h 9"/>
                <a:gd name="T10" fmla="*/ 1814 w 7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1" y="0"/>
                  </a:moveTo>
                  <a:cubicBezTo>
                    <a:pt x="3" y="0"/>
                    <a:pt x="5" y="1"/>
                    <a:pt x="6" y="2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6" y="9"/>
                    <a:pt x="4" y="8"/>
                    <a:pt x="3" y="8"/>
                  </a:cubicBezTo>
                  <a:cubicBezTo>
                    <a:pt x="2" y="7"/>
                    <a:pt x="2" y="6"/>
                    <a:pt x="1" y="5"/>
                  </a:cubicBezTo>
                  <a:cubicBezTo>
                    <a:pt x="1" y="3"/>
                    <a:pt x="0" y="1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2" name="Freeform 1003"/>
            <p:cNvSpPr>
              <a:spLocks noChangeAspect="1"/>
            </p:cNvSpPr>
            <p:nvPr/>
          </p:nvSpPr>
          <p:spPr bwMode="auto">
            <a:xfrm>
              <a:off x="2830513" y="5610225"/>
              <a:ext cx="25400" cy="47625"/>
            </a:xfrm>
            <a:custGeom>
              <a:avLst/>
              <a:gdLst>
                <a:gd name="T0" fmla="*/ 18143 w 14"/>
                <a:gd name="T1" fmla="*/ 1905 h 25"/>
                <a:gd name="T2" fmla="*/ 25400 w 14"/>
                <a:gd name="T3" fmla="*/ 41910 h 25"/>
                <a:gd name="T4" fmla="*/ 19957 w 14"/>
                <a:gd name="T5" fmla="*/ 47625 h 25"/>
                <a:gd name="T6" fmla="*/ 14514 w 14"/>
                <a:gd name="T7" fmla="*/ 41910 h 25"/>
                <a:gd name="T8" fmla="*/ 16329 w 14"/>
                <a:gd name="T9" fmla="*/ 28575 h 25"/>
                <a:gd name="T10" fmla="*/ 12700 w 14"/>
                <a:gd name="T11" fmla="*/ 28575 h 25"/>
                <a:gd name="T12" fmla="*/ 10886 w 14"/>
                <a:gd name="T13" fmla="*/ 36195 h 25"/>
                <a:gd name="T14" fmla="*/ 10886 w 14"/>
                <a:gd name="T15" fmla="*/ 40005 h 25"/>
                <a:gd name="T16" fmla="*/ 5443 w 14"/>
                <a:gd name="T17" fmla="*/ 30480 h 25"/>
                <a:gd name="T18" fmla="*/ 1814 w 14"/>
                <a:gd name="T19" fmla="*/ 19050 h 25"/>
                <a:gd name="T20" fmla="*/ 9071 w 14"/>
                <a:gd name="T21" fmla="*/ 20955 h 25"/>
                <a:gd name="T22" fmla="*/ 10886 w 14"/>
                <a:gd name="T23" fmla="*/ 24765 h 25"/>
                <a:gd name="T24" fmla="*/ 12700 w 14"/>
                <a:gd name="T25" fmla="*/ 13335 h 25"/>
                <a:gd name="T26" fmla="*/ 10886 w 14"/>
                <a:gd name="T27" fmla="*/ 3810 h 25"/>
                <a:gd name="T28" fmla="*/ 18143 w 14"/>
                <a:gd name="T29" fmla="*/ 1905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25"/>
                <a:gd name="T47" fmla="*/ 14 w 14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25">
                  <a:moveTo>
                    <a:pt x="10" y="1"/>
                  </a:moveTo>
                  <a:cubicBezTo>
                    <a:pt x="12" y="8"/>
                    <a:pt x="13" y="15"/>
                    <a:pt x="14" y="22"/>
                  </a:cubicBezTo>
                  <a:cubicBezTo>
                    <a:pt x="14" y="23"/>
                    <a:pt x="12" y="25"/>
                    <a:pt x="11" y="25"/>
                  </a:cubicBezTo>
                  <a:cubicBezTo>
                    <a:pt x="9" y="25"/>
                    <a:pt x="8" y="23"/>
                    <a:pt x="8" y="22"/>
                  </a:cubicBezTo>
                  <a:cubicBezTo>
                    <a:pt x="8" y="20"/>
                    <a:pt x="10" y="18"/>
                    <a:pt x="9" y="15"/>
                  </a:cubicBezTo>
                  <a:cubicBezTo>
                    <a:pt x="9" y="15"/>
                    <a:pt x="8" y="14"/>
                    <a:pt x="7" y="15"/>
                  </a:cubicBezTo>
                  <a:cubicBezTo>
                    <a:pt x="6" y="16"/>
                    <a:pt x="6" y="17"/>
                    <a:pt x="6" y="19"/>
                  </a:cubicBezTo>
                  <a:cubicBezTo>
                    <a:pt x="6" y="20"/>
                    <a:pt x="7" y="22"/>
                    <a:pt x="6" y="21"/>
                  </a:cubicBezTo>
                  <a:cubicBezTo>
                    <a:pt x="4" y="20"/>
                    <a:pt x="3" y="18"/>
                    <a:pt x="3" y="16"/>
                  </a:cubicBezTo>
                  <a:cubicBezTo>
                    <a:pt x="2" y="15"/>
                    <a:pt x="0" y="12"/>
                    <a:pt x="1" y="10"/>
                  </a:cubicBezTo>
                  <a:cubicBezTo>
                    <a:pt x="1" y="9"/>
                    <a:pt x="4" y="11"/>
                    <a:pt x="5" y="11"/>
                  </a:cubicBezTo>
                  <a:cubicBezTo>
                    <a:pt x="5" y="12"/>
                    <a:pt x="6" y="13"/>
                    <a:pt x="6" y="13"/>
                  </a:cubicBezTo>
                  <a:cubicBezTo>
                    <a:pt x="7" y="11"/>
                    <a:pt x="7" y="9"/>
                    <a:pt x="7" y="7"/>
                  </a:cubicBezTo>
                  <a:cubicBezTo>
                    <a:pt x="7" y="6"/>
                    <a:pt x="5" y="4"/>
                    <a:pt x="6" y="2"/>
                  </a:cubicBezTo>
                  <a:cubicBezTo>
                    <a:pt x="6" y="1"/>
                    <a:pt x="9" y="0"/>
                    <a:pt x="1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3" name="Freeform 1004"/>
            <p:cNvSpPr>
              <a:spLocks noChangeAspect="1"/>
            </p:cNvSpPr>
            <p:nvPr/>
          </p:nvSpPr>
          <p:spPr bwMode="auto">
            <a:xfrm>
              <a:off x="2824163" y="5589588"/>
              <a:ext cx="9525" cy="25400"/>
            </a:xfrm>
            <a:custGeom>
              <a:avLst/>
              <a:gdLst>
                <a:gd name="T0" fmla="*/ 3810 w 5"/>
                <a:gd name="T1" fmla="*/ 1954 h 13"/>
                <a:gd name="T2" fmla="*/ 0 w 5"/>
                <a:gd name="T3" fmla="*/ 1954 h 13"/>
                <a:gd name="T4" fmla="*/ 3810 w 5"/>
                <a:gd name="T5" fmla="*/ 11723 h 13"/>
                <a:gd name="T6" fmla="*/ 3810 w 5"/>
                <a:gd name="T7" fmla="*/ 23446 h 13"/>
                <a:gd name="T8" fmla="*/ 7620 w 5"/>
                <a:gd name="T9" fmla="*/ 21492 h 13"/>
                <a:gd name="T10" fmla="*/ 9525 w 5"/>
                <a:gd name="T11" fmla="*/ 15631 h 13"/>
                <a:gd name="T12" fmla="*/ 3810 w 5"/>
                <a:gd name="T13" fmla="*/ 1954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3"/>
                <a:gd name="T23" fmla="*/ 5 w 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3">
                  <a:moveTo>
                    <a:pt x="2" y="1"/>
                  </a:moveTo>
                  <a:cubicBezTo>
                    <a:pt x="2" y="0"/>
                    <a:pt x="0" y="0"/>
                    <a:pt x="0" y="1"/>
                  </a:cubicBezTo>
                  <a:cubicBezTo>
                    <a:pt x="0" y="3"/>
                    <a:pt x="2" y="4"/>
                    <a:pt x="2" y="6"/>
                  </a:cubicBezTo>
                  <a:cubicBezTo>
                    <a:pt x="2" y="8"/>
                    <a:pt x="1" y="10"/>
                    <a:pt x="2" y="12"/>
                  </a:cubicBezTo>
                  <a:cubicBezTo>
                    <a:pt x="2" y="13"/>
                    <a:pt x="3" y="12"/>
                    <a:pt x="4" y="11"/>
                  </a:cubicBezTo>
                  <a:cubicBezTo>
                    <a:pt x="4" y="10"/>
                    <a:pt x="5" y="9"/>
                    <a:pt x="5" y="8"/>
                  </a:cubicBezTo>
                  <a:cubicBezTo>
                    <a:pt x="4" y="5"/>
                    <a:pt x="4" y="3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4" name="Freeform 1005"/>
            <p:cNvSpPr>
              <a:spLocks noChangeAspect="1"/>
            </p:cNvSpPr>
            <p:nvPr/>
          </p:nvSpPr>
          <p:spPr bwMode="auto">
            <a:xfrm>
              <a:off x="2836863" y="5597525"/>
              <a:ext cx="9525" cy="11113"/>
            </a:xfrm>
            <a:custGeom>
              <a:avLst/>
              <a:gdLst>
                <a:gd name="T0" fmla="*/ 0 w 5"/>
                <a:gd name="T1" fmla="*/ 5557 h 6"/>
                <a:gd name="T2" fmla="*/ 7620 w 5"/>
                <a:gd name="T3" fmla="*/ 11113 h 6"/>
                <a:gd name="T4" fmla="*/ 7620 w 5"/>
                <a:gd name="T5" fmla="*/ 5557 h 6"/>
                <a:gd name="T6" fmla="*/ 5715 w 5"/>
                <a:gd name="T7" fmla="*/ 0 h 6"/>
                <a:gd name="T8" fmla="*/ 0 w 5"/>
                <a:gd name="T9" fmla="*/ 555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3"/>
                  </a:moveTo>
                  <a:cubicBezTo>
                    <a:pt x="1" y="4"/>
                    <a:pt x="3" y="6"/>
                    <a:pt x="4" y="6"/>
                  </a:cubicBezTo>
                  <a:cubicBezTo>
                    <a:pt x="5" y="6"/>
                    <a:pt x="4" y="4"/>
                    <a:pt x="4" y="3"/>
                  </a:cubicBezTo>
                  <a:cubicBezTo>
                    <a:pt x="4" y="2"/>
                    <a:pt x="4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5" name="Freeform 1006"/>
            <p:cNvSpPr>
              <a:spLocks noChangeAspect="1"/>
            </p:cNvSpPr>
            <p:nvPr/>
          </p:nvSpPr>
          <p:spPr bwMode="auto">
            <a:xfrm>
              <a:off x="2825750" y="5394325"/>
              <a:ext cx="23813" cy="53975"/>
            </a:xfrm>
            <a:custGeom>
              <a:avLst/>
              <a:gdLst>
                <a:gd name="T0" fmla="*/ 9922 w 12"/>
                <a:gd name="T1" fmla="*/ 1928 h 28"/>
                <a:gd name="T2" fmla="*/ 3969 w 12"/>
                <a:gd name="T3" fmla="*/ 15421 h 28"/>
                <a:gd name="T4" fmla="*/ 7938 w 12"/>
                <a:gd name="T5" fmla="*/ 34698 h 28"/>
                <a:gd name="T6" fmla="*/ 1984 w 12"/>
                <a:gd name="T7" fmla="*/ 50120 h 28"/>
                <a:gd name="T8" fmla="*/ 17860 w 12"/>
                <a:gd name="T9" fmla="*/ 52047 h 28"/>
                <a:gd name="T10" fmla="*/ 19844 w 12"/>
                <a:gd name="T11" fmla="*/ 40481 h 28"/>
                <a:gd name="T12" fmla="*/ 17860 w 12"/>
                <a:gd name="T13" fmla="*/ 32771 h 28"/>
                <a:gd name="T14" fmla="*/ 21829 w 12"/>
                <a:gd name="T15" fmla="*/ 30843 h 28"/>
                <a:gd name="T16" fmla="*/ 15875 w 12"/>
                <a:gd name="T17" fmla="*/ 23132 h 28"/>
                <a:gd name="T18" fmla="*/ 19844 w 12"/>
                <a:gd name="T19" fmla="*/ 19277 h 28"/>
                <a:gd name="T20" fmla="*/ 23813 w 12"/>
                <a:gd name="T21" fmla="*/ 15421 h 28"/>
                <a:gd name="T22" fmla="*/ 17860 w 12"/>
                <a:gd name="T23" fmla="*/ 3855 h 28"/>
                <a:gd name="T24" fmla="*/ 9922 w 12"/>
                <a:gd name="T25" fmla="*/ 1928 h 2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28"/>
                <a:gd name="T41" fmla="*/ 12 w 12"/>
                <a:gd name="T42" fmla="*/ 28 h 2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28">
                  <a:moveTo>
                    <a:pt x="5" y="1"/>
                  </a:moveTo>
                  <a:cubicBezTo>
                    <a:pt x="3" y="3"/>
                    <a:pt x="3" y="6"/>
                    <a:pt x="2" y="8"/>
                  </a:cubicBezTo>
                  <a:cubicBezTo>
                    <a:pt x="2" y="11"/>
                    <a:pt x="4" y="14"/>
                    <a:pt x="4" y="18"/>
                  </a:cubicBezTo>
                  <a:cubicBezTo>
                    <a:pt x="4" y="21"/>
                    <a:pt x="0" y="23"/>
                    <a:pt x="1" y="26"/>
                  </a:cubicBezTo>
                  <a:cubicBezTo>
                    <a:pt x="2" y="28"/>
                    <a:pt x="6" y="28"/>
                    <a:pt x="9" y="27"/>
                  </a:cubicBezTo>
                  <a:cubicBezTo>
                    <a:pt x="10" y="26"/>
                    <a:pt x="10" y="23"/>
                    <a:pt x="10" y="21"/>
                  </a:cubicBezTo>
                  <a:cubicBezTo>
                    <a:pt x="11" y="20"/>
                    <a:pt x="9" y="18"/>
                    <a:pt x="9" y="17"/>
                  </a:cubicBezTo>
                  <a:cubicBezTo>
                    <a:pt x="10" y="16"/>
                    <a:pt x="11" y="16"/>
                    <a:pt x="11" y="16"/>
                  </a:cubicBezTo>
                  <a:cubicBezTo>
                    <a:pt x="11" y="14"/>
                    <a:pt x="9" y="14"/>
                    <a:pt x="8" y="12"/>
                  </a:cubicBezTo>
                  <a:cubicBezTo>
                    <a:pt x="8" y="11"/>
                    <a:pt x="9" y="10"/>
                    <a:pt x="10" y="10"/>
                  </a:cubicBezTo>
                  <a:cubicBezTo>
                    <a:pt x="10" y="9"/>
                    <a:pt x="12" y="9"/>
                    <a:pt x="12" y="8"/>
                  </a:cubicBezTo>
                  <a:cubicBezTo>
                    <a:pt x="12" y="6"/>
                    <a:pt x="11" y="4"/>
                    <a:pt x="9" y="2"/>
                  </a:cubicBezTo>
                  <a:cubicBezTo>
                    <a:pt x="8" y="1"/>
                    <a:pt x="6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6" name="Freeform 1007"/>
            <p:cNvSpPr>
              <a:spLocks noChangeAspect="1"/>
            </p:cNvSpPr>
            <p:nvPr/>
          </p:nvSpPr>
          <p:spPr bwMode="auto">
            <a:xfrm>
              <a:off x="2860675" y="5478463"/>
              <a:ext cx="12700" cy="15875"/>
            </a:xfrm>
            <a:custGeom>
              <a:avLst/>
              <a:gdLst>
                <a:gd name="T0" fmla="*/ 3629 w 7"/>
                <a:gd name="T1" fmla="*/ 13891 h 8"/>
                <a:gd name="T2" fmla="*/ 9071 w 7"/>
                <a:gd name="T3" fmla="*/ 9922 h 8"/>
                <a:gd name="T4" fmla="*/ 10886 w 7"/>
                <a:gd name="T5" fmla="*/ 1984 h 8"/>
                <a:gd name="T6" fmla="*/ 3629 w 7"/>
                <a:gd name="T7" fmla="*/ 0 h 8"/>
                <a:gd name="T8" fmla="*/ 0 w 7"/>
                <a:gd name="T9" fmla="*/ 5953 h 8"/>
                <a:gd name="T10" fmla="*/ 1814 w 7"/>
                <a:gd name="T11" fmla="*/ 11906 h 8"/>
                <a:gd name="T12" fmla="*/ 3629 w 7"/>
                <a:gd name="T13" fmla="*/ 13891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8"/>
                <a:gd name="T23" fmla="*/ 7 w 7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8">
                  <a:moveTo>
                    <a:pt x="2" y="7"/>
                  </a:moveTo>
                  <a:cubicBezTo>
                    <a:pt x="4" y="7"/>
                    <a:pt x="5" y="6"/>
                    <a:pt x="5" y="5"/>
                  </a:cubicBezTo>
                  <a:cubicBezTo>
                    <a:pt x="6" y="4"/>
                    <a:pt x="7" y="2"/>
                    <a:pt x="6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7"/>
                    <a:pt x="2" y="8"/>
                    <a:pt x="2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7" name="Freeform 1008"/>
            <p:cNvSpPr>
              <a:spLocks noChangeAspect="1"/>
            </p:cNvSpPr>
            <p:nvPr/>
          </p:nvSpPr>
          <p:spPr bwMode="auto">
            <a:xfrm>
              <a:off x="2859088" y="5505450"/>
              <a:ext cx="9525" cy="9525"/>
            </a:xfrm>
            <a:custGeom>
              <a:avLst/>
              <a:gdLst>
                <a:gd name="T0" fmla="*/ 0 w 5"/>
                <a:gd name="T1" fmla="*/ 1905 h 5"/>
                <a:gd name="T2" fmla="*/ 1905 w 5"/>
                <a:gd name="T3" fmla="*/ 7620 h 5"/>
                <a:gd name="T4" fmla="*/ 7620 w 5"/>
                <a:gd name="T5" fmla="*/ 5715 h 5"/>
                <a:gd name="T6" fmla="*/ 3810 w 5"/>
                <a:gd name="T7" fmla="*/ 1905 h 5"/>
                <a:gd name="T8" fmla="*/ 0 w 5"/>
                <a:gd name="T9" fmla="*/ 1905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1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2" y="5"/>
                    <a:pt x="4" y="4"/>
                    <a:pt x="4" y="3"/>
                  </a:cubicBezTo>
                  <a:cubicBezTo>
                    <a:pt x="5" y="2"/>
                    <a:pt x="3" y="1"/>
                    <a:pt x="2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8" name="Freeform 1009"/>
            <p:cNvSpPr>
              <a:spLocks noChangeAspect="1"/>
            </p:cNvSpPr>
            <p:nvPr/>
          </p:nvSpPr>
          <p:spPr bwMode="auto">
            <a:xfrm>
              <a:off x="2835275" y="5480050"/>
              <a:ext cx="11113" cy="9525"/>
            </a:xfrm>
            <a:custGeom>
              <a:avLst/>
              <a:gdLst>
                <a:gd name="T0" fmla="*/ 1852 w 6"/>
                <a:gd name="T1" fmla="*/ 1905 h 5"/>
                <a:gd name="T2" fmla="*/ 9261 w 6"/>
                <a:gd name="T3" fmla="*/ 3810 h 5"/>
                <a:gd name="T4" fmla="*/ 1852 w 6"/>
                <a:gd name="T5" fmla="*/ 7620 h 5"/>
                <a:gd name="T6" fmla="*/ 1852 w 6"/>
                <a:gd name="T7" fmla="*/ 190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5"/>
                <a:gd name="T14" fmla="*/ 6 w 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5">
                  <a:moveTo>
                    <a:pt x="1" y="1"/>
                  </a:moveTo>
                  <a:cubicBezTo>
                    <a:pt x="2" y="0"/>
                    <a:pt x="5" y="1"/>
                    <a:pt x="5" y="2"/>
                  </a:cubicBezTo>
                  <a:cubicBezTo>
                    <a:pt x="6" y="4"/>
                    <a:pt x="3" y="5"/>
                    <a:pt x="1" y="4"/>
                  </a:cubicBezTo>
                  <a:cubicBezTo>
                    <a:pt x="0" y="4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09" name="Freeform 1010"/>
            <p:cNvSpPr>
              <a:spLocks noChangeAspect="1"/>
            </p:cNvSpPr>
            <p:nvPr/>
          </p:nvSpPr>
          <p:spPr bwMode="auto">
            <a:xfrm>
              <a:off x="2330450" y="4186238"/>
              <a:ext cx="19050" cy="36512"/>
            </a:xfrm>
            <a:custGeom>
              <a:avLst/>
              <a:gdLst>
                <a:gd name="T0" fmla="*/ 0 w 10"/>
                <a:gd name="T1" fmla="*/ 3843 h 19"/>
                <a:gd name="T2" fmla="*/ 3810 w 10"/>
                <a:gd name="T3" fmla="*/ 0 h 19"/>
                <a:gd name="T4" fmla="*/ 17145 w 10"/>
                <a:gd name="T5" fmla="*/ 17295 h 19"/>
                <a:gd name="T6" fmla="*/ 19050 w 10"/>
                <a:gd name="T7" fmla="*/ 26904 h 19"/>
                <a:gd name="T8" fmla="*/ 13335 w 10"/>
                <a:gd name="T9" fmla="*/ 34590 h 19"/>
                <a:gd name="T10" fmla="*/ 5715 w 10"/>
                <a:gd name="T11" fmla="*/ 30747 h 19"/>
                <a:gd name="T12" fmla="*/ 3810 w 10"/>
                <a:gd name="T13" fmla="*/ 26904 h 19"/>
                <a:gd name="T14" fmla="*/ 9525 w 10"/>
                <a:gd name="T15" fmla="*/ 21139 h 19"/>
                <a:gd name="T16" fmla="*/ 5715 w 10"/>
                <a:gd name="T17" fmla="*/ 11530 h 19"/>
                <a:gd name="T18" fmla="*/ 0 w 10"/>
                <a:gd name="T19" fmla="*/ 3843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19"/>
                <a:gd name="T32" fmla="*/ 10 w 10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19"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5" y="3"/>
                    <a:pt x="7" y="6"/>
                    <a:pt x="9" y="9"/>
                  </a:cubicBezTo>
                  <a:cubicBezTo>
                    <a:pt x="10" y="11"/>
                    <a:pt x="10" y="12"/>
                    <a:pt x="10" y="14"/>
                  </a:cubicBezTo>
                  <a:cubicBezTo>
                    <a:pt x="10" y="15"/>
                    <a:pt x="9" y="17"/>
                    <a:pt x="7" y="18"/>
                  </a:cubicBezTo>
                  <a:cubicBezTo>
                    <a:pt x="6" y="19"/>
                    <a:pt x="4" y="18"/>
                    <a:pt x="3" y="16"/>
                  </a:cubicBezTo>
                  <a:cubicBezTo>
                    <a:pt x="2" y="16"/>
                    <a:pt x="2" y="15"/>
                    <a:pt x="2" y="14"/>
                  </a:cubicBezTo>
                  <a:cubicBezTo>
                    <a:pt x="3" y="13"/>
                    <a:pt x="5" y="12"/>
                    <a:pt x="5" y="11"/>
                  </a:cubicBezTo>
                  <a:cubicBezTo>
                    <a:pt x="5" y="9"/>
                    <a:pt x="4" y="8"/>
                    <a:pt x="3" y="6"/>
                  </a:cubicBezTo>
                  <a:cubicBezTo>
                    <a:pt x="2" y="5"/>
                    <a:pt x="0" y="4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0" name="Freeform 1011"/>
            <p:cNvSpPr>
              <a:spLocks noChangeAspect="1"/>
            </p:cNvSpPr>
            <p:nvPr/>
          </p:nvSpPr>
          <p:spPr bwMode="auto">
            <a:xfrm>
              <a:off x="3292475" y="4208463"/>
              <a:ext cx="14288" cy="22225"/>
            </a:xfrm>
            <a:custGeom>
              <a:avLst/>
              <a:gdLst>
                <a:gd name="T0" fmla="*/ 0 w 7"/>
                <a:gd name="T1" fmla="*/ 22225 h 12"/>
                <a:gd name="T2" fmla="*/ 2041 w 7"/>
                <a:gd name="T3" fmla="*/ 22225 h 12"/>
                <a:gd name="T4" fmla="*/ 10206 w 7"/>
                <a:gd name="T5" fmla="*/ 12965 h 12"/>
                <a:gd name="T6" fmla="*/ 14288 w 7"/>
                <a:gd name="T7" fmla="*/ 1852 h 12"/>
                <a:gd name="T8" fmla="*/ 8165 w 7"/>
                <a:gd name="T9" fmla="*/ 5556 h 12"/>
                <a:gd name="T10" fmla="*/ 6123 w 7"/>
                <a:gd name="T11" fmla="*/ 14817 h 12"/>
                <a:gd name="T12" fmla="*/ 0 w 7"/>
                <a:gd name="T13" fmla="*/ 22225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2"/>
                <a:gd name="T23" fmla="*/ 7 w 7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2">
                  <a:moveTo>
                    <a:pt x="0" y="12"/>
                  </a:moveTo>
                  <a:cubicBezTo>
                    <a:pt x="0" y="12"/>
                    <a:pt x="1" y="12"/>
                    <a:pt x="1" y="12"/>
                  </a:cubicBezTo>
                  <a:cubicBezTo>
                    <a:pt x="3" y="11"/>
                    <a:pt x="4" y="9"/>
                    <a:pt x="5" y="7"/>
                  </a:cubicBezTo>
                  <a:cubicBezTo>
                    <a:pt x="6" y="5"/>
                    <a:pt x="7" y="3"/>
                    <a:pt x="7" y="1"/>
                  </a:cubicBezTo>
                  <a:cubicBezTo>
                    <a:pt x="7" y="0"/>
                    <a:pt x="5" y="2"/>
                    <a:pt x="4" y="3"/>
                  </a:cubicBezTo>
                  <a:cubicBezTo>
                    <a:pt x="3" y="5"/>
                    <a:pt x="3" y="6"/>
                    <a:pt x="3" y="8"/>
                  </a:cubicBezTo>
                  <a:cubicBezTo>
                    <a:pt x="2" y="9"/>
                    <a:pt x="0" y="10"/>
                    <a:pt x="0" y="1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1" name="Freeform 1012"/>
            <p:cNvSpPr>
              <a:spLocks noChangeAspect="1"/>
            </p:cNvSpPr>
            <p:nvPr/>
          </p:nvSpPr>
          <p:spPr bwMode="auto">
            <a:xfrm>
              <a:off x="3327400" y="4183063"/>
              <a:ext cx="15875" cy="9525"/>
            </a:xfrm>
            <a:custGeom>
              <a:avLst/>
              <a:gdLst>
                <a:gd name="T0" fmla="*/ 1984 w 8"/>
                <a:gd name="T1" fmla="*/ 1905 h 5"/>
                <a:gd name="T2" fmla="*/ 1984 w 8"/>
                <a:gd name="T3" fmla="*/ 7620 h 5"/>
                <a:gd name="T4" fmla="*/ 11906 w 8"/>
                <a:gd name="T5" fmla="*/ 7620 h 5"/>
                <a:gd name="T6" fmla="*/ 15875 w 8"/>
                <a:gd name="T7" fmla="*/ 1905 h 5"/>
                <a:gd name="T8" fmla="*/ 9922 w 8"/>
                <a:gd name="T9" fmla="*/ 1905 h 5"/>
                <a:gd name="T10" fmla="*/ 1984 w 8"/>
                <a:gd name="T11" fmla="*/ 190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5"/>
                <a:gd name="T20" fmla="*/ 8 w 8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5">
                  <a:moveTo>
                    <a:pt x="1" y="1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2" y="5"/>
                    <a:pt x="4" y="5"/>
                    <a:pt x="6" y="4"/>
                  </a:cubicBezTo>
                  <a:cubicBezTo>
                    <a:pt x="7" y="4"/>
                    <a:pt x="8" y="2"/>
                    <a:pt x="8" y="1"/>
                  </a:cubicBezTo>
                  <a:cubicBezTo>
                    <a:pt x="7" y="0"/>
                    <a:pt x="6" y="1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2" name="Freeform 1013"/>
            <p:cNvSpPr>
              <a:spLocks noChangeAspect="1"/>
            </p:cNvSpPr>
            <p:nvPr/>
          </p:nvSpPr>
          <p:spPr bwMode="auto">
            <a:xfrm>
              <a:off x="3319463" y="4184650"/>
              <a:ext cx="7937" cy="9525"/>
            </a:xfrm>
            <a:custGeom>
              <a:avLst/>
              <a:gdLst>
                <a:gd name="T0" fmla="*/ 0 w 4"/>
                <a:gd name="T1" fmla="*/ 3810 h 5"/>
                <a:gd name="T2" fmla="*/ 3969 w 4"/>
                <a:gd name="T3" fmla="*/ 7620 h 5"/>
                <a:gd name="T4" fmla="*/ 5953 w 4"/>
                <a:gd name="T5" fmla="*/ 0 h 5"/>
                <a:gd name="T6" fmla="*/ 0 w 4"/>
                <a:gd name="T7" fmla="*/ 381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5"/>
                <a:gd name="T14" fmla="*/ 4 w 4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5">
                  <a:moveTo>
                    <a:pt x="0" y="2"/>
                  </a:moveTo>
                  <a:cubicBezTo>
                    <a:pt x="0" y="3"/>
                    <a:pt x="1" y="5"/>
                    <a:pt x="2" y="4"/>
                  </a:cubicBezTo>
                  <a:cubicBezTo>
                    <a:pt x="3" y="4"/>
                    <a:pt x="4" y="1"/>
                    <a:pt x="3" y="0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3" name="Freeform 1014"/>
            <p:cNvSpPr>
              <a:spLocks noChangeAspect="1"/>
            </p:cNvSpPr>
            <p:nvPr/>
          </p:nvSpPr>
          <p:spPr bwMode="auto">
            <a:xfrm>
              <a:off x="2987675" y="3889375"/>
              <a:ext cx="19050" cy="9525"/>
            </a:xfrm>
            <a:custGeom>
              <a:avLst/>
              <a:gdLst>
                <a:gd name="T0" fmla="*/ 5715 w 10"/>
                <a:gd name="T1" fmla="*/ 1905 h 5"/>
                <a:gd name="T2" fmla="*/ 1905 w 10"/>
                <a:gd name="T3" fmla="*/ 7620 h 5"/>
                <a:gd name="T4" fmla="*/ 15240 w 10"/>
                <a:gd name="T5" fmla="*/ 7620 h 5"/>
                <a:gd name="T6" fmla="*/ 17145 w 10"/>
                <a:gd name="T7" fmla="*/ 1905 h 5"/>
                <a:gd name="T8" fmla="*/ 9525 w 10"/>
                <a:gd name="T9" fmla="*/ 1905 h 5"/>
                <a:gd name="T10" fmla="*/ 5715 w 10"/>
                <a:gd name="T11" fmla="*/ 190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5"/>
                <a:gd name="T20" fmla="*/ 10 w 10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5">
                  <a:moveTo>
                    <a:pt x="3" y="1"/>
                  </a:moveTo>
                  <a:cubicBezTo>
                    <a:pt x="2" y="1"/>
                    <a:pt x="0" y="3"/>
                    <a:pt x="1" y="4"/>
                  </a:cubicBezTo>
                  <a:cubicBezTo>
                    <a:pt x="3" y="5"/>
                    <a:pt x="6" y="5"/>
                    <a:pt x="8" y="4"/>
                  </a:cubicBezTo>
                  <a:cubicBezTo>
                    <a:pt x="9" y="4"/>
                    <a:pt x="10" y="2"/>
                    <a:pt x="9" y="1"/>
                  </a:cubicBezTo>
                  <a:cubicBezTo>
                    <a:pt x="8" y="0"/>
                    <a:pt x="7" y="1"/>
                    <a:pt x="5" y="1"/>
                  </a:cubicBezTo>
                  <a:cubicBezTo>
                    <a:pt x="4" y="1"/>
                    <a:pt x="3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4" name="Freeform 1015"/>
            <p:cNvSpPr>
              <a:spLocks noChangeAspect="1"/>
            </p:cNvSpPr>
            <p:nvPr/>
          </p:nvSpPr>
          <p:spPr bwMode="auto">
            <a:xfrm>
              <a:off x="3051175" y="3898900"/>
              <a:ext cx="20638" cy="20638"/>
            </a:xfrm>
            <a:custGeom>
              <a:avLst/>
              <a:gdLst>
                <a:gd name="T0" fmla="*/ 9381 w 11"/>
                <a:gd name="T1" fmla="*/ 1876 h 11"/>
                <a:gd name="T2" fmla="*/ 7505 w 11"/>
                <a:gd name="T3" fmla="*/ 7505 h 11"/>
                <a:gd name="T4" fmla="*/ 9381 w 11"/>
                <a:gd name="T5" fmla="*/ 13133 h 11"/>
                <a:gd name="T6" fmla="*/ 0 w 11"/>
                <a:gd name="T7" fmla="*/ 16886 h 11"/>
                <a:gd name="T8" fmla="*/ 1876 w 11"/>
                <a:gd name="T9" fmla="*/ 18762 h 11"/>
                <a:gd name="T10" fmla="*/ 16886 w 11"/>
                <a:gd name="T11" fmla="*/ 16886 h 11"/>
                <a:gd name="T12" fmla="*/ 20638 w 11"/>
                <a:gd name="T13" fmla="*/ 15009 h 11"/>
                <a:gd name="T14" fmla="*/ 20638 w 11"/>
                <a:gd name="T15" fmla="*/ 3752 h 11"/>
                <a:gd name="T16" fmla="*/ 20638 w 11"/>
                <a:gd name="T17" fmla="*/ 0 h 11"/>
                <a:gd name="T18" fmla="*/ 9381 w 11"/>
                <a:gd name="T19" fmla="*/ 1876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1"/>
                <a:gd name="T32" fmla="*/ 11 w 11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1">
                  <a:moveTo>
                    <a:pt x="5" y="1"/>
                  </a:moveTo>
                  <a:cubicBezTo>
                    <a:pt x="4" y="1"/>
                    <a:pt x="4" y="3"/>
                    <a:pt x="4" y="4"/>
                  </a:cubicBezTo>
                  <a:cubicBezTo>
                    <a:pt x="5" y="5"/>
                    <a:pt x="6" y="7"/>
                    <a:pt x="5" y="7"/>
                  </a:cubicBezTo>
                  <a:cubicBezTo>
                    <a:pt x="4" y="9"/>
                    <a:pt x="2" y="8"/>
                    <a:pt x="0" y="9"/>
                  </a:cubicBezTo>
                  <a:cubicBezTo>
                    <a:pt x="0" y="9"/>
                    <a:pt x="0" y="10"/>
                    <a:pt x="1" y="10"/>
                  </a:cubicBezTo>
                  <a:cubicBezTo>
                    <a:pt x="3" y="11"/>
                    <a:pt x="6" y="10"/>
                    <a:pt x="9" y="9"/>
                  </a:cubicBezTo>
                  <a:cubicBezTo>
                    <a:pt x="9" y="9"/>
                    <a:pt x="11" y="9"/>
                    <a:pt x="11" y="8"/>
                  </a:cubicBezTo>
                  <a:cubicBezTo>
                    <a:pt x="11" y="6"/>
                    <a:pt x="11" y="4"/>
                    <a:pt x="11" y="2"/>
                  </a:cubicBezTo>
                  <a:cubicBezTo>
                    <a:pt x="11" y="2"/>
                    <a:pt x="11" y="1"/>
                    <a:pt x="11" y="0"/>
                  </a:cubicBezTo>
                  <a:cubicBezTo>
                    <a:pt x="9" y="0"/>
                    <a:pt x="6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5" name="Freeform 1016"/>
            <p:cNvSpPr>
              <a:spLocks noChangeAspect="1"/>
            </p:cNvSpPr>
            <p:nvPr/>
          </p:nvSpPr>
          <p:spPr bwMode="auto">
            <a:xfrm>
              <a:off x="2930525" y="3676650"/>
              <a:ext cx="46038" cy="17463"/>
            </a:xfrm>
            <a:custGeom>
              <a:avLst/>
              <a:gdLst>
                <a:gd name="T0" fmla="*/ 1918 w 24"/>
                <a:gd name="T1" fmla="*/ 1940 h 9"/>
                <a:gd name="T2" fmla="*/ 0 w 24"/>
                <a:gd name="T3" fmla="*/ 7761 h 9"/>
                <a:gd name="T4" fmla="*/ 3837 w 24"/>
                <a:gd name="T5" fmla="*/ 15523 h 9"/>
                <a:gd name="T6" fmla="*/ 19183 w 24"/>
                <a:gd name="T7" fmla="*/ 15523 h 9"/>
                <a:gd name="T8" fmla="*/ 34529 w 24"/>
                <a:gd name="T9" fmla="*/ 15523 h 9"/>
                <a:gd name="T10" fmla="*/ 44120 w 24"/>
                <a:gd name="T11" fmla="*/ 5821 h 9"/>
                <a:gd name="T12" fmla="*/ 30692 w 24"/>
                <a:gd name="T13" fmla="*/ 3881 h 9"/>
                <a:gd name="T14" fmla="*/ 13428 w 24"/>
                <a:gd name="T15" fmla="*/ 1940 h 9"/>
                <a:gd name="T16" fmla="*/ 1918 w 24"/>
                <a:gd name="T17" fmla="*/ 194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9"/>
                <a:gd name="T29" fmla="*/ 24 w 24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9">
                  <a:moveTo>
                    <a:pt x="1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6"/>
                    <a:pt x="1" y="8"/>
                    <a:pt x="2" y="8"/>
                  </a:cubicBezTo>
                  <a:cubicBezTo>
                    <a:pt x="5" y="9"/>
                    <a:pt x="7" y="8"/>
                    <a:pt x="10" y="8"/>
                  </a:cubicBezTo>
                  <a:cubicBezTo>
                    <a:pt x="13" y="8"/>
                    <a:pt x="16" y="9"/>
                    <a:pt x="18" y="8"/>
                  </a:cubicBezTo>
                  <a:cubicBezTo>
                    <a:pt x="20" y="7"/>
                    <a:pt x="24" y="5"/>
                    <a:pt x="23" y="3"/>
                  </a:cubicBezTo>
                  <a:cubicBezTo>
                    <a:pt x="22" y="1"/>
                    <a:pt x="18" y="2"/>
                    <a:pt x="16" y="2"/>
                  </a:cubicBezTo>
                  <a:cubicBezTo>
                    <a:pt x="13" y="1"/>
                    <a:pt x="10" y="1"/>
                    <a:pt x="7" y="1"/>
                  </a:cubicBezTo>
                  <a:cubicBezTo>
                    <a:pt x="5" y="0"/>
                    <a:pt x="3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6" name="Freeform 1017"/>
            <p:cNvSpPr>
              <a:spLocks noChangeAspect="1"/>
            </p:cNvSpPr>
            <p:nvPr/>
          </p:nvSpPr>
          <p:spPr bwMode="auto">
            <a:xfrm>
              <a:off x="2776538" y="3603625"/>
              <a:ext cx="20637" cy="14288"/>
            </a:xfrm>
            <a:custGeom>
              <a:avLst/>
              <a:gdLst>
                <a:gd name="T0" fmla="*/ 13133 w 11"/>
                <a:gd name="T1" fmla="*/ 6123 h 7"/>
                <a:gd name="T2" fmla="*/ 18761 w 11"/>
                <a:gd name="T3" fmla="*/ 0 h 7"/>
                <a:gd name="T4" fmla="*/ 18761 w 11"/>
                <a:gd name="T5" fmla="*/ 6123 h 7"/>
                <a:gd name="T6" fmla="*/ 15009 w 11"/>
                <a:gd name="T7" fmla="*/ 12247 h 7"/>
                <a:gd name="T8" fmla="*/ 3752 w 11"/>
                <a:gd name="T9" fmla="*/ 12247 h 7"/>
                <a:gd name="T10" fmla="*/ 0 w 11"/>
                <a:gd name="T11" fmla="*/ 10206 h 7"/>
                <a:gd name="T12" fmla="*/ 5628 w 11"/>
                <a:gd name="T13" fmla="*/ 4082 h 7"/>
                <a:gd name="T14" fmla="*/ 13133 w 11"/>
                <a:gd name="T15" fmla="*/ 6123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7"/>
                <a:gd name="T26" fmla="*/ 11 w 11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7">
                  <a:moveTo>
                    <a:pt x="7" y="3"/>
                  </a:moveTo>
                  <a:cubicBezTo>
                    <a:pt x="8" y="2"/>
                    <a:pt x="9" y="0"/>
                    <a:pt x="10" y="0"/>
                  </a:cubicBezTo>
                  <a:cubicBezTo>
                    <a:pt x="11" y="0"/>
                    <a:pt x="10" y="2"/>
                    <a:pt x="10" y="3"/>
                  </a:cubicBezTo>
                  <a:cubicBezTo>
                    <a:pt x="9" y="4"/>
                    <a:pt x="9" y="6"/>
                    <a:pt x="8" y="6"/>
                  </a:cubicBezTo>
                  <a:cubicBezTo>
                    <a:pt x="6" y="7"/>
                    <a:pt x="4" y="7"/>
                    <a:pt x="2" y="6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1" y="3"/>
                    <a:pt x="2" y="2"/>
                    <a:pt x="3" y="2"/>
                  </a:cubicBezTo>
                  <a:cubicBezTo>
                    <a:pt x="5" y="2"/>
                    <a:pt x="6" y="3"/>
                    <a:pt x="7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7" name="Freeform 1018"/>
            <p:cNvSpPr>
              <a:spLocks noChangeAspect="1"/>
            </p:cNvSpPr>
            <p:nvPr/>
          </p:nvSpPr>
          <p:spPr bwMode="auto">
            <a:xfrm>
              <a:off x="2754313" y="3641725"/>
              <a:ext cx="73025" cy="49213"/>
            </a:xfrm>
            <a:custGeom>
              <a:avLst/>
              <a:gdLst>
                <a:gd name="T0" fmla="*/ 69280 w 39"/>
                <a:gd name="T1" fmla="*/ 49213 h 26"/>
                <a:gd name="T2" fmla="*/ 71153 w 39"/>
                <a:gd name="T3" fmla="*/ 45427 h 26"/>
                <a:gd name="T4" fmla="*/ 61790 w 39"/>
                <a:gd name="T5" fmla="*/ 35963 h 26"/>
                <a:gd name="T6" fmla="*/ 69280 w 39"/>
                <a:gd name="T7" fmla="*/ 28392 h 26"/>
                <a:gd name="T8" fmla="*/ 67408 w 39"/>
                <a:gd name="T9" fmla="*/ 22714 h 26"/>
                <a:gd name="T10" fmla="*/ 71153 w 39"/>
                <a:gd name="T11" fmla="*/ 17035 h 26"/>
                <a:gd name="T12" fmla="*/ 69280 w 39"/>
                <a:gd name="T13" fmla="*/ 3786 h 26"/>
                <a:gd name="T14" fmla="*/ 58046 w 39"/>
                <a:gd name="T15" fmla="*/ 5678 h 26"/>
                <a:gd name="T16" fmla="*/ 50556 w 39"/>
                <a:gd name="T17" fmla="*/ 1893 h 26"/>
                <a:gd name="T18" fmla="*/ 33704 w 39"/>
                <a:gd name="T19" fmla="*/ 1893 h 26"/>
                <a:gd name="T20" fmla="*/ 28087 w 39"/>
                <a:gd name="T21" fmla="*/ 9464 h 26"/>
                <a:gd name="T22" fmla="*/ 29959 w 39"/>
                <a:gd name="T23" fmla="*/ 13250 h 26"/>
                <a:gd name="T24" fmla="*/ 41194 w 39"/>
                <a:gd name="T25" fmla="*/ 13250 h 26"/>
                <a:gd name="T26" fmla="*/ 43066 w 39"/>
                <a:gd name="T27" fmla="*/ 26499 h 26"/>
                <a:gd name="T28" fmla="*/ 54301 w 39"/>
                <a:gd name="T29" fmla="*/ 35963 h 26"/>
                <a:gd name="T30" fmla="*/ 44938 w 39"/>
                <a:gd name="T31" fmla="*/ 35963 h 26"/>
                <a:gd name="T32" fmla="*/ 16852 w 39"/>
                <a:gd name="T33" fmla="*/ 34071 h 26"/>
                <a:gd name="T34" fmla="*/ 7490 w 39"/>
                <a:gd name="T35" fmla="*/ 32178 h 26"/>
                <a:gd name="T36" fmla="*/ 0 w 39"/>
                <a:gd name="T37" fmla="*/ 37856 h 26"/>
                <a:gd name="T38" fmla="*/ 7490 w 39"/>
                <a:gd name="T39" fmla="*/ 43535 h 26"/>
                <a:gd name="T40" fmla="*/ 18724 w 39"/>
                <a:gd name="T41" fmla="*/ 47320 h 26"/>
                <a:gd name="T42" fmla="*/ 35576 w 39"/>
                <a:gd name="T43" fmla="*/ 43535 h 26"/>
                <a:gd name="T44" fmla="*/ 46811 w 39"/>
                <a:gd name="T45" fmla="*/ 45427 h 26"/>
                <a:gd name="T46" fmla="*/ 58046 w 39"/>
                <a:gd name="T47" fmla="*/ 43535 h 26"/>
                <a:gd name="T48" fmla="*/ 69280 w 39"/>
                <a:gd name="T49" fmla="*/ 49213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9"/>
                <a:gd name="T76" fmla="*/ 0 h 26"/>
                <a:gd name="T77" fmla="*/ 39 w 39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9" h="26">
                  <a:moveTo>
                    <a:pt x="37" y="26"/>
                  </a:moveTo>
                  <a:cubicBezTo>
                    <a:pt x="37" y="26"/>
                    <a:pt x="38" y="25"/>
                    <a:pt x="38" y="24"/>
                  </a:cubicBezTo>
                  <a:cubicBezTo>
                    <a:pt x="37" y="22"/>
                    <a:pt x="34" y="21"/>
                    <a:pt x="33" y="19"/>
                  </a:cubicBezTo>
                  <a:cubicBezTo>
                    <a:pt x="33" y="18"/>
                    <a:pt x="36" y="17"/>
                    <a:pt x="37" y="15"/>
                  </a:cubicBezTo>
                  <a:cubicBezTo>
                    <a:pt x="37" y="14"/>
                    <a:pt x="36" y="13"/>
                    <a:pt x="36" y="12"/>
                  </a:cubicBezTo>
                  <a:cubicBezTo>
                    <a:pt x="37" y="11"/>
                    <a:pt x="38" y="11"/>
                    <a:pt x="38" y="9"/>
                  </a:cubicBezTo>
                  <a:cubicBezTo>
                    <a:pt x="39" y="7"/>
                    <a:pt x="38" y="5"/>
                    <a:pt x="37" y="2"/>
                  </a:cubicBezTo>
                  <a:cubicBezTo>
                    <a:pt x="35" y="3"/>
                    <a:pt x="33" y="4"/>
                    <a:pt x="31" y="3"/>
                  </a:cubicBezTo>
                  <a:cubicBezTo>
                    <a:pt x="30" y="3"/>
                    <a:pt x="29" y="1"/>
                    <a:pt x="27" y="1"/>
                  </a:cubicBezTo>
                  <a:cubicBezTo>
                    <a:pt x="24" y="0"/>
                    <a:pt x="21" y="0"/>
                    <a:pt x="18" y="1"/>
                  </a:cubicBezTo>
                  <a:cubicBezTo>
                    <a:pt x="17" y="2"/>
                    <a:pt x="15" y="4"/>
                    <a:pt x="15" y="5"/>
                  </a:cubicBezTo>
                  <a:cubicBezTo>
                    <a:pt x="14" y="6"/>
                    <a:pt x="16" y="7"/>
                    <a:pt x="16" y="7"/>
                  </a:cubicBezTo>
                  <a:cubicBezTo>
                    <a:pt x="18" y="7"/>
                    <a:pt x="20" y="6"/>
                    <a:pt x="22" y="7"/>
                  </a:cubicBezTo>
                  <a:cubicBezTo>
                    <a:pt x="23" y="9"/>
                    <a:pt x="22" y="12"/>
                    <a:pt x="23" y="14"/>
                  </a:cubicBezTo>
                  <a:cubicBezTo>
                    <a:pt x="25" y="16"/>
                    <a:pt x="29" y="16"/>
                    <a:pt x="29" y="19"/>
                  </a:cubicBezTo>
                  <a:cubicBezTo>
                    <a:pt x="29" y="20"/>
                    <a:pt x="25" y="19"/>
                    <a:pt x="24" y="19"/>
                  </a:cubicBezTo>
                  <a:cubicBezTo>
                    <a:pt x="19" y="19"/>
                    <a:pt x="14" y="19"/>
                    <a:pt x="9" y="18"/>
                  </a:cubicBezTo>
                  <a:cubicBezTo>
                    <a:pt x="7" y="18"/>
                    <a:pt x="6" y="16"/>
                    <a:pt x="4" y="17"/>
                  </a:cubicBezTo>
                  <a:cubicBezTo>
                    <a:pt x="2" y="17"/>
                    <a:pt x="0" y="19"/>
                    <a:pt x="0" y="20"/>
                  </a:cubicBezTo>
                  <a:cubicBezTo>
                    <a:pt x="0" y="22"/>
                    <a:pt x="3" y="23"/>
                    <a:pt x="4" y="23"/>
                  </a:cubicBezTo>
                  <a:cubicBezTo>
                    <a:pt x="6" y="24"/>
                    <a:pt x="8" y="25"/>
                    <a:pt x="10" y="25"/>
                  </a:cubicBezTo>
                  <a:cubicBezTo>
                    <a:pt x="13" y="25"/>
                    <a:pt x="16" y="24"/>
                    <a:pt x="19" y="23"/>
                  </a:cubicBezTo>
                  <a:cubicBezTo>
                    <a:pt x="21" y="23"/>
                    <a:pt x="23" y="24"/>
                    <a:pt x="25" y="24"/>
                  </a:cubicBezTo>
                  <a:cubicBezTo>
                    <a:pt x="27" y="24"/>
                    <a:pt x="29" y="22"/>
                    <a:pt x="31" y="23"/>
                  </a:cubicBezTo>
                  <a:cubicBezTo>
                    <a:pt x="33" y="24"/>
                    <a:pt x="34" y="25"/>
                    <a:pt x="37" y="2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8" name="Freeform 1019"/>
            <p:cNvSpPr>
              <a:spLocks noChangeAspect="1"/>
            </p:cNvSpPr>
            <p:nvPr/>
          </p:nvSpPr>
          <p:spPr bwMode="auto">
            <a:xfrm>
              <a:off x="2659063" y="3679825"/>
              <a:ext cx="53975" cy="23813"/>
            </a:xfrm>
            <a:custGeom>
              <a:avLst/>
              <a:gdLst>
                <a:gd name="T0" fmla="*/ 35363 w 29"/>
                <a:gd name="T1" fmla="*/ 1984 h 12"/>
                <a:gd name="T2" fmla="*/ 52114 w 29"/>
                <a:gd name="T3" fmla="*/ 13891 h 12"/>
                <a:gd name="T4" fmla="*/ 52114 w 29"/>
                <a:gd name="T5" fmla="*/ 19844 h 12"/>
                <a:gd name="T6" fmla="*/ 37224 w 29"/>
                <a:gd name="T7" fmla="*/ 17860 h 12"/>
                <a:gd name="T8" fmla="*/ 29779 w 29"/>
                <a:gd name="T9" fmla="*/ 23813 h 12"/>
                <a:gd name="T10" fmla="*/ 11167 w 29"/>
                <a:gd name="T11" fmla="*/ 13891 h 12"/>
                <a:gd name="T12" fmla="*/ 0 w 29"/>
                <a:gd name="T13" fmla="*/ 7938 h 12"/>
                <a:gd name="T14" fmla="*/ 7445 w 29"/>
                <a:gd name="T15" fmla="*/ 0 h 12"/>
                <a:gd name="T16" fmla="*/ 27918 w 29"/>
                <a:gd name="T17" fmla="*/ 1984 h 12"/>
                <a:gd name="T18" fmla="*/ 35363 w 29"/>
                <a:gd name="T19" fmla="*/ 1984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12"/>
                <a:gd name="T32" fmla="*/ 29 w 29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12">
                  <a:moveTo>
                    <a:pt x="19" y="1"/>
                  </a:moveTo>
                  <a:cubicBezTo>
                    <a:pt x="22" y="2"/>
                    <a:pt x="25" y="4"/>
                    <a:pt x="28" y="7"/>
                  </a:cubicBezTo>
                  <a:cubicBezTo>
                    <a:pt x="29" y="7"/>
                    <a:pt x="29" y="10"/>
                    <a:pt x="28" y="10"/>
                  </a:cubicBezTo>
                  <a:cubicBezTo>
                    <a:pt x="25" y="11"/>
                    <a:pt x="22" y="8"/>
                    <a:pt x="20" y="9"/>
                  </a:cubicBezTo>
                  <a:cubicBezTo>
                    <a:pt x="18" y="9"/>
                    <a:pt x="18" y="12"/>
                    <a:pt x="16" y="12"/>
                  </a:cubicBezTo>
                  <a:cubicBezTo>
                    <a:pt x="12" y="11"/>
                    <a:pt x="9" y="8"/>
                    <a:pt x="6" y="7"/>
                  </a:cubicBezTo>
                  <a:cubicBezTo>
                    <a:pt x="4" y="6"/>
                    <a:pt x="1" y="6"/>
                    <a:pt x="0" y="4"/>
                  </a:cubicBezTo>
                  <a:cubicBezTo>
                    <a:pt x="0" y="2"/>
                    <a:pt x="3" y="1"/>
                    <a:pt x="4" y="0"/>
                  </a:cubicBezTo>
                  <a:cubicBezTo>
                    <a:pt x="8" y="0"/>
                    <a:pt x="12" y="1"/>
                    <a:pt x="15" y="1"/>
                  </a:cubicBezTo>
                  <a:cubicBezTo>
                    <a:pt x="17" y="1"/>
                    <a:pt x="18" y="0"/>
                    <a:pt x="19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19" name="Freeform 1020"/>
            <p:cNvSpPr>
              <a:spLocks noChangeAspect="1"/>
            </p:cNvSpPr>
            <p:nvPr/>
          </p:nvSpPr>
          <p:spPr bwMode="auto">
            <a:xfrm>
              <a:off x="2513013" y="3548063"/>
              <a:ext cx="255587" cy="100012"/>
            </a:xfrm>
            <a:custGeom>
              <a:avLst/>
              <a:gdLst>
                <a:gd name="T0" fmla="*/ 246050 w 134"/>
                <a:gd name="T1" fmla="*/ 82702 h 52"/>
                <a:gd name="T2" fmla="*/ 253680 w 134"/>
                <a:gd name="T3" fmla="*/ 86549 h 52"/>
                <a:gd name="T4" fmla="*/ 238421 w 134"/>
                <a:gd name="T5" fmla="*/ 92319 h 52"/>
                <a:gd name="T6" fmla="*/ 219347 w 134"/>
                <a:gd name="T7" fmla="*/ 98089 h 52"/>
                <a:gd name="T8" fmla="*/ 190737 w 134"/>
                <a:gd name="T9" fmla="*/ 96165 h 52"/>
                <a:gd name="T10" fmla="*/ 183107 w 134"/>
                <a:gd name="T11" fmla="*/ 100012 h 52"/>
                <a:gd name="T12" fmla="*/ 165941 w 134"/>
                <a:gd name="T13" fmla="*/ 98089 h 52"/>
                <a:gd name="T14" fmla="*/ 167848 w 134"/>
                <a:gd name="T15" fmla="*/ 94242 h 52"/>
                <a:gd name="T16" fmla="*/ 181200 w 134"/>
                <a:gd name="T17" fmla="*/ 82702 h 52"/>
                <a:gd name="T18" fmla="*/ 177385 w 134"/>
                <a:gd name="T19" fmla="*/ 76932 h 52"/>
                <a:gd name="T20" fmla="*/ 160219 w 134"/>
                <a:gd name="T21" fmla="*/ 75009 h 52"/>
                <a:gd name="T22" fmla="*/ 148775 w 134"/>
                <a:gd name="T23" fmla="*/ 65392 h 52"/>
                <a:gd name="T24" fmla="*/ 146867 w 134"/>
                <a:gd name="T25" fmla="*/ 48083 h 52"/>
                <a:gd name="T26" fmla="*/ 131608 w 134"/>
                <a:gd name="T27" fmla="*/ 48083 h 52"/>
                <a:gd name="T28" fmla="*/ 112535 w 134"/>
                <a:gd name="T29" fmla="*/ 42313 h 52"/>
                <a:gd name="T30" fmla="*/ 104905 w 134"/>
                <a:gd name="T31" fmla="*/ 32696 h 52"/>
                <a:gd name="T32" fmla="*/ 91554 w 134"/>
                <a:gd name="T33" fmla="*/ 34620 h 52"/>
                <a:gd name="T34" fmla="*/ 80109 w 134"/>
                <a:gd name="T35" fmla="*/ 30773 h 52"/>
                <a:gd name="T36" fmla="*/ 64850 w 134"/>
                <a:gd name="T37" fmla="*/ 28850 h 52"/>
                <a:gd name="T38" fmla="*/ 68665 w 134"/>
                <a:gd name="T39" fmla="*/ 25003 h 52"/>
                <a:gd name="T40" fmla="*/ 74387 w 134"/>
                <a:gd name="T41" fmla="*/ 21156 h 52"/>
                <a:gd name="T42" fmla="*/ 57221 w 134"/>
                <a:gd name="T43" fmla="*/ 15386 h 52"/>
                <a:gd name="T44" fmla="*/ 38147 w 134"/>
                <a:gd name="T45" fmla="*/ 23080 h 52"/>
                <a:gd name="T46" fmla="*/ 22888 w 134"/>
                <a:gd name="T47" fmla="*/ 32696 h 52"/>
                <a:gd name="T48" fmla="*/ 11444 w 134"/>
                <a:gd name="T49" fmla="*/ 42313 h 52"/>
                <a:gd name="T50" fmla="*/ 0 w 134"/>
                <a:gd name="T51" fmla="*/ 38466 h 52"/>
                <a:gd name="T52" fmla="*/ 9537 w 134"/>
                <a:gd name="T53" fmla="*/ 32696 h 52"/>
                <a:gd name="T54" fmla="*/ 15259 w 134"/>
                <a:gd name="T55" fmla="*/ 19233 h 52"/>
                <a:gd name="T56" fmla="*/ 38147 w 134"/>
                <a:gd name="T57" fmla="*/ 7693 h 52"/>
                <a:gd name="T58" fmla="*/ 64850 w 134"/>
                <a:gd name="T59" fmla="*/ 0 h 52"/>
                <a:gd name="T60" fmla="*/ 87739 w 134"/>
                <a:gd name="T61" fmla="*/ 3847 h 52"/>
                <a:gd name="T62" fmla="*/ 102998 w 134"/>
                <a:gd name="T63" fmla="*/ 5770 h 52"/>
                <a:gd name="T64" fmla="*/ 108720 w 134"/>
                <a:gd name="T65" fmla="*/ 9617 h 52"/>
                <a:gd name="T66" fmla="*/ 120164 w 134"/>
                <a:gd name="T67" fmla="*/ 11540 h 52"/>
                <a:gd name="T68" fmla="*/ 129701 w 134"/>
                <a:gd name="T69" fmla="*/ 25003 h 52"/>
                <a:gd name="T70" fmla="*/ 152589 w 134"/>
                <a:gd name="T71" fmla="*/ 26926 h 52"/>
                <a:gd name="T72" fmla="*/ 162126 w 134"/>
                <a:gd name="T73" fmla="*/ 40389 h 52"/>
                <a:gd name="T74" fmla="*/ 165941 w 134"/>
                <a:gd name="T75" fmla="*/ 38466 h 52"/>
                <a:gd name="T76" fmla="*/ 156404 w 134"/>
                <a:gd name="T77" fmla="*/ 26926 h 52"/>
                <a:gd name="T78" fmla="*/ 160219 w 134"/>
                <a:gd name="T79" fmla="*/ 25003 h 52"/>
                <a:gd name="T80" fmla="*/ 173570 w 134"/>
                <a:gd name="T81" fmla="*/ 38466 h 52"/>
                <a:gd name="T82" fmla="*/ 173570 w 134"/>
                <a:gd name="T83" fmla="*/ 44236 h 52"/>
                <a:gd name="T84" fmla="*/ 185014 w 134"/>
                <a:gd name="T85" fmla="*/ 46159 h 52"/>
                <a:gd name="T86" fmla="*/ 202181 w 134"/>
                <a:gd name="T87" fmla="*/ 55776 h 52"/>
                <a:gd name="T88" fmla="*/ 207903 w 134"/>
                <a:gd name="T89" fmla="*/ 63469 h 52"/>
                <a:gd name="T90" fmla="*/ 221254 w 134"/>
                <a:gd name="T91" fmla="*/ 65392 h 52"/>
                <a:gd name="T92" fmla="*/ 213625 w 134"/>
                <a:gd name="T93" fmla="*/ 75009 h 52"/>
                <a:gd name="T94" fmla="*/ 230791 w 134"/>
                <a:gd name="T95" fmla="*/ 73086 h 52"/>
                <a:gd name="T96" fmla="*/ 244143 w 134"/>
                <a:gd name="T97" fmla="*/ 76932 h 52"/>
                <a:gd name="T98" fmla="*/ 246050 w 134"/>
                <a:gd name="T99" fmla="*/ 82702 h 5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34"/>
                <a:gd name="T151" fmla="*/ 0 h 52"/>
                <a:gd name="T152" fmla="*/ 134 w 134"/>
                <a:gd name="T153" fmla="*/ 52 h 5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34" h="52">
                  <a:moveTo>
                    <a:pt x="129" y="43"/>
                  </a:moveTo>
                  <a:cubicBezTo>
                    <a:pt x="130" y="44"/>
                    <a:pt x="134" y="44"/>
                    <a:pt x="133" y="45"/>
                  </a:cubicBezTo>
                  <a:cubicBezTo>
                    <a:pt x="131" y="47"/>
                    <a:pt x="127" y="47"/>
                    <a:pt x="125" y="48"/>
                  </a:cubicBezTo>
                  <a:cubicBezTo>
                    <a:pt x="122" y="49"/>
                    <a:pt x="119" y="51"/>
                    <a:pt x="115" y="51"/>
                  </a:cubicBezTo>
                  <a:cubicBezTo>
                    <a:pt x="110" y="51"/>
                    <a:pt x="105" y="50"/>
                    <a:pt x="100" y="50"/>
                  </a:cubicBezTo>
                  <a:cubicBezTo>
                    <a:pt x="99" y="50"/>
                    <a:pt x="97" y="52"/>
                    <a:pt x="96" y="52"/>
                  </a:cubicBezTo>
                  <a:cubicBezTo>
                    <a:pt x="93" y="52"/>
                    <a:pt x="90" y="52"/>
                    <a:pt x="87" y="51"/>
                  </a:cubicBezTo>
                  <a:cubicBezTo>
                    <a:pt x="87" y="51"/>
                    <a:pt x="88" y="50"/>
                    <a:pt x="88" y="49"/>
                  </a:cubicBezTo>
                  <a:cubicBezTo>
                    <a:pt x="90" y="47"/>
                    <a:pt x="94" y="46"/>
                    <a:pt x="95" y="43"/>
                  </a:cubicBezTo>
                  <a:cubicBezTo>
                    <a:pt x="95" y="42"/>
                    <a:pt x="94" y="41"/>
                    <a:pt x="93" y="40"/>
                  </a:cubicBezTo>
                  <a:cubicBezTo>
                    <a:pt x="90" y="39"/>
                    <a:pt x="87" y="40"/>
                    <a:pt x="84" y="39"/>
                  </a:cubicBezTo>
                  <a:cubicBezTo>
                    <a:pt x="82" y="38"/>
                    <a:pt x="79" y="36"/>
                    <a:pt x="78" y="34"/>
                  </a:cubicBezTo>
                  <a:cubicBezTo>
                    <a:pt x="77" y="31"/>
                    <a:pt x="79" y="28"/>
                    <a:pt x="77" y="25"/>
                  </a:cubicBezTo>
                  <a:cubicBezTo>
                    <a:pt x="76" y="23"/>
                    <a:pt x="72" y="25"/>
                    <a:pt x="69" y="25"/>
                  </a:cubicBezTo>
                  <a:cubicBezTo>
                    <a:pt x="66" y="24"/>
                    <a:pt x="62" y="24"/>
                    <a:pt x="59" y="22"/>
                  </a:cubicBezTo>
                  <a:cubicBezTo>
                    <a:pt x="57" y="21"/>
                    <a:pt x="57" y="18"/>
                    <a:pt x="55" y="17"/>
                  </a:cubicBezTo>
                  <a:cubicBezTo>
                    <a:pt x="53" y="17"/>
                    <a:pt x="50" y="18"/>
                    <a:pt x="48" y="18"/>
                  </a:cubicBezTo>
                  <a:cubicBezTo>
                    <a:pt x="46" y="18"/>
                    <a:pt x="44" y="16"/>
                    <a:pt x="42" y="16"/>
                  </a:cubicBezTo>
                  <a:cubicBezTo>
                    <a:pt x="40" y="15"/>
                    <a:pt x="36" y="16"/>
                    <a:pt x="34" y="15"/>
                  </a:cubicBezTo>
                  <a:cubicBezTo>
                    <a:pt x="33" y="15"/>
                    <a:pt x="35" y="14"/>
                    <a:pt x="36" y="13"/>
                  </a:cubicBezTo>
                  <a:cubicBezTo>
                    <a:pt x="37" y="12"/>
                    <a:pt x="40" y="12"/>
                    <a:pt x="39" y="11"/>
                  </a:cubicBezTo>
                  <a:cubicBezTo>
                    <a:pt x="37" y="9"/>
                    <a:pt x="33" y="8"/>
                    <a:pt x="30" y="8"/>
                  </a:cubicBezTo>
                  <a:cubicBezTo>
                    <a:pt x="27" y="9"/>
                    <a:pt x="24" y="11"/>
                    <a:pt x="20" y="12"/>
                  </a:cubicBezTo>
                  <a:cubicBezTo>
                    <a:pt x="17" y="14"/>
                    <a:pt x="14" y="15"/>
                    <a:pt x="12" y="17"/>
                  </a:cubicBezTo>
                  <a:cubicBezTo>
                    <a:pt x="9" y="18"/>
                    <a:pt x="8" y="22"/>
                    <a:pt x="6" y="22"/>
                  </a:cubicBezTo>
                  <a:cubicBezTo>
                    <a:pt x="4" y="23"/>
                    <a:pt x="1" y="22"/>
                    <a:pt x="0" y="20"/>
                  </a:cubicBezTo>
                  <a:cubicBezTo>
                    <a:pt x="0" y="19"/>
                    <a:pt x="4" y="19"/>
                    <a:pt x="5" y="17"/>
                  </a:cubicBezTo>
                  <a:cubicBezTo>
                    <a:pt x="6" y="15"/>
                    <a:pt x="6" y="11"/>
                    <a:pt x="8" y="10"/>
                  </a:cubicBezTo>
                  <a:cubicBezTo>
                    <a:pt x="12" y="7"/>
                    <a:pt x="16" y="6"/>
                    <a:pt x="20" y="4"/>
                  </a:cubicBezTo>
                  <a:cubicBezTo>
                    <a:pt x="24" y="3"/>
                    <a:pt x="29" y="1"/>
                    <a:pt x="34" y="0"/>
                  </a:cubicBezTo>
                  <a:cubicBezTo>
                    <a:pt x="38" y="0"/>
                    <a:pt x="42" y="1"/>
                    <a:pt x="46" y="2"/>
                  </a:cubicBezTo>
                  <a:cubicBezTo>
                    <a:pt x="48" y="2"/>
                    <a:pt x="51" y="2"/>
                    <a:pt x="54" y="3"/>
                  </a:cubicBezTo>
                  <a:cubicBezTo>
                    <a:pt x="55" y="3"/>
                    <a:pt x="56" y="4"/>
                    <a:pt x="57" y="5"/>
                  </a:cubicBezTo>
                  <a:cubicBezTo>
                    <a:pt x="59" y="5"/>
                    <a:pt x="61" y="4"/>
                    <a:pt x="63" y="6"/>
                  </a:cubicBezTo>
                  <a:cubicBezTo>
                    <a:pt x="66" y="7"/>
                    <a:pt x="65" y="12"/>
                    <a:pt x="68" y="13"/>
                  </a:cubicBezTo>
                  <a:cubicBezTo>
                    <a:pt x="72" y="15"/>
                    <a:pt x="76" y="13"/>
                    <a:pt x="80" y="14"/>
                  </a:cubicBezTo>
                  <a:cubicBezTo>
                    <a:pt x="82" y="15"/>
                    <a:pt x="83" y="19"/>
                    <a:pt x="85" y="21"/>
                  </a:cubicBezTo>
                  <a:cubicBezTo>
                    <a:pt x="86" y="21"/>
                    <a:pt x="88" y="20"/>
                    <a:pt x="87" y="20"/>
                  </a:cubicBezTo>
                  <a:cubicBezTo>
                    <a:pt x="86" y="17"/>
                    <a:pt x="83" y="16"/>
                    <a:pt x="82" y="14"/>
                  </a:cubicBezTo>
                  <a:cubicBezTo>
                    <a:pt x="82" y="13"/>
                    <a:pt x="83" y="12"/>
                    <a:pt x="84" y="13"/>
                  </a:cubicBezTo>
                  <a:cubicBezTo>
                    <a:pt x="86" y="15"/>
                    <a:pt x="89" y="17"/>
                    <a:pt x="91" y="20"/>
                  </a:cubicBezTo>
                  <a:cubicBezTo>
                    <a:pt x="92" y="21"/>
                    <a:pt x="90" y="22"/>
                    <a:pt x="91" y="23"/>
                  </a:cubicBezTo>
                  <a:cubicBezTo>
                    <a:pt x="92" y="24"/>
                    <a:pt x="95" y="23"/>
                    <a:pt x="97" y="24"/>
                  </a:cubicBezTo>
                  <a:cubicBezTo>
                    <a:pt x="100" y="25"/>
                    <a:pt x="103" y="27"/>
                    <a:pt x="106" y="29"/>
                  </a:cubicBezTo>
                  <a:cubicBezTo>
                    <a:pt x="107" y="30"/>
                    <a:pt x="108" y="32"/>
                    <a:pt x="109" y="33"/>
                  </a:cubicBezTo>
                  <a:cubicBezTo>
                    <a:pt x="111" y="34"/>
                    <a:pt x="115" y="32"/>
                    <a:pt x="116" y="34"/>
                  </a:cubicBezTo>
                  <a:cubicBezTo>
                    <a:pt x="117" y="36"/>
                    <a:pt x="110" y="38"/>
                    <a:pt x="112" y="39"/>
                  </a:cubicBezTo>
                  <a:cubicBezTo>
                    <a:pt x="115" y="41"/>
                    <a:pt x="118" y="38"/>
                    <a:pt x="121" y="38"/>
                  </a:cubicBezTo>
                  <a:cubicBezTo>
                    <a:pt x="124" y="38"/>
                    <a:pt x="126" y="39"/>
                    <a:pt x="128" y="40"/>
                  </a:cubicBezTo>
                  <a:cubicBezTo>
                    <a:pt x="128" y="41"/>
                    <a:pt x="128" y="43"/>
                    <a:pt x="129" y="4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0" name="Freeform 1021"/>
            <p:cNvSpPr>
              <a:spLocks noChangeAspect="1"/>
            </p:cNvSpPr>
            <p:nvPr/>
          </p:nvSpPr>
          <p:spPr bwMode="auto">
            <a:xfrm>
              <a:off x="2551113" y="3589338"/>
              <a:ext cx="17462" cy="14287"/>
            </a:xfrm>
            <a:custGeom>
              <a:avLst/>
              <a:gdLst>
                <a:gd name="T0" fmla="*/ 9701 w 9"/>
                <a:gd name="T1" fmla="*/ 0 h 8"/>
                <a:gd name="T2" fmla="*/ 15522 w 9"/>
                <a:gd name="T3" fmla="*/ 10715 h 8"/>
                <a:gd name="T4" fmla="*/ 1940 w 9"/>
                <a:gd name="T5" fmla="*/ 12501 h 8"/>
                <a:gd name="T6" fmla="*/ 3880 w 9"/>
                <a:gd name="T7" fmla="*/ 7144 h 8"/>
                <a:gd name="T8" fmla="*/ 1940 w 9"/>
                <a:gd name="T9" fmla="*/ 1786 h 8"/>
                <a:gd name="T10" fmla="*/ 9701 w 9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8"/>
                <a:gd name="T20" fmla="*/ 9 w 9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8">
                  <a:moveTo>
                    <a:pt x="5" y="0"/>
                  </a:moveTo>
                  <a:cubicBezTo>
                    <a:pt x="6" y="2"/>
                    <a:pt x="9" y="4"/>
                    <a:pt x="8" y="6"/>
                  </a:cubicBezTo>
                  <a:cubicBezTo>
                    <a:pt x="7" y="8"/>
                    <a:pt x="3" y="8"/>
                    <a:pt x="1" y="7"/>
                  </a:cubicBezTo>
                  <a:cubicBezTo>
                    <a:pt x="0" y="7"/>
                    <a:pt x="2" y="5"/>
                    <a:pt x="2" y="4"/>
                  </a:cubicBezTo>
                  <a:cubicBezTo>
                    <a:pt x="2" y="3"/>
                    <a:pt x="1" y="2"/>
                    <a:pt x="1" y="1"/>
                  </a:cubicBezTo>
                  <a:cubicBezTo>
                    <a:pt x="2" y="0"/>
                    <a:pt x="4" y="0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1" name="Freeform 1022"/>
            <p:cNvSpPr>
              <a:spLocks noChangeAspect="1"/>
            </p:cNvSpPr>
            <p:nvPr/>
          </p:nvSpPr>
          <p:spPr bwMode="auto">
            <a:xfrm>
              <a:off x="2673350" y="3495675"/>
              <a:ext cx="14288" cy="22225"/>
            </a:xfrm>
            <a:custGeom>
              <a:avLst/>
              <a:gdLst>
                <a:gd name="T0" fmla="*/ 10206 w 7"/>
                <a:gd name="T1" fmla="*/ 1852 h 12"/>
                <a:gd name="T2" fmla="*/ 6123 w 7"/>
                <a:gd name="T3" fmla="*/ 1852 h 12"/>
                <a:gd name="T4" fmla="*/ 0 w 7"/>
                <a:gd name="T5" fmla="*/ 14817 h 12"/>
                <a:gd name="T6" fmla="*/ 6123 w 7"/>
                <a:gd name="T7" fmla="*/ 20373 h 12"/>
                <a:gd name="T8" fmla="*/ 14288 w 7"/>
                <a:gd name="T9" fmla="*/ 16669 h 12"/>
                <a:gd name="T10" fmla="*/ 10206 w 7"/>
                <a:gd name="T11" fmla="*/ 1852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2"/>
                <a:gd name="T20" fmla="*/ 7 w 7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2">
                  <a:moveTo>
                    <a:pt x="5" y="1"/>
                  </a:moveTo>
                  <a:cubicBezTo>
                    <a:pt x="5" y="0"/>
                    <a:pt x="3" y="0"/>
                    <a:pt x="3" y="1"/>
                  </a:cubicBezTo>
                  <a:cubicBezTo>
                    <a:pt x="1" y="3"/>
                    <a:pt x="0" y="5"/>
                    <a:pt x="0" y="8"/>
                  </a:cubicBezTo>
                  <a:cubicBezTo>
                    <a:pt x="0" y="9"/>
                    <a:pt x="1" y="11"/>
                    <a:pt x="3" y="11"/>
                  </a:cubicBezTo>
                  <a:cubicBezTo>
                    <a:pt x="5" y="12"/>
                    <a:pt x="6" y="10"/>
                    <a:pt x="7" y="9"/>
                  </a:cubicBezTo>
                  <a:cubicBezTo>
                    <a:pt x="7" y="6"/>
                    <a:pt x="7" y="3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2" name="Freeform 1023"/>
            <p:cNvSpPr>
              <a:spLocks noChangeAspect="1"/>
            </p:cNvSpPr>
            <p:nvPr/>
          </p:nvSpPr>
          <p:spPr bwMode="auto">
            <a:xfrm>
              <a:off x="2659063" y="3448050"/>
              <a:ext cx="31750" cy="7938"/>
            </a:xfrm>
            <a:custGeom>
              <a:avLst/>
              <a:gdLst>
                <a:gd name="T0" fmla="*/ 28015 w 17"/>
                <a:gd name="T1" fmla="*/ 0 h 4"/>
                <a:gd name="T2" fmla="*/ 29882 w 17"/>
                <a:gd name="T3" fmla="*/ 3969 h 4"/>
                <a:gd name="T4" fmla="*/ 20544 w 17"/>
                <a:gd name="T5" fmla="*/ 3969 h 4"/>
                <a:gd name="T6" fmla="*/ 7471 w 17"/>
                <a:gd name="T7" fmla="*/ 7938 h 4"/>
                <a:gd name="T8" fmla="*/ 1868 w 17"/>
                <a:gd name="T9" fmla="*/ 1985 h 4"/>
                <a:gd name="T10" fmla="*/ 11206 w 17"/>
                <a:gd name="T11" fmla="*/ 1985 h 4"/>
                <a:gd name="T12" fmla="*/ 22412 w 17"/>
                <a:gd name="T13" fmla="*/ 0 h 4"/>
                <a:gd name="T14" fmla="*/ 28015 w 17"/>
                <a:gd name="T15" fmla="*/ 0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4"/>
                <a:gd name="T26" fmla="*/ 17 w 17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4">
                  <a:moveTo>
                    <a:pt x="15" y="0"/>
                  </a:moveTo>
                  <a:cubicBezTo>
                    <a:pt x="16" y="1"/>
                    <a:pt x="17" y="2"/>
                    <a:pt x="16" y="2"/>
                  </a:cubicBezTo>
                  <a:cubicBezTo>
                    <a:pt x="15" y="3"/>
                    <a:pt x="13" y="2"/>
                    <a:pt x="11" y="2"/>
                  </a:cubicBezTo>
                  <a:cubicBezTo>
                    <a:pt x="9" y="2"/>
                    <a:pt x="7" y="4"/>
                    <a:pt x="4" y="4"/>
                  </a:cubicBezTo>
                  <a:cubicBezTo>
                    <a:pt x="3" y="4"/>
                    <a:pt x="0" y="2"/>
                    <a:pt x="1" y="1"/>
                  </a:cubicBezTo>
                  <a:cubicBezTo>
                    <a:pt x="2" y="0"/>
                    <a:pt x="4" y="1"/>
                    <a:pt x="6" y="1"/>
                  </a:cubicBezTo>
                  <a:cubicBezTo>
                    <a:pt x="8" y="1"/>
                    <a:pt x="10" y="0"/>
                    <a:pt x="12" y="0"/>
                  </a:cubicBezTo>
                  <a:cubicBezTo>
                    <a:pt x="13" y="0"/>
                    <a:pt x="14" y="0"/>
                    <a:pt x="1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3" name="Freeform 1024"/>
            <p:cNvSpPr>
              <a:spLocks noChangeAspect="1"/>
            </p:cNvSpPr>
            <p:nvPr/>
          </p:nvSpPr>
          <p:spPr bwMode="auto">
            <a:xfrm>
              <a:off x="2693988" y="3441700"/>
              <a:ext cx="14287" cy="36513"/>
            </a:xfrm>
            <a:custGeom>
              <a:avLst/>
              <a:gdLst>
                <a:gd name="T0" fmla="*/ 2041 w 7"/>
                <a:gd name="T1" fmla="*/ 1922 h 19"/>
                <a:gd name="T2" fmla="*/ 4082 w 7"/>
                <a:gd name="T3" fmla="*/ 9609 h 19"/>
                <a:gd name="T4" fmla="*/ 10205 w 7"/>
                <a:gd name="T5" fmla="*/ 11530 h 19"/>
                <a:gd name="T6" fmla="*/ 6123 w 7"/>
                <a:gd name="T7" fmla="*/ 24983 h 19"/>
                <a:gd name="T8" fmla="*/ 2041 w 7"/>
                <a:gd name="T9" fmla="*/ 30748 h 19"/>
                <a:gd name="T10" fmla="*/ 6123 w 7"/>
                <a:gd name="T11" fmla="*/ 34591 h 19"/>
                <a:gd name="T12" fmla="*/ 8164 w 7"/>
                <a:gd name="T13" fmla="*/ 28826 h 19"/>
                <a:gd name="T14" fmla="*/ 14287 w 7"/>
                <a:gd name="T15" fmla="*/ 13452 h 19"/>
                <a:gd name="T16" fmla="*/ 14287 w 7"/>
                <a:gd name="T17" fmla="*/ 9609 h 19"/>
                <a:gd name="T18" fmla="*/ 8164 w 7"/>
                <a:gd name="T19" fmla="*/ 5765 h 19"/>
                <a:gd name="T20" fmla="*/ 2041 w 7"/>
                <a:gd name="T21" fmla="*/ 1922 h 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19"/>
                <a:gd name="T35" fmla="*/ 7 w 7"/>
                <a:gd name="T36" fmla="*/ 19 h 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19">
                  <a:moveTo>
                    <a:pt x="1" y="1"/>
                  </a:moveTo>
                  <a:cubicBezTo>
                    <a:pt x="0" y="2"/>
                    <a:pt x="1" y="4"/>
                    <a:pt x="2" y="5"/>
                  </a:cubicBezTo>
                  <a:cubicBezTo>
                    <a:pt x="3" y="6"/>
                    <a:pt x="5" y="5"/>
                    <a:pt x="5" y="6"/>
                  </a:cubicBezTo>
                  <a:cubicBezTo>
                    <a:pt x="6" y="9"/>
                    <a:pt x="4" y="11"/>
                    <a:pt x="3" y="13"/>
                  </a:cubicBezTo>
                  <a:cubicBezTo>
                    <a:pt x="3" y="14"/>
                    <a:pt x="1" y="15"/>
                    <a:pt x="1" y="16"/>
                  </a:cubicBezTo>
                  <a:cubicBezTo>
                    <a:pt x="1" y="17"/>
                    <a:pt x="2" y="19"/>
                    <a:pt x="3" y="18"/>
                  </a:cubicBezTo>
                  <a:cubicBezTo>
                    <a:pt x="4" y="18"/>
                    <a:pt x="4" y="16"/>
                    <a:pt x="4" y="15"/>
                  </a:cubicBezTo>
                  <a:cubicBezTo>
                    <a:pt x="5" y="12"/>
                    <a:pt x="6" y="10"/>
                    <a:pt x="7" y="7"/>
                  </a:cubicBezTo>
                  <a:cubicBezTo>
                    <a:pt x="7" y="6"/>
                    <a:pt x="7" y="6"/>
                    <a:pt x="7" y="5"/>
                  </a:cubicBezTo>
                  <a:cubicBezTo>
                    <a:pt x="6" y="4"/>
                    <a:pt x="5" y="4"/>
                    <a:pt x="4" y="3"/>
                  </a:cubicBezTo>
                  <a:cubicBezTo>
                    <a:pt x="3" y="2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4" name="Freeform 1025"/>
            <p:cNvSpPr>
              <a:spLocks noChangeAspect="1"/>
            </p:cNvSpPr>
            <p:nvPr/>
          </p:nvSpPr>
          <p:spPr bwMode="auto">
            <a:xfrm>
              <a:off x="2711450" y="3487738"/>
              <a:ext cx="14288" cy="22225"/>
            </a:xfrm>
            <a:custGeom>
              <a:avLst/>
              <a:gdLst>
                <a:gd name="T0" fmla="*/ 0 w 7"/>
                <a:gd name="T1" fmla="*/ 1852 h 12"/>
                <a:gd name="T2" fmla="*/ 10206 w 7"/>
                <a:gd name="T3" fmla="*/ 9260 h 12"/>
                <a:gd name="T4" fmla="*/ 12247 w 7"/>
                <a:gd name="T5" fmla="*/ 20373 h 12"/>
                <a:gd name="T6" fmla="*/ 14288 w 7"/>
                <a:gd name="T7" fmla="*/ 18521 h 12"/>
                <a:gd name="T8" fmla="*/ 12247 w 7"/>
                <a:gd name="T9" fmla="*/ 7408 h 12"/>
                <a:gd name="T10" fmla="*/ 6123 w 7"/>
                <a:gd name="T11" fmla="*/ 0 h 12"/>
                <a:gd name="T12" fmla="*/ 0 w 7"/>
                <a:gd name="T13" fmla="*/ 1852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2"/>
                <a:gd name="T23" fmla="*/ 7 w 7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2">
                  <a:moveTo>
                    <a:pt x="0" y="1"/>
                  </a:moveTo>
                  <a:cubicBezTo>
                    <a:pt x="1" y="3"/>
                    <a:pt x="4" y="3"/>
                    <a:pt x="5" y="5"/>
                  </a:cubicBezTo>
                  <a:cubicBezTo>
                    <a:pt x="6" y="7"/>
                    <a:pt x="5" y="9"/>
                    <a:pt x="6" y="11"/>
                  </a:cubicBezTo>
                  <a:cubicBezTo>
                    <a:pt x="6" y="12"/>
                    <a:pt x="7" y="11"/>
                    <a:pt x="7" y="10"/>
                  </a:cubicBezTo>
                  <a:cubicBezTo>
                    <a:pt x="7" y="8"/>
                    <a:pt x="7" y="6"/>
                    <a:pt x="6" y="4"/>
                  </a:cubicBezTo>
                  <a:cubicBezTo>
                    <a:pt x="6" y="2"/>
                    <a:pt x="4" y="1"/>
                    <a:pt x="3" y="0"/>
                  </a:cubicBezTo>
                  <a:cubicBezTo>
                    <a:pt x="2" y="0"/>
                    <a:pt x="0" y="0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5" name="Freeform 1026"/>
            <p:cNvSpPr>
              <a:spLocks noChangeAspect="1"/>
            </p:cNvSpPr>
            <p:nvPr/>
          </p:nvSpPr>
          <p:spPr bwMode="auto">
            <a:xfrm>
              <a:off x="2754313" y="2914650"/>
              <a:ext cx="12700" cy="9525"/>
            </a:xfrm>
            <a:custGeom>
              <a:avLst/>
              <a:gdLst>
                <a:gd name="T0" fmla="*/ 10886 w 7"/>
                <a:gd name="T1" fmla="*/ 1905 h 5"/>
                <a:gd name="T2" fmla="*/ 10886 w 7"/>
                <a:gd name="T3" fmla="*/ 5715 h 5"/>
                <a:gd name="T4" fmla="*/ 5443 w 7"/>
                <a:gd name="T5" fmla="*/ 7620 h 5"/>
                <a:gd name="T6" fmla="*/ 0 w 7"/>
                <a:gd name="T7" fmla="*/ 3810 h 5"/>
                <a:gd name="T8" fmla="*/ 3629 w 7"/>
                <a:gd name="T9" fmla="*/ 0 h 5"/>
                <a:gd name="T10" fmla="*/ 10886 w 7"/>
                <a:gd name="T11" fmla="*/ 190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5"/>
                <a:gd name="T20" fmla="*/ 7 w 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5">
                  <a:moveTo>
                    <a:pt x="6" y="1"/>
                  </a:moveTo>
                  <a:cubicBezTo>
                    <a:pt x="7" y="1"/>
                    <a:pt x="7" y="3"/>
                    <a:pt x="6" y="3"/>
                  </a:cubicBezTo>
                  <a:cubicBezTo>
                    <a:pt x="5" y="4"/>
                    <a:pt x="4" y="5"/>
                    <a:pt x="3" y="4"/>
                  </a:cubicBezTo>
                  <a:cubicBezTo>
                    <a:pt x="2" y="4"/>
                    <a:pt x="0" y="3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3" y="0"/>
                    <a:pt x="5" y="0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6" name="Freeform 1027"/>
            <p:cNvSpPr>
              <a:spLocks noChangeAspect="1"/>
            </p:cNvSpPr>
            <p:nvPr/>
          </p:nvSpPr>
          <p:spPr bwMode="auto">
            <a:xfrm>
              <a:off x="2627313" y="2854325"/>
              <a:ext cx="36512" cy="12700"/>
            </a:xfrm>
            <a:custGeom>
              <a:avLst/>
              <a:gdLst>
                <a:gd name="T0" fmla="*/ 36512 w 19"/>
                <a:gd name="T1" fmla="*/ 6350 h 6"/>
                <a:gd name="T2" fmla="*/ 28825 w 19"/>
                <a:gd name="T3" fmla="*/ 12700 h 6"/>
                <a:gd name="T4" fmla="*/ 21139 w 19"/>
                <a:gd name="T5" fmla="*/ 10583 h 6"/>
                <a:gd name="T6" fmla="*/ 7687 w 19"/>
                <a:gd name="T7" fmla="*/ 6350 h 6"/>
                <a:gd name="T8" fmla="*/ 0 w 19"/>
                <a:gd name="T9" fmla="*/ 2117 h 6"/>
                <a:gd name="T10" fmla="*/ 7687 w 19"/>
                <a:gd name="T11" fmla="*/ 2117 h 6"/>
                <a:gd name="T12" fmla="*/ 13452 w 19"/>
                <a:gd name="T13" fmla="*/ 4233 h 6"/>
                <a:gd name="T14" fmla="*/ 17295 w 19"/>
                <a:gd name="T15" fmla="*/ 2117 h 6"/>
                <a:gd name="T16" fmla="*/ 28825 w 19"/>
                <a:gd name="T17" fmla="*/ 4233 h 6"/>
                <a:gd name="T18" fmla="*/ 36512 w 19"/>
                <a:gd name="T19" fmla="*/ 635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19" y="3"/>
                  </a:moveTo>
                  <a:cubicBezTo>
                    <a:pt x="19" y="5"/>
                    <a:pt x="17" y="6"/>
                    <a:pt x="15" y="6"/>
                  </a:cubicBezTo>
                  <a:cubicBezTo>
                    <a:pt x="14" y="6"/>
                    <a:pt x="12" y="5"/>
                    <a:pt x="11" y="5"/>
                  </a:cubicBezTo>
                  <a:cubicBezTo>
                    <a:pt x="8" y="4"/>
                    <a:pt x="6" y="4"/>
                    <a:pt x="4" y="3"/>
                  </a:cubicBezTo>
                  <a:cubicBezTo>
                    <a:pt x="3" y="3"/>
                    <a:pt x="0" y="2"/>
                    <a:pt x="0" y="1"/>
                  </a:cubicBezTo>
                  <a:cubicBezTo>
                    <a:pt x="0" y="0"/>
                    <a:pt x="3" y="1"/>
                    <a:pt x="4" y="1"/>
                  </a:cubicBezTo>
                  <a:cubicBezTo>
                    <a:pt x="5" y="1"/>
                    <a:pt x="6" y="2"/>
                    <a:pt x="7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11" y="1"/>
                    <a:pt x="13" y="1"/>
                    <a:pt x="15" y="2"/>
                  </a:cubicBezTo>
                  <a:cubicBezTo>
                    <a:pt x="16" y="2"/>
                    <a:pt x="19" y="2"/>
                    <a:pt x="19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7" name="Freeform 1028"/>
            <p:cNvSpPr>
              <a:spLocks noChangeAspect="1"/>
            </p:cNvSpPr>
            <p:nvPr/>
          </p:nvSpPr>
          <p:spPr bwMode="auto">
            <a:xfrm>
              <a:off x="2614613" y="2851150"/>
              <a:ext cx="7937" cy="6350"/>
            </a:xfrm>
            <a:custGeom>
              <a:avLst/>
              <a:gdLst>
                <a:gd name="T0" fmla="*/ 3969 w 4"/>
                <a:gd name="T1" fmla="*/ 0 h 3"/>
                <a:gd name="T2" fmla="*/ 0 w 4"/>
                <a:gd name="T3" fmla="*/ 2117 h 3"/>
                <a:gd name="T4" fmla="*/ 3969 w 4"/>
                <a:gd name="T5" fmla="*/ 6350 h 3"/>
                <a:gd name="T6" fmla="*/ 7937 w 4"/>
                <a:gd name="T7" fmla="*/ 2117 h 3"/>
                <a:gd name="T8" fmla="*/ 3969 w 4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2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3" y="3"/>
                    <a:pt x="4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8" name="Freeform 1029"/>
            <p:cNvSpPr>
              <a:spLocks noChangeAspect="1"/>
            </p:cNvSpPr>
            <p:nvPr/>
          </p:nvSpPr>
          <p:spPr bwMode="auto">
            <a:xfrm>
              <a:off x="2501900" y="2782888"/>
              <a:ext cx="15875" cy="11112"/>
            </a:xfrm>
            <a:custGeom>
              <a:avLst/>
              <a:gdLst>
                <a:gd name="T0" fmla="*/ 1984 w 8"/>
                <a:gd name="T1" fmla="*/ 7408 h 6"/>
                <a:gd name="T2" fmla="*/ 3969 w 8"/>
                <a:gd name="T3" fmla="*/ 11112 h 6"/>
                <a:gd name="T4" fmla="*/ 15875 w 8"/>
                <a:gd name="T5" fmla="*/ 3704 h 6"/>
                <a:gd name="T6" fmla="*/ 13891 w 8"/>
                <a:gd name="T7" fmla="*/ 1852 h 6"/>
                <a:gd name="T8" fmla="*/ 1984 w 8"/>
                <a:gd name="T9" fmla="*/ 7408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1" y="4"/>
                  </a:moveTo>
                  <a:cubicBezTo>
                    <a:pt x="0" y="5"/>
                    <a:pt x="1" y="6"/>
                    <a:pt x="2" y="6"/>
                  </a:cubicBezTo>
                  <a:cubicBezTo>
                    <a:pt x="4" y="5"/>
                    <a:pt x="6" y="3"/>
                    <a:pt x="8" y="2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5" y="1"/>
                    <a:pt x="3" y="3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29" name="Freeform 1030"/>
            <p:cNvSpPr>
              <a:spLocks noChangeAspect="1"/>
            </p:cNvSpPr>
            <p:nvPr/>
          </p:nvSpPr>
          <p:spPr bwMode="auto">
            <a:xfrm>
              <a:off x="2530475" y="2762250"/>
              <a:ext cx="6350" cy="4763"/>
            </a:xfrm>
            <a:custGeom>
              <a:avLst/>
              <a:gdLst>
                <a:gd name="T0" fmla="*/ 2117 w 3"/>
                <a:gd name="T1" fmla="*/ 0 h 3"/>
                <a:gd name="T2" fmla="*/ 2117 w 3"/>
                <a:gd name="T3" fmla="*/ 4763 h 3"/>
                <a:gd name="T4" fmla="*/ 6350 w 3"/>
                <a:gd name="T5" fmla="*/ 4763 h 3"/>
                <a:gd name="T6" fmla="*/ 6350 w 3"/>
                <a:gd name="T7" fmla="*/ 1588 h 3"/>
                <a:gd name="T8" fmla="*/ 211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0"/>
                  </a:moveTo>
                  <a:cubicBezTo>
                    <a:pt x="1" y="1"/>
                    <a:pt x="0" y="2"/>
                    <a:pt x="1" y="3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0" name="Freeform 1031"/>
            <p:cNvSpPr>
              <a:spLocks noChangeAspect="1"/>
            </p:cNvSpPr>
            <p:nvPr/>
          </p:nvSpPr>
          <p:spPr bwMode="auto">
            <a:xfrm>
              <a:off x="2574925" y="2794000"/>
              <a:ext cx="7938" cy="6350"/>
            </a:xfrm>
            <a:custGeom>
              <a:avLst/>
              <a:gdLst>
                <a:gd name="T0" fmla="*/ 1985 w 4"/>
                <a:gd name="T1" fmla="*/ 2117 h 3"/>
                <a:gd name="T2" fmla="*/ 1985 w 4"/>
                <a:gd name="T3" fmla="*/ 6350 h 3"/>
                <a:gd name="T4" fmla="*/ 5953 w 4"/>
                <a:gd name="T5" fmla="*/ 4233 h 3"/>
                <a:gd name="T6" fmla="*/ 7938 w 4"/>
                <a:gd name="T7" fmla="*/ 2117 h 3"/>
                <a:gd name="T8" fmla="*/ 1985 w 4"/>
                <a:gd name="T9" fmla="*/ 211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3"/>
                <a:gd name="T17" fmla="*/ 4 w 4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3">
                  <a:moveTo>
                    <a:pt x="1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2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1" name="Freeform 1032"/>
            <p:cNvSpPr>
              <a:spLocks noChangeAspect="1"/>
            </p:cNvSpPr>
            <p:nvPr/>
          </p:nvSpPr>
          <p:spPr bwMode="auto">
            <a:xfrm>
              <a:off x="3128963" y="2820988"/>
              <a:ext cx="41275" cy="49212"/>
            </a:xfrm>
            <a:custGeom>
              <a:avLst/>
              <a:gdLst>
                <a:gd name="T0" fmla="*/ 20638 w 22"/>
                <a:gd name="T1" fmla="*/ 0 h 26"/>
                <a:gd name="T2" fmla="*/ 26266 w 22"/>
                <a:gd name="T3" fmla="*/ 11357 h 26"/>
                <a:gd name="T4" fmla="*/ 16885 w 22"/>
                <a:gd name="T5" fmla="*/ 28392 h 26"/>
                <a:gd name="T6" fmla="*/ 11257 w 22"/>
                <a:gd name="T7" fmla="*/ 39748 h 26"/>
                <a:gd name="T8" fmla="*/ 20638 w 22"/>
                <a:gd name="T9" fmla="*/ 39748 h 26"/>
                <a:gd name="T10" fmla="*/ 26266 w 22"/>
                <a:gd name="T11" fmla="*/ 26499 h 26"/>
                <a:gd name="T12" fmla="*/ 37523 w 22"/>
                <a:gd name="T13" fmla="*/ 26499 h 26"/>
                <a:gd name="T14" fmla="*/ 31894 w 22"/>
                <a:gd name="T15" fmla="*/ 39748 h 26"/>
                <a:gd name="T16" fmla="*/ 18761 w 22"/>
                <a:gd name="T17" fmla="*/ 49212 h 26"/>
                <a:gd name="T18" fmla="*/ 7505 w 22"/>
                <a:gd name="T19" fmla="*/ 45426 h 26"/>
                <a:gd name="T20" fmla="*/ 1876 w 22"/>
                <a:gd name="T21" fmla="*/ 35963 h 26"/>
                <a:gd name="T22" fmla="*/ 1876 w 22"/>
                <a:gd name="T23" fmla="*/ 22713 h 26"/>
                <a:gd name="T24" fmla="*/ 15009 w 22"/>
                <a:gd name="T25" fmla="*/ 3786 h 26"/>
                <a:gd name="T26" fmla="*/ 20638 w 22"/>
                <a:gd name="T27" fmla="*/ 0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2"/>
                <a:gd name="T43" fmla="*/ 0 h 26"/>
                <a:gd name="T44" fmla="*/ 22 w 22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2" h="26">
                  <a:moveTo>
                    <a:pt x="11" y="0"/>
                  </a:moveTo>
                  <a:cubicBezTo>
                    <a:pt x="13" y="1"/>
                    <a:pt x="15" y="4"/>
                    <a:pt x="14" y="6"/>
                  </a:cubicBezTo>
                  <a:cubicBezTo>
                    <a:pt x="14" y="10"/>
                    <a:pt x="11" y="12"/>
                    <a:pt x="9" y="15"/>
                  </a:cubicBezTo>
                  <a:cubicBezTo>
                    <a:pt x="8" y="17"/>
                    <a:pt x="6" y="19"/>
                    <a:pt x="6" y="21"/>
                  </a:cubicBezTo>
                  <a:cubicBezTo>
                    <a:pt x="7" y="22"/>
                    <a:pt x="10" y="22"/>
                    <a:pt x="11" y="21"/>
                  </a:cubicBezTo>
                  <a:cubicBezTo>
                    <a:pt x="12" y="20"/>
                    <a:pt x="12" y="16"/>
                    <a:pt x="14" y="14"/>
                  </a:cubicBezTo>
                  <a:cubicBezTo>
                    <a:pt x="15" y="13"/>
                    <a:pt x="19" y="12"/>
                    <a:pt x="20" y="14"/>
                  </a:cubicBezTo>
                  <a:cubicBezTo>
                    <a:pt x="22" y="16"/>
                    <a:pt x="19" y="19"/>
                    <a:pt x="17" y="21"/>
                  </a:cubicBezTo>
                  <a:cubicBezTo>
                    <a:pt x="15" y="23"/>
                    <a:pt x="13" y="25"/>
                    <a:pt x="10" y="26"/>
                  </a:cubicBezTo>
                  <a:cubicBezTo>
                    <a:pt x="8" y="26"/>
                    <a:pt x="6" y="25"/>
                    <a:pt x="4" y="24"/>
                  </a:cubicBezTo>
                  <a:cubicBezTo>
                    <a:pt x="3" y="23"/>
                    <a:pt x="1" y="21"/>
                    <a:pt x="1" y="19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3" y="8"/>
                    <a:pt x="5" y="5"/>
                    <a:pt x="8" y="2"/>
                  </a:cubicBezTo>
                  <a:cubicBezTo>
                    <a:pt x="9" y="1"/>
                    <a:pt x="10" y="0"/>
                    <a:pt x="1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2" name="Freeform 1033"/>
            <p:cNvSpPr>
              <a:spLocks noChangeAspect="1"/>
            </p:cNvSpPr>
            <p:nvPr/>
          </p:nvSpPr>
          <p:spPr bwMode="auto">
            <a:xfrm>
              <a:off x="3065463" y="2816225"/>
              <a:ext cx="53975" cy="38100"/>
            </a:xfrm>
            <a:custGeom>
              <a:avLst/>
              <a:gdLst>
                <a:gd name="T0" fmla="*/ 50120 w 28"/>
                <a:gd name="T1" fmla="*/ 20955 h 20"/>
                <a:gd name="T2" fmla="*/ 42409 w 28"/>
                <a:gd name="T3" fmla="*/ 26670 h 20"/>
                <a:gd name="T4" fmla="*/ 42409 w 28"/>
                <a:gd name="T5" fmla="*/ 36195 h 20"/>
                <a:gd name="T6" fmla="*/ 30843 w 28"/>
                <a:gd name="T7" fmla="*/ 34290 h 20"/>
                <a:gd name="T8" fmla="*/ 30843 w 28"/>
                <a:gd name="T9" fmla="*/ 26670 h 20"/>
                <a:gd name="T10" fmla="*/ 21204 w 28"/>
                <a:gd name="T11" fmla="*/ 30480 h 20"/>
                <a:gd name="T12" fmla="*/ 9638 w 28"/>
                <a:gd name="T13" fmla="*/ 22860 h 20"/>
                <a:gd name="T14" fmla="*/ 1928 w 28"/>
                <a:gd name="T15" fmla="*/ 19050 h 20"/>
                <a:gd name="T16" fmla="*/ 1928 w 28"/>
                <a:gd name="T17" fmla="*/ 7620 h 20"/>
                <a:gd name="T18" fmla="*/ 7711 w 28"/>
                <a:gd name="T19" fmla="*/ 1905 h 20"/>
                <a:gd name="T20" fmla="*/ 7711 w 28"/>
                <a:gd name="T21" fmla="*/ 13335 h 20"/>
                <a:gd name="T22" fmla="*/ 13494 w 28"/>
                <a:gd name="T23" fmla="*/ 19050 h 20"/>
                <a:gd name="T24" fmla="*/ 25060 w 28"/>
                <a:gd name="T25" fmla="*/ 22860 h 20"/>
                <a:gd name="T26" fmla="*/ 36626 w 28"/>
                <a:gd name="T27" fmla="*/ 20955 h 20"/>
                <a:gd name="T28" fmla="*/ 50120 w 28"/>
                <a:gd name="T29" fmla="*/ 20955 h 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8"/>
                <a:gd name="T46" fmla="*/ 0 h 20"/>
                <a:gd name="T47" fmla="*/ 28 w 28"/>
                <a:gd name="T48" fmla="*/ 20 h 2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8" h="20">
                  <a:moveTo>
                    <a:pt x="26" y="11"/>
                  </a:moveTo>
                  <a:cubicBezTo>
                    <a:pt x="28" y="13"/>
                    <a:pt x="23" y="13"/>
                    <a:pt x="22" y="14"/>
                  </a:cubicBezTo>
                  <a:cubicBezTo>
                    <a:pt x="21" y="16"/>
                    <a:pt x="23" y="18"/>
                    <a:pt x="22" y="19"/>
                  </a:cubicBezTo>
                  <a:cubicBezTo>
                    <a:pt x="20" y="20"/>
                    <a:pt x="18" y="19"/>
                    <a:pt x="16" y="18"/>
                  </a:cubicBezTo>
                  <a:cubicBezTo>
                    <a:pt x="16" y="17"/>
                    <a:pt x="17" y="15"/>
                    <a:pt x="16" y="14"/>
                  </a:cubicBezTo>
                  <a:cubicBezTo>
                    <a:pt x="14" y="14"/>
                    <a:pt x="13" y="16"/>
                    <a:pt x="11" y="16"/>
                  </a:cubicBezTo>
                  <a:cubicBezTo>
                    <a:pt x="8" y="16"/>
                    <a:pt x="7" y="13"/>
                    <a:pt x="5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0" y="8"/>
                    <a:pt x="1" y="6"/>
                    <a:pt x="1" y="4"/>
                  </a:cubicBezTo>
                  <a:cubicBezTo>
                    <a:pt x="2" y="3"/>
                    <a:pt x="3" y="0"/>
                    <a:pt x="4" y="1"/>
                  </a:cubicBezTo>
                  <a:cubicBezTo>
                    <a:pt x="5" y="2"/>
                    <a:pt x="3" y="5"/>
                    <a:pt x="4" y="7"/>
                  </a:cubicBezTo>
                  <a:cubicBezTo>
                    <a:pt x="4" y="8"/>
                    <a:pt x="5" y="9"/>
                    <a:pt x="7" y="10"/>
                  </a:cubicBezTo>
                  <a:cubicBezTo>
                    <a:pt x="9" y="11"/>
                    <a:pt x="11" y="11"/>
                    <a:pt x="13" y="12"/>
                  </a:cubicBezTo>
                  <a:cubicBezTo>
                    <a:pt x="15" y="12"/>
                    <a:pt x="17" y="11"/>
                    <a:pt x="19" y="11"/>
                  </a:cubicBezTo>
                  <a:cubicBezTo>
                    <a:pt x="22" y="11"/>
                    <a:pt x="25" y="9"/>
                    <a:pt x="26" y="1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3" name="Freeform 1034"/>
            <p:cNvSpPr>
              <a:spLocks noChangeAspect="1"/>
            </p:cNvSpPr>
            <p:nvPr/>
          </p:nvSpPr>
          <p:spPr bwMode="auto">
            <a:xfrm>
              <a:off x="3073400" y="2724150"/>
              <a:ext cx="63500" cy="28575"/>
            </a:xfrm>
            <a:custGeom>
              <a:avLst/>
              <a:gdLst>
                <a:gd name="T0" fmla="*/ 1924 w 33"/>
                <a:gd name="T1" fmla="*/ 3810 h 15"/>
                <a:gd name="T2" fmla="*/ 3848 w 33"/>
                <a:gd name="T3" fmla="*/ 0 h 15"/>
                <a:gd name="T4" fmla="*/ 36561 w 33"/>
                <a:gd name="T5" fmla="*/ 5715 h 15"/>
                <a:gd name="T6" fmla="*/ 57727 w 33"/>
                <a:gd name="T7" fmla="*/ 17145 h 15"/>
                <a:gd name="T8" fmla="*/ 61576 w 33"/>
                <a:gd name="T9" fmla="*/ 24765 h 15"/>
                <a:gd name="T10" fmla="*/ 36561 w 33"/>
                <a:gd name="T11" fmla="*/ 22860 h 15"/>
                <a:gd name="T12" fmla="*/ 17318 w 33"/>
                <a:gd name="T13" fmla="*/ 11430 h 15"/>
                <a:gd name="T14" fmla="*/ 1924 w 33"/>
                <a:gd name="T15" fmla="*/ 3810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3"/>
                <a:gd name="T25" fmla="*/ 0 h 15"/>
                <a:gd name="T26" fmla="*/ 33 w 33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3" h="15">
                  <a:moveTo>
                    <a:pt x="1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7" y="0"/>
                    <a:pt x="13" y="2"/>
                    <a:pt x="19" y="3"/>
                  </a:cubicBezTo>
                  <a:cubicBezTo>
                    <a:pt x="23" y="5"/>
                    <a:pt x="27" y="7"/>
                    <a:pt x="30" y="9"/>
                  </a:cubicBezTo>
                  <a:cubicBezTo>
                    <a:pt x="32" y="10"/>
                    <a:pt x="33" y="13"/>
                    <a:pt x="32" y="13"/>
                  </a:cubicBezTo>
                  <a:cubicBezTo>
                    <a:pt x="28" y="15"/>
                    <a:pt x="23" y="13"/>
                    <a:pt x="19" y="12"/>
                  </a:cubicBezTo>
                  <a:cubicBezTo>
                    <a:pt x="16" y="11"/>
                    <a:pt x="13" y="8"/>
                    <a:pt x="9" y="6"/>
                  </a:cubicBezTo>
                  <a:cubicBezTo>
                    <a:pt x="7" y="4"/>
                    <a:pt x="3" y="3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4" name="Freeform 1035"/>
            <p:cNvSpPr>
              <a:spLocks noChangeAspect="1"/>
            </p:cNvSpPr>
            <p:nvPr/>
          </p:nvSpPr>
          <p:spPr bwMode="auto">
            <a:xfrm>
              <a:off x="3121025" y="2794000"/>
              <a:ext cx="11113" cy="17463"/>
            </a:xfrm>
            <a:custGeom>
              <a:avLst/>
              <a:gdLst>
                <a:gd name="T0" fmla="*/ 9261 w 6"/>
                <a:gd name="T1" fmla="*/ 1940 h 9"/>
                <a:gd name="T2" fmla="*/ 0 w 6"/>
                <a:gd name="T3" fmla="*/ 17463 h 9"/>
                <a:gd name="T4" fmla="*/ 5557 w 6"/>
                <a:gd name="T5" fmla="*/ 15523 h 9"/>
                <a:gd name="T6" fmla="*/ 11113 w 6"/>
                <a:gd name="T7" fmla="*/ 1940 h 9"/>
                <a:gd name="T8" fmla="*/ 9261 w 6"/>
                <a:gd name="T9" fmla="*/ 194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5" y="1"/>
                  </a:moveTo>
                  <a:cubicBezTo>
                    <a:pt x="3" y="3"/>
                    <a:pt x="1" y="6"/>
                    <a:pt x="0" y="9"/>
                  </a:cubicBezTo>
                  <a:cubicBezTo>
                    <a:pt x="0" y="9"/>
                    <a:pt x="2" y="9"/>
                    <a:pt x="3" y="8"/>
                  </a:cubicBezTo>
                  <a:cubicBezTo>
                    <a:pt x="4" y="6"/>
                    <a:pt x="5" y="4"/>
                    <a:pt x="6" y="1"/>
                  </a:cubicBezTo>
                  <a:cubicBezTo>
                    <a:pt x="6" y="1"/>
                    <a:pt x="5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5" name="Freeform 1036"/>
            <p:cNvSpPr>
              <a:spLocks noChangeAspect="1"/>
            </p:cNvSpPr>
            <p:nvPr/>
          </p:nvSpPr>
          <p:spPr bwMode="auto">
            <a:xfrm>
              <a:off x="3182938" y="2668588"/>
              <a:ext cx="157162" cy="166687"/>
            </a:xfrm>
            <a:custGeom>
              <a:avLst/>
              <a:gdLst>
                <a:gd name="T0" fmla="*/ 100356 w 83"/>
                <a:gd name="T1" fmla="*/ 3788 h 88"/>
                <a:gd name="T2" fmla="*/ 88995 w 83"/>
                <a:gd name="T3" fmla="*/ 11365 h 88"/>
                <a:gd name="T4" fmla="*/ 87102 w 83"/>
                <a:gd name="T5" fmla="*/ 24624 h 88"/>
                <a:gd name="T6" fmla="*/ 70060 w 83"/>
                <a:gd name="T7" fmla="*/ 47354 h 88"/>
                <a:gd name="T8" fmla="*/ 68167 w 83"/>
                <a:gd name="T9" fmla="*/ 60613 h 88"/>
                <a:gd name="T10" fmla="*/ 79528 w 83"/>
                <a:gd name="T11" fmla="*/ 45460 h 88"/>
                <a:gd name="T12" fmla="*/ 88995 w 83"/>
                <a:gd name="T13" fmla="*/ 54931 h 88"/>
                <a:gd name="T14" fmla="*/ 79528 w 83"/>
                <a:gd name="T15" fmla="*/ 62508 h 88"/>
                <a:gd name="T16" fmla="*/ 100356 w 83"/>
                <a:gd name="T17" fmla="*/ 73873 h 88"/>
                <a:gd name="T18" fmla="*/ 109824 w 83"/>
                <a:gd name="T19" fmla="*/ 73873 h 88"/>
                <a:gd name="T20" fmla="*/ 117398 w 83"/>
                <a:gd name="T21" fmla="*/ 71978 h 88"/>
                <a:gd name="T22" fmla="*/ 124972 w 83"/>
                <a:gd name="T23" fmla="*/ 70084 h 88"/>
                <a:gd name="T24" fmla="*/ 136333 w 83"/>
                <a:gd name="T25" fmla="*/ 71978 h 88"/>
                <a:gd name="T26" fmla="*/ 123079 w 83"/>
                <a:gd name="T27" fmla="*/ 89026 h 88"/>
                <a:gd name="T28" fmla="*/ 124972 w 83"/>
                <a:gd name="T29" fmla="*/ 104179 h 88"/>
                <a:gd name="T30" fmla="*/ 140120 w 83"/>
                <a:gd name="T31" fmla="*/ 98497 h 88"/>
                <a:gd name="T32" fmla="*/ 140120 w 83"/>
                <a:gd name="T33" fmla="*/ 106074 h 88"/>
                <a:gd name="T34" fmla="*/ 124972 w 83"/>
                <a:gd name="T35" fmla="*/ 113650 h 88"/>
                <a:gd name="T36" fmla="*/ 128759 w 83"/>
                <a:gd name="T37" fmla="*/ 119333 h 88"/>
                <a:gd name="T38" fmla="*/ 124972 w 83"/>
                <a:gd name="T39" fmla="*/ 128804 h 88"/>
                <a:gd name="T40" fmla="*/ 130653 w 83"/>
                <a:gd name="T41" fmla="*/ 126909 h 88"/>
                <a:gd name="T42" fmla="*/ 143907 w 83"/>
                <a:gd name="T43" fmla="*/ 115544 h 88"/>
                <a:gd name="T44" fmla="*/ 145801 w 83"/>
                <a:gd name="T45" fmla="*/ 121227 h 88"/>
                <a:gd name="T46" fmla="*/ 140120 w 83"/>
                <a:gd name="T47" fmla="*/ 138274 h 88"/>
                <a:gd name="T48" fmla="*/ 151481 w 83"/>
                <a:gd name="T49" fmla="*/ 126909 h 88"/>
                <a:gd name="T50" fmla="*/ 147694 w 83"/>
                <a:gd name="T51" fmla="*/ 143957 h 88"/>
                <a:gd name="T52" fmla="*/ 140120 w 83"/>
                <a:gd name="T53" fmla="*/ 162899 h 88"/>
                <a:gd name="T54" fmla="*/ 126866 w 83"/>
                <a:gd name="T55" fmla="*/ 162899 h 88"/>
                <a:gd name="T56" fmla="*/ 126866 w 83"/>
                <a:gd name="T57" fmla="*/ 149639 h 88"/>
                <a:gd name="T58" fmla="*/ 113611 w 83"/>
                <a:gd name="T59" fmla="*/ 161004 h 88"/>
                <a:gd name="T60" fmla="*/ 121185 w 83"/>
                <a:gd name="T61" fmla="*/ 140169 h 88"/>
                <a:gd name="T62" fmla="*/ 119292 w 83"/>
                <a:gd name="T63" fmla="*/ 125015 h 88"/>
                <a:gd name="T64" fmla="*/ 111718 w 83"/>
                <a:gd name="T65" fmla="*/ 123121 h 88"/>
                <a:gd name="T66" fmla="*/ 107931 w 83"/>
                <a:gd name="T67" fmla="*/ 140169 h 88"/>
                <a:gd name="T68" fmla="*/ 94676 w 83"/>
                <a:gd name="T69" fmla="*/ 143957 h 88"/>
                <a:gd name="T70" fmla="*/ 85208 w 83"/>
                <a:gd name="T71" fmla="*/ 155322 h 88"/>
                <a:gd name="T72" fmla="*/ 71954 w 83"/>
                <a:gd name="T73" fmla="*/ 155322 h 88"/>
                <a:gd name="T74" fmla="*/ 90889 w 83"/>
                <a:gd name="T75" fmla="*/ 140169 h 88"/>
                <a:gd name="T76" fmla="*/ 96569 w 83"/>
                <a:gd name="T77" fmla="*/ 126909 h 88"/>
                <a:gd name="T78" fmla="*/ 83315 w 83"/>
                <a:gd name="T79" fmla="*/ 134486 h 88"/>
                <a:gd name="T80" fmla="*/ 70060 w 83"/>
                <a:gd name="T81" fmla="*/ 125015 h 88"/>
                <a:gd name="T82" fmla="*/ 43551 w 83"/>
                <a:gd name="T83" fmla="*/ 130698 h 88"/>
                <a:gd name="T84" fmla="*/ 20829 w 83"/>
                <a:gd name="T85" fmla="*/ 126909 h 88"/>
                <a:gd name="T86" fmla="*/ 5681 w 83"/>
                <a:gd name="T87" fmla="*/ 130698 h 88"/>
                <a:gd name="T88" fmla="*/ 0 w 83"/>
                <a:gd name="T89" fmla="*/ 119333 h 88"/>
                <a:gd name="T90" fmla="*/ 17042 w 83"/>
                <a:gd name="T91" fmla="*/ 104179 h 88"/>
                <a:gd name="T92" fmla="*/ 28403 w 83"/>
                <a:gd name="T93" fmla="*/ 96603 h 88"/>
                <a:gd name="T94" fmla="*/ 7574 w 83"/>
                <a:gd name="T95" fmla="*/ 96603 h 88"/>
                <a:gd name="T96" fmla="*/ 20829 w 83"/>
                <a:gd name="T97" fmla="*/ 85238 h 88"/>
                <a:gd name="T98" fmla="*/ 35977 w 83"/>
                <a:gd name="T99" fmla="*/ 83344 h 88"/>
                <a:gd name="T100" fmla="*/ 34083 w 83"/>
                <a:gd name="T101" fmla="*/ 73873 h 88"/>
                <a:gd name="T102" fmla="*/ 34083 w 83"/>
                <a:gd name="T103" fmla="*/ 66296 h 88"/>
                <a:gd name="T104" fmla="*/ 49231 w 83"/>
                <a:gd name="T105" fmla="*/ 49248 h 88"/>
                <a:gd name="T106" fmla="*/ 56806 w 83"/>
                <a:gd name="T107" fmla="*/ 32201 h 88"/>
                <a:gd name="T108" fmla="*/ 68167 w 83"/>
                <a:gd name="T109" fmla="*/ 13259 h 88"/>
                <a:gd name="T110" fmla="*/ 83315 w 83"/>
                <a:gd name="T111" fmla="*/ 1894 h 88"/>
                <a:gd name="T112" fmla="*/ 92782 w 83"/>
                <a:gd name="T113" fmla="*/ 1894 h 88"/>
                <a:gd name="T114" fmla="*/ 100356 w 83"/>
                <a:gd name="T115" fmla="*/ 3788 h 8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3"/>
                <a:gd name="T175" fmla="*/ 0 h 88"/>
                <a:gd name="T176" fmla="*/ 83 w 83"/>
                <a:gd name="T177" fmla="*/ 88 h 8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3" h="88">
                  <a:moveTo>
                    <a:pt x="53" y="2"/>
                  </a:moveTo>
                  <a:cubicBezTo>
                    <a:pt x="52" y="4"/>
                    <a:pt x="48" y="4"/>
                    <a:pt x="47" y="6"/>
                  </a:cubicBezTo>
                  <a:cubicBezTo>
                    <a:pt x="46" y="8"/>
                    <a:pt x="48" y="11"/>
                    <a:pt x="46" y="13"/>
                  </a:cubicBezTo>
                  <a:cubicBezTo>
                    <a:pt x="44" y="18"/>
                    <a:pt x="40" y="21"/>
                    <a:pt x="37" y="25"/>
                  </a:cubicBezTo>
                  <a:cubicBezTo>
                    <a:pt x="36" y="27"/>
                    <a:pt x="34" y="32"/>
                    <a:pt x="36" y="32"/>
                  </a:cubicBezTo>
                  <a:cubicBezTo>
                    <a:pt x="39" y="31"/>
                    <a:pt x="39" y="25"/>
                    <a:pt x="42" y="24"/>
                  </a:cubicBezTo>
                  <a:cubicBezTo>
                    <a:pt x="44" y="24"/>
                    <a:pt x="47" y="27"/>
                    <a:pt x="47" y="29"/>
                  </a:cubicBezTo>
                  <a:cubicBezTo>
                    <a:pt x="47" y="31"/>
                    <a:pt x="40" y="31"/>
                    <a:pt x="42" y="33"/>
                  </a:cubicBezTo>
                  <a:cubicBezTo>
                    <a:pt x="44" y="37"/>
                    <a:pt x="49" y="37"/>
                    <a:pt x="53" y="39"/>
                  </a:cubicBezTo>
                  <a:cubicBezTo>
                    <a:pt x="55" y="39"/>
                    <a:pt x="56" y="40"/>
                    <a:pt x="58" y="39"/>
                  </a:cubicBezTo>
                  <a:cubicBezTo>
                    <a:pt x="60" y="35"/>
                    <a:pt x="61" y="39"/>
                    <a:pt x="62" y="38"/>
                  </a:cubicBezTo>
                  <a:cubicBezTo>
                    <a:pt x="63" y="38"/>
                    <a:pt x="64" y="37"/>
                    <a:pt x="66" y="37"/>
                  </a:cubicBezTo>
                  <a:cubicBezTo>
                    <a:pt x="68" y="37"/>
                    <a:pt x="73" y="36"/>
                    <a:pt x="72" y="38"/>
                  </a:cubicBezTo>
                  <a:cubicBezTo>
                    <a:pt x="72" y="42"/>
                    <a:pt x="67" y="43"/>
                    <a:pt x="65" y="47"/>
                  </a:cubicBezTo>
                  <a:cubicBezTo>
                    <a:pt x="64" y="49"/>
                    <a:pt x="63" y="53"/>
                    <a:pt x="66" y="55"/>
                  </a:cubicBezTo>
                  <a:cubicBezTo>
                    <a:pt x="68" y="56"/>
                    <a:pt x="71" y="52"/>
                    <a:pt x="74" y="52"/>
                  </a:cubicBezTo>
                  <a:cubicBezTo>
                    <a:pt x="76" y="52"/>
                    <a:pt x="75" y="55"/>
                    <a:pt x="74" y="56"/>
                  </a:cubicBezTo>
                  <a:cubicBezTo>
                    <a:pt x="72" y="58"/>
                    <a:pt x="68" y="58"/>
                    <a:pt x="66" y="60"/>
                  </a:cubicBezTo>
                  <a:cubicBezTo>
                    <a:pt x="66" y="61"/>
                    <a:pt x="68" y="62"/>
                    <a:pt x="68" y="63"/>
                  </a:cubicBezTo>
                  <a:cubicBezTo>
                    <a:pt x="68" y="65"/>
                    <a:pt x="65" y="67"/>
                    <a:pt x="66" y="68"/>
                  </a:cubicBezTo>
                  <a:cubicBezTo>
                    <a:pt x="66" y="69"/>
                    <a:pt x="68" y="68"/>
                    <a:pt x="69" y="67"/>
                  </a:cubicBezTo>
                  <a:cubicBezTo>
                    <a:pt x="71" y="65"/>
                    <a:pt x="73" y="62"/>
                    <a:pt x="76" y="61"/>
                  </a:cubicBezTo>
                  <a:cubicBezTo>
                    <a:pt x="77" y="61"/>
                    <a:pt x="77" y="63"/>
                    <a:pt x="77" y="64"/>
                  </a:cubicBezTo>
                  <a:cubicBezTo>
                    <a:pt x="76" y="67"/>
                    <a:pt x="71" y="71"/>
                    <a:pt x="74" y="73"/>
                  </a:cubicBezTo>
                  <a:cubicBezTo>
                    <a:pt x="76" y="74"/>
                    <a:pt x="78" y="65"/>
                    <a:pt x="80" y="67"/>
                  </a:cubicBezTo>
                  <a:cubicBezTo>
                    <a:pt x="83" y="69"/>
                    <a:pt x="79" y="73"/>
                    <a:pt x="78" y="76"/>
                  </a:cubicBezTo>
                  <a:cubicBezTo>
                    <a:pt x="77" y="79"/>
                    <a:pt x="77" y="84"/>
                    <a:pt x="74" y="86"/>
                  </a:cubicBezTo>
                  <a:cubicBezTo>
                    <a:pt x="73" y="88"/>
                    <a:pt x="69" y="88"/>
                    <a:pt x="67" y="86"/>
                  </a:cubicBezTo>
                  <a:cubicBezTo>
                    <a:pt x="65" y="84"/>
                    <a:pt x="69" y="79"/>
                    <a:pt x="67" y="79"/>
                  </a:cubicBezTo>
                  <a:cubicBezTo>
                    <a:pt x="64" y="79"/>
                    <a:pt x="62" y="88"/>
                    <a:pt x="60" y="85"/>
                  </a:cubicBezTo>
                  <a:cubicBezTo>
                    <a:pt x="58" y="82"/>
                    <a:pt x="63" y="78"/>
                    <a:pt x="64" y="74"/>
                  </a:cubicBezTo>
                  <a:cubicBezTo>
                    <a:pt x="64" y="71"/>
                    <a:pt x="64" y="68"/>
                    <a:pt x="63" y="66"/>
                  </a:cubicBezTo>
                  <a:cubicBezTo>
                    <a:pt x="62" y="65"/>
                    <a:pt x="60" y="64"/>
                    <a:pt x="59" y="65"/>
                  </a:cubicBezTo>
                  <a:cubicBezTo>
                    <a:pt x="58" y="68"/>
                    <a:pt x="59" y="72"/>
                    <a:pt x="57" y="74"/>
                  </a:cubicBezTo>
                  <a:cubicBezTo>
                    <a:pt x="55" y="76"/>
                    <a:pt x="52" y="75"/>
                    <a:pt x="50" y="76"/>
                  </a:cubicBezTo>
                  <a:cubicBezTo>
                    <a:pt x="48" y="78"/>
                    <a:pt x="47" y="81"/>
                    <a:pt x="45" y="82"/>
                  </a:cubicBezTo>
                  <a:cubicBezTo>
                    <a:pt x="43" y="83"/>
                    <a:pt x="37" y="84"/>
                    <a:pt x="38" y="82"/>
                  </a:cubicBezTo>
                  <a:cubicBezTo>
                    <a:pt x="39" y="78"/>
                    <a:pt x="45" y="78"/>
                    <a:pt x="48" y="74"/>
                  </a:cubicBezTo>
                  <a:cubicBezTo>
                    <a:pt x="50" y="73"/>
                    <a:pt x="53" y="69"/>
                    <a:pt x="51" y="67"/>
                  </a:cubicBezTo>
                  <a:cubicBezTo>
                    <a:pt x="49" y="66"/>
                    <a:pt x="47" y="71"/>
                    <a:pt x="44" y="71"/>
                  </a:cubicBezTo>
                  <a:cubicBezTo>
                    <a:pt x="41" y="71"/>
                    <a:pt x="40" y="66"/>
                    <a:pt x="37" y="66"/>
                  </a:cubicBezTo>
                  <a:cubicBezTo>
                    <a:pt x="32" y="65"/>
                    <a:pt x="28" y="69"/>
                    <a:pt x="23" y="69"/>
                  </a:cubicBezTo>
                  <a:cubicBezTo>
                    <a:pt x="19" y="69"/>
                    <a:pt x="15" y="67"/>
                    <a:pt x="11" y="67"/>
                  </a:cubicBezTo>
                  <a:cubicBezTo>
                    <a:pt x="8" y="67"/>
                    <a:pt x="6" y="70"/>
                    <a:pt x="3" y="69"/>
                  </a:cubicBezTo>
                  <a:cubicBezTo>
                    <a:pt x="1" y="68"/>
                    <a:pt x="0" y="65"/>
                    <a:pt x="0" y="63"/>
                  </a:cubicBezTo>
                  <a:cubicBezTo>
                    <a:pt x="2" y="59"/>
                    <a:pt x="6" y="58"/>
                    <a:pt x="9" y="55"/>
                  </a:cubicBezTo>
                  <a:cubicBezTo>
                    <a:pt x="11" y="54"/>
                    <a:pt x="17" y="53"/>
                    <a:pt x="15" y="51"/>
                  </a:cubicBezTo>
                  <a:cubicBezTo>
                    <a:pt x="12" y="49"/>
                    <a:pt x="6" y="54"/>
                    <a:pt x="4" y="51"/>
                  </a:cubicBezTo>
                  <a:cubicBezTo>
                    <a:pt x="2" y="48"/>
                    <a:pt x="8" y="46"/>
                    <a:pt x="11" y="45"/>
                  </a:cubicBezTo>
                  <a:cubicBezTo>
                    <a:pt x="13" y="44"/>
                    <a:pt x="17" y="46"/>
                    <a:pt x="19" y="44"/>
                  </a:cubicBezTo>
                  <a:cubicBezTo>
                    <a:pt x="21" y="43"/>
                    <a:pt x="19" y="41"/>
                    <a:pt x="18" y="39"/>
                  </a:cubicBezTo>
                  <a:cubicBezTo>
                    <a:pt x="18" y="38"/>
                    <a:pt x="17" y="36"/>
                    <a:pt x="18" y="35"/>
                  </a:cubicBezTo>
                  <a:cubicBezTo>
                    <a:pt x="20" y="32"/>
                    <a:pt x="23" y="30"/>
                    <a:pt x="26" y="26"/>
                  </a:cubicBezTo>
                  <a:cubicBezTo>
                    <a:pt x="28" y="23"/>
                    <a:pt x="29" y="20"/>
                    <a:pt x="30" y="17"/>
                  </a:cubicBezTo>
                  <a:cubicBezTo>
                    <a:pt x="32" y="13"/>
                    <a:pt x="33" y="10"/>
                    <a:pt x="36" y="7"/>
                  </a:cubicBezTo>
                  <a:cubicBezTo>
                    <a:pt x="38" y="4"/>
                    <a:pt x="41" y="3"/>
                    <a:pt x="44" y="1"/>
                  </a:cubicBezTo>
                  <a:cubicBezTo>
                    <a:pt x="46" y="1"/>
                    <a:pt x="47" y="1"/>
                    <a:pt x="49" y="1"/>
                  </a:cubicBezTo>
                  <a:cubicBezTo>
                    <a:pt x="50" y="1"/>
                    <a:pt x="54" y="0"/>
                    <a:pt x="5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6" name="Freeform 1037"/>
            <p:cNvSpPr>
              <a:spLocks noChangeAspect="1"/>
            </p:cNvSpPr>
            <p:nvPr/>
          </p:nvSpPr>
          <p:spPr bwMode="auto">
            <a:xfrm>
              <a:off x="2824163" y="3006725"/>
              <a:ext cx="47625" cy="19050"/>
            </a:xfrm>
            <a:custGeom>
              <a:avLst/>
              <a:gdLst>
                <a:gd name="T0" fmla="*/ 1905 w 25"/>
                <a:gd name="T1" fmla="*/ 13335 h 10"/>
                <a:gd name="T2" fmla="*/ 1905 w 25"/>
                <a:gd name="T3" fmla="*/ 17145 h 10"/>
                <a:gd name="T4" fmla="*/ 11430 w 25"/>
                <a:gd name="T5" fmla="*/ 17145 h 10"/>
                <a:gd name="T6" fmla="*/ 34290 w 25"/>
                <a:gd name="T7" fmla="*/ 9525 h 10"/>
                <a:gd name="T8" fmla="*/ 45720 w 25"/>
                <a:gd name="T9" fmla="*/ 5715 h 10"/>
                <a:gd name="T10" fmla="*/ 41910 w 25"/>
                <a:gd name="T11" fmla="*/ 5715 h 10"/>
                <a:gd name="T12" fmla="*/ 32385 w 25"/>
                <a:gd name="T13" fmla="*/ 5715 h 10"/>
                <a:gd name="T14" fmla="*/ 38100 w 25"/>
                <a:gd name="T15" fmla="*/ 1905 h 10"/>
                <a:gd name="T16" fmla="*/ 32385 w 25"/>
                <a:gd name="T17" fmla="*/ 1905 h 10"/>
                <a:gd name="T18" fmla="*/ 17145 w 25"/>
                <a:gd name="T19" fmla="*/ 5715 h 10"/>
                <a:gd name="T20" fmla="*/ 9525 w 25"/>
                <a:gd name="T21" fmla="*/ 7620 h 10"/>
                <a:gd name="T22" fmla="*/ 1905 w 25"/>
                <a:gd name="T23" fmla="*/ 13335 h 1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5"/>
                <a:gd name="T37" fmla="*/ 0 h 10"/>
                <a:gd name="T38" fmla="*/ 25 w 25"/>
                <a:gd name="T39" fmla="*/ 10 h 1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5" h="10">
                  <a:moveTo>
                    <a:pt x="1" y="7"/>
                  </a:moveTo>
                  <a:cubicBezTo>
                    <a:pt x="1" y="7"/>
                    <a:pt x="0" y="8"/>
                    <a:pt x="1" y="9"/>
                  </a:cubicBezTo>
                  <a:cubicBezTo>
                    <a:pt x="2" y="10"/>
                    <a:pt x="4" y="10"/>
                    <a:pt x="6" y="9"/>
                  </a:cubicBezTo>
                  <a:cubicBezTo>
                    <a:pt x="10" y="8"/>
                    <a:pt x="14" y="7"/>
                    <a:pt x="18" y="5"/>
                  </a:cubicBezTo>
                  <a:cubicBezTo>
                    <a:pt x="20" y="5"/>
                    <a:pt x="22" y="4"/>
                    <a:pt x="24" y="3"/>
                  </a:cubicBezTo>
                  <a:cubicBezTo>
                    <a:pt x="25" y="3"/>
                    <a:pt x="22" y="3"/>
                    <a:pt x="22" y="3"/>
                  </a:cubicBezTo>
                  <a:cubicBezTo>
                    <a:pt x="20" y="3"/>
                    <a:pt x="18" y="4"/>
                    <a:pt x="17" y="3"/>
                  </a:cubicBezTo>
                  <a:cubicBezTo>
                    <a:pt x="17" y="2"/>
                    <a:pt x="21" y="2"/>
                    <a:pt x="20" y="1"/>
                  </a:cubicBezTo>
                  <a:cubicBezTo>
                    <a:pt x="20" y="0"/>
                    <a:pt x="18" y="1"/>
                    <a:pt x="17" y="1"/>
                  </a:cubicBezTo>
                  <a:cubicBezTo>
                    <a:pt x="14" y="2"/>
                    <a:pt x="12" y="2"/>
                    <a:pt x="9" y="3"/>
                  </a:cubicBezTo>
                  <a:cubicBezTo>
                    <a:pt x="8" y="3"/>
                    <a:pt x="6" y="3"/>
                    <a:pt x="5" y="4"/>
                  </a:cubicBezTo>
                  <a:cubicBezTo>
                    <a:pt x="4" y="5"/>
                    <a:pt x="2" y="5"/>
                    <a:pt x="1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7" name="Freeform 1038"/>
            <p:cNvSpPr>
              <a:spLocks noChangeAspect="1"/>
            </p:cNvSpPr>
            <p:nvPr/>
          </p:nvSpPr>
          <p:spPr bwMode="auto">
            <a:xfrm>
              <a:off x="2749550" y="2500313"/>
              <a:ext cx="28575" cy="28575"/>
            </a:xfrm>
            <a:custGeom>
              <a:avLst/>
              <a:gdLst>
                <a:gd name="T0" fmla="*/ 17145 w 15"/>
                <a:gd name="T1" fmla="*/ 1905 h 15"/>
                <a:gd name="T2" fmla="*/ 13335 w 15"/>
                <a:gd name="T3" fmla="*/ 11430 h 15"/>
                <a:gd name="T4" fmla="*/ 9525 w 15"/>
                <a:gd name="T5" fmla="*/ 9525 h 15"/>
                <a:gd name="T6" fmla="*/ 1905 w 15"/>
                <a:gd name="T7" fmla="*/ 24765 h 15"/>
                <a:gd name="T8" fmla="*/ 15240 w 15"/>
                <a:gd name="T9" fmla="*/ 22860 h 15"/>
                <a:gd name="T10" fmla="*/ 24765 w 15"/>
                <a:gd name="T11" fmla="*/ 17145 h 15"/>
                <a:gd name="T12" fmla="*/ 28575 w 15"/>
                <a:gd name="T13" fmla="*/ 7620 h 15"/>
                <a:gd name="T14" fmla="*/ 22860 w 15"/>
                <a:gd name="T15" fmla="*/ 0 h 15"/>
                <a:gd name="T16" fmla="*/ 17145 w 15"/>
                <a:gd name="T17" fmla="*/ 1905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5"/>
                <a:gd name="T29" fmla="*/ 15 w 15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5">
                  <a:moveTo>
                    <a:pt x="9" y="1"/>
                  </a:moveTo>
                  <a:cubicBezTo>
                    <a:pt x="8" y="2"/>
                    <a:pt x="8" y="5"/>
                    <a:pt x="7" y="6"/>
                  </a:cubicBezTo>
                  <a:cubicBezTo>
                    <a:pt x="7" y="6"/>
                    <a:pt x="5" y="4"/>
                    <a:pt x="5" y="5"/>
                  </a:cubicBezTo>
                  <a:cubicBezTo>
                    <a:pt x="3" y="7"/>
                    <a:pt x="0" y="10"/>
                    <a:pt x="1" y="13"/>
                  </a:cubicBezTo>
                  <a:cubicBezTo>
                    <a:pt x="2" y="15"/>
                    <a:pt x="6" y="12"/>
                    <a:pt x="8" y="12"/>
                  </a:cubicBezTo>
                  <a:cubicBezTo>
                    <a:pt x="10" y="11"/>
                    <a:pt x="12" y="10"/>
                    <a:pt x="13" y="9"/>
                  </a:cubicBezTo>
                  <a:cubicBezTo>
                    <a:pt x="14" y="7"/>
                    <a:pt x="15" y="5"/>
                    <a:pt x="15" y="4"/>
                  </a:cubicBezTo>
                  <a:cubicBezTo>
                    <a:pt x="15" y="2"/>
                    <a:pt x="13" y="1"/>
                    <a:pt x="12" y="0"/>
                  </a:cubicBezTo>
                  <a:cubicBezTo>
                    <a:pt x="11" y="0"/>
                    <a:pt x="10" y="0"/>
                    <a:pt x="9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8" name="Freeform 1039"/>
            <p:cNvSpPr>
              <a:spLocks noChangeAspect="1"/>
            </p:cNvSpPr>
            <p:nvPr/>
          </p:nvSpPr>
          <p:spPr bwMode="auto">
            <a:xfrm>
              <a:off x="2690813" y="2614613"/>
              <a:ext cx="28575" cy="17462"/>
            </a:xfrm>
            <a:custGeom>
              <a:avLst/>
              <a:gdLst>
                <a:gd name="T0" fmla="*/ 24765 w 15"/>
                <a:gd name="T1" fmla="*/ 5821 h 9"/>
                <a:gd name="T2" fmla="*/ 28575 w 15"/>
                <a:gd name="T3" fmla="*/ 15522 h 9"/>
                <a:gd name="T4" fmla="*/ 20955 w 15"/>
                <a:gd name="T5" fmla="*/ 15522 h 9"/>
                <a:gd name="T6" fmla="*/ 11430 w 15"/>
                <a:gd name="T7" fmla="*/ 13582 h 9"/>
                <a:gd name="T8" fmla="*/ 1905 w 15"/>
                <a:gd name="T9" fmla="*/ 9701 h 9"/>
                <a:gd name="T10" fmla="*/ 5715 w 15"/>
                <a:gd name="T11" fmla="*/ 1940 h 9"/>
                <a:gd name="T12" fmla="*/ 19050 w 15"/>
                <a:gd name="T13" fmla="*/ 0 h 9"/>
                <a:gd name="T14" fmla="*/ 24765 w 15"/>
                <a:gd name="T15" fmla="*/ 5821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9"/>
                <a:gd name="T26" fmla="*/ 15 w 15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9">
                  <a:moveTo>
                    <a:pt x="13" y="3"/>
                  </a:moveTo>
                  <a:cubicBezTo>
                    <a:pt x="14" y="4"/>
                    <a:pt x="15" y="6"/>
                    <a:pt x="15" y="8"/>
                  </a:cubicBezTo>
                  <a:cubicBezTo>
                    <a:pt x="14" y="9"/>
                    <a:pt x="12" y="9"/>
                    <a:pt x="11" y="8"/>
                  </a:cubicBezTo>
                  <a:cubicBezTo>
                    <a:pt x="9" y="8"/>
                    <a:pt x="7" y="7"/>
                    <a:pt x="6" y="7"/>
                  </a:cubicBezTo>
                  <a:cubicBezTo>
                    <a:pt x="4" y="6"/>
                    <a:pt x="2" y="6"/>
                    <a:pt x="1" y="5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5" y="0"/>
                    <a:pt x="8" y="0"/>
                    <a:pt x="10" y="0"/>
                  </a:cubicBezTo>
                  <a:cubicBezTo>
                    <a:pt x="12" y="0"/>
                    <a:pt x="13" y="2"/>
                    <a:pt x="1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39" name="Freeform 1040"/>
            <p:cNvSpPr>
              <a:spLocks noChangeAspect="1"/>
            </p:cNvSpPr>
            <p:nvPr/>
          </p:nvSpPr>
          <p:spPr bwMode="auto">
            <a:xfrm>
              <a:off x="3033713" y="2347913"/>
              <a:ext cx="15875" cy="17462"/>
            </a:xfrm>
            <a:custGeom>
              <a:avLst/>
              <a:gdLst>
                <a:gd name="T0" fmla="*/ 9922 w 8"/>
                <a:gd name="T1" fmla="*/ 0 h 9"/>
                <a:gd name="T2" fmla="*/ 13891 w 8"/>
                <a:gd name="T3" fmla="*/ 7761 h 9"/>
                <a:gd name="T4" fmla="*/ 3969 w 8"/>
                <a:gd name="T5" fmla="*/ 17462 h 9"/>
                <a:gd name="T6" fmla="*/ 1984 w 8"/>
                <a:gd name="T7" fmla="*/ 13582 h 9"/>
                <a:gd name="T8" fmla="*/ 9922 w 8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5" y="0"/>
                  </a:moveTo>
                  <a:cubicBezTo>
                    <a:pt x="6" y="0"/>
                    <a:pt x="8" y="2"/>
                    <a:pt x="7" y="4"/>
                  </a:cubicBezTo>
                  <a:cubicBezTo>
                    <a:pt x="7" y="6"/>
                    <a:pt x="4" y="8"/>
                    <a:pt x="2" y="9"/>
                  </a:cubicBezTo>
                  <a:cubicBezTo>
                    <a:pt x="1" y="9"/>
                    <a:pt x="0" y="8"/>
                    <a:pt x="1" y="7"/>
                  </a:cubicBezTo>
                  <a:cubicBezTo>
                    <a:pt x="1" y="5"/>
                    <a:pt x="2" y="1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0" name="Freeform 1041"/>
            <p:cNvSpPr>
              <a:spLocks noChangeAspect="1"/>
            </p:cNvSpPr>
            <p:nvPr/>
          </p:nvSpPr>
          <p:spPr bwMode="auto">
            <a:xfrm>
              <a:off x="3109913" y="2309813"/>
              <a:ext cx="11112" cy="17462"/>
            </a:xfrm>
            <a:custGeom>
              <a:avLst/>
              <a:gdLst>
                <a:gd name="T0" fmla="*/ 0 w 6"/>
                <a:gd name="T1" fmla="*/ 3880 h 9"/>
                <a:gd name="T2" fmla="*/ 5556 w 6"/>
                <a:gd name="T3" fmla="*/ 15522 h 9"/>
                <a:gd name="T4" fmla="*/ 11112 w 6"/>
                <a:gd name="T5" fmla="*/ 11641 h 9"/>
                <a:gd name="T6" fmla="*/ 11112 w 6"/>
                <a:gd name="T7" fmla="*/ 5821 h 9"/>
                <a:gd name="T8" fmla="*/ 7408 w 6"/>
                <a:gd name="T9" fmla="*/ 1940 h 9"/>
                <a:gd name="T10" fmla="*/ 1852 w 6"/>
                <a:gd name="T11" fmla="*/ 1940 h 9"/>
                <a:gd name="T12" fmla="*/ 0 w 6"/>
                <a:gd name="T13" fmla="*/ 388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9"/>
                <a:gd name="T23" fmla="*/ 6 w 6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9">
                  <a:moveTo>
                    <a:pt x="0" y="2"/>
                  </a:moveTo>
                  <a:cubicBezTo>
                    <a:pt x="0" y="4"/>
                    <a:pt x="1" y="7"/>
                    <a:pt x="3" y="8"/>
                  </a:cubicBezTo>
                  <a:cubicBezTo>
                    <a:pt x="4" y="9"/>
                    <a:pt x="5" y="7"/>
                    <a:pt x="6" y="6"/>
                  </a:cubicBezTo>
                  <a:cubicBezTo>
                    <a:pt x="6" y="5"/>
                    <a:pt x="6" y="4"/>
                    <a:pt x="6" y="3"/>
                  </a:cubicBezTo>
                  <a:cubicBezTo>
                    <a:pt x="6" y="2"/>
                    <a:pt x="5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1" name="Freeform 1042"/>
            <p:cNvSpPr>
              <a:spLocks noChangeAspect="1"/>
            </p:cNvSpPr>
            <p:nvPr/>
          </p:nvSpPr>
          <p:spPr bwMode="auto">
            <a:xfrm>
              <a:off x="2859088" y="2239963"/>
              <a:ext cx="14287" cy="11112"/>
            </a:xfrm>
            <a:custGeom>
              <a:avLst/>
              <a:gdLst>
                <a:gd name="T0" fmla="*/ 1786 w 8"/>
                <a:gd name="T1" fmla="*/ 0 h 6"/>
                <a:gd name="T2" fmla="*/ 0 w 8"/>
                <a:gd name="T3" fmla="*/ 3704 h 6"/>
                <a:gd name="T4" fmla="*/ 10715 w 8"/>
                <a:gd name="T5" fmla="*/ 11112 h 6"/>
                <a:gd name="T6" fmla="*/ 12501 w 8"/>
                <a:gd name="T7" fmla="*/ 1852 h 6"/>
                <a:gd name="T8" fmla="*/ 1786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1" y="0"/>
                  </a:moveTo>
                  <a:cubicBezTo>
                    <a:pt x="0" y="0"/>
                    <a:pt x="0" y="1"/>
                    <a:pt x="0" y="2"/>
                  </a:cubicBezTo>
                  <a:cubicBezTo>
                    <a:pt x="2" y="4"/>
                    <a:pt x="3" y="6"/>
                    <a:pt x="6" y="6"/>
                  </a:cubicBezTo>
                  <a:cubicBezTo>
                    <a:pt x="7" y="6"/>
                    <a:pt x="8" y="2"/>
                    <a:pt x="7" y="1"/>
                  </a:cubicBezTo>
                  <a:cubicBezTo>
                    <a:pt x="6" y="0"/>
                    <a:pt x="3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2" name="Freeform 1043"/>
            <p:cNvSpPr>
              <a:spLocks noChangeAspect="1"/>
            </p:cNvSpPr>
            <p:nvPr/>
          </p:nvSpPr>
          <p:spPr bwMode="auto">
            <a:xfrm>
              <a:off x="2830513" y="2244725"/>
              <a:ext cx="20637" cy="17463"/>
            </a:xfrm>
            <a:custGeom>
              <a:avLst/>
              <a:gdLst>
                <a:gd name="T0" fmla="*/ 3752 w 11"/>
                <a:gd name="T1" fmla="*/ 0 h 9"/>
                <a:gd name="T2" fmla="*/ 0 w 11"/>
                <a:gd name="T3" fmla="*/ 3881 h 9"/>
                <a:gd name="T4" fmla="*/ 11257 w 11"/>
                <a:gd name="T5" fmla="*/ 17463 h 9"/>
                <a:gd name="T6" fmla="*/ 20637 w 11"/>
                <a:gd name="T7" fmla="*/ 11642 h 9"/>
                <a:gd name="T8" fmla="*/ 18761 w 11"/>
                <a:gd name="T9" fmla="*/ 1940 h 9"/>
                <a:gd name="T10" fmla="*/ 11257 w 11"/>
                <a:gd name="T11" fmla="*/ 0 h 9"/>
                <a:gd name="T12" fmla="*/ 3752 w 11"/>
                <a:gd name="T13" fmla="*/ 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9"/>
                <a:gd name="T23" fmla="*/ 11 w 11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9">
                  <a:moveTo>
                    <a:pt x="2" y="0"/>
                  </a:moveTo>
                  <a:cubicBezTo>
                    <a:pt x="1" y="1"/>
                    <a:pt x="0" y="1"/>
                    <a:pt x="0" y="2"/>
                  </a:cubicBezTo>
                  <a:cubicBezTo>
                    <a:pt x="2" y="5"/>
                    <a:pt x="3" y="8"/>
                    <a:pt x="6" y="9"/>
                  </a:cubicBezTo>
                  <a:cubicBezTo>
                    <a:pt x="8" y="9"/>
                    <a:pt x="10" y="7"/>
                    <a:pt x="11" y="6"/>
                  </a:cubicBezTo>
                  <a:cubicBezTo>
                    <a:pt x="11" y="5"/>
                    <a:pt x="11" y="3"/>
                    <a:pt x="10" y="1"/>
                  </a:cubicBezTo>
                  <a:cubicBezTo>
                    <a:pt x="10" y="0"/>
                    <a:pt x="8" y="0"/>
                    <a:pt x="6" y="0"/>
                  </a:cubicBezTo>
                  <a:cubicBezTo>
                    <a:pt x="5" y="0"/>
                    <a:pt x="3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3" name="Freeform 1044"/>
            <p:cNvSpPr>
              <a:spLocks noChangeAspect="1"/>
            </p:cNvSpPr>
            <p:nvPr/>
          </p:nvSpPr>
          <p:spPr bwMode="auto">
            <a:xfrm>
              <a:off x="2782888" y="2282825"/>
              <a:ext cx="22225" cy="34925"/>
            </a:xfrm>
            <a:custGeom>
              <a:avLst/>
              <a:gdLst>
                <a:gd name="T0" fmla="*/ 16669 w 12"/>
                <a:gd name="T1" fmla="*/ 1940 h 18"/>
                <a:gd name="T2" fmla="*/ 20373 w 12"/>
                <a:gd name="T3" fmla="*/ 5821 h 18"/>
                <a:gd name="T4" fmla="*/ 20373 w 12"/>
                <a:gd name="T5" fmla="*/ 15522 h 18"/>
                <a:gd name="T6" fmla="*/ 9260 w 12"/>
                <a:gd name="T7" fmla="*/ 32985 h 18"/>
                <a:gd name="T8" fmla="*/ 1852 w 12"/>
                <a:gd name="T9" fmla="*/ 27164 h 18"/>
                <a:gd name="T10" fmla="*/ 1852 w 12"/>
                <a:gd name="T11" fmla="*/ 13582 h 18"/>
                <a:gd name="T12" fmla="*/ 11113 w 12"/>
                <a:gd name="T13" fmla="*/ 1940 h 18"/>
                <a:gd name="T14" fmla="*/ 16669 w 12"/>
                <a:gd name="T15" fmla="*/ 194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8"/>
                <a:gd name="T26" fmla="*/ 12 w 12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8">
                  <a:moveTo>
                    <a:pt x="9" y="1"/>
                  </a:moveTo>
                  <a:cubicBezTo>
                    <a:pt x="10" y="1"/>
                    <a:pt x="11" y="2"/>
                    <a:pt x="11" y="3"/>
                  </a:cubicBezTo>
                  <a:cubicBezTo>
                    <a:pt x="12" y="5"/>
                    <a:pt x="12" y="7"/>
                    <a:pt x="11" y="8"/>
                  </a:cubicBezTo>
                  <a:cubicBezTo>
                    <a:pt x="10" y="11"/>
                    <a:pt x="8" y="15"/>
                    <a:pt x="5" y="17"/>
                  </a:cubicBezTo>
                  <a:cubicBezTo>
                    <a:pt x="3" y="18"/>
                    <a:pt x="2" y="15"/>
                    <a:pt x="1" y="14"/>
                  </a:cubicBezTo>
                  <a:cubicBezTo>
                    <a:pt x="0" y="12"/>
                    <a:pt x="0" y="9"/>
                    <a:pt x="1" y="7"/>
                  </a:cubicBezTo>
                  <a:cubicBezTo>
                    <a:pt x="2" y="5"/>
                    <a:pt x="4" y="3"/>
                    <a:pt x="6" y="1"/>
                  </a:cubicBezTo>
                  <a:cubicBezTo>
                    <a:pt x="7" y="1"/>
                    <a:pt x="8" y="0"/>
                    <a:pt x="9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4" name="Freeform 1045"/>
            <p:cNvSpPr>
              <a:spLocks noChangeAspect="1"/>
            </p:cNvSpPr>
            <p:nvPr/>
          </p:nvSpPr>
          <p:spPr bwMode="auto">
            <a:xfrm>
              <a:off x="2706688" y="2266950"/>
              <a:ext cx="47625" cy="31750"/>
            </a:xfrm>
            <a:custGeom>
              <a:avLst/>
              <a:gdLst>
                <a:gd name="T0" fmla="*/ 41910 w 25"/>
                <a:gd name="T1" fmla="*/ 0 h 17"/>
                <a:gd name="T2" fmla="*/ 47625 w 25"/>
                <a:gd name="T3" fmla="*/ 1868 h 17"/>
                <a:gd name="T4" fmla="*/ 45720 w 25"/>
                <a:gd name="T5" fmla="*/ 7471 h 17"/>
                <a:gd name="T6" fmla="*/ 30480 w 25"/>
                <a:gd name="T7" fmla="*/ 18676 h 17"/>
                <a:gd name="T8" fmla="*/ 20955 w 25"/>
                <a:gd name="T9" fmla="*/ 29882 h 17"/>
                <a:gd name="T10" fmla="*/ 11430 w 25"/>
                <a:gd name="T11" fmla="*/ 26147 h 17"/>
                <a:gd name="T12" fmla="*/ 3810 w 25"/>
                <a:gd name="T13" fmla="*/ 31750 h 17"/>
                <a:gd name="T14" fmla="*/ 1905 w 25"/>
                <a:gd name="T15" fmla="*/ 28015 h 17"/>
                <a:gd name="T16" fmla="*/ 1905 w 25"/>
                <a:gd name="T17" fmla="*/ 20544 h 17"/>
                <a:gd name="T18" fmla="*/ 15240 w 25"/>
                <a:gd name="T19" fmla="*/ 5603 h 17"/>
                <a:gd name="T20" fmla="*/ 17145 w 25"/>
                <a:gd name="T21" fmla="*/ 0 h 17"/>
                <a:gd name="T22" fmla="*/ 24765 w 25"/>
                <a:gd name="T23" fmla="*/ 5603 h 17"/>
                <a:gd name="T24" fmla="*/ 32385 w 25"/>
                <a:gd name="T25" fmla="*/ 1868 h 17"/>
                <a:gd name="T26" fmla="*/ 36195 w 25"/>
                <a:gd name="T27" fmla="*/ 1868 h 17"/>
                <a:gd name="T28" fmla="*/ 41910 w 25"/>
                <a:gd name="T29" fmla="*/ 0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5"/>
                <a:gd name="T46" fmla="*/ 0 h 17"/>
                <a:gd name="T47" fmla="*/ 25 w 25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5" h="17">
                  <a:moveTo>
                    <a:pt x="22" y="0"/>
                  </a:moveTo>
                  <a:cubicBezTo>
                    <a:pt x="23" y="0"/>
                    <a:pt x="25" y="0"/>
                    <a:pt x="25" y="1"/>
                  </a:cubicBezTo>
                  <a:cubicBezTo>
                    <a:pt x="25" y="2"/>
                    <a:pt x="25" y="4"/>
                    <a:pt x="24" y="4"/>
                  </a:cubicBezTo>
                  <a:cubicBezTo>
                    <a:pt x="22" y="7"/>
                    <a:pt x="19" y="8"/>
                    <a:pt x="16" y="10"/>
                  </a:cubicBezTo>
                  <a:cubicBezTo>
                    <a:pt x="14" y="11"/>
                    <a:pt x="13" y="14"/>
                    <a:pt x="11" y="16"/>
                  </a:cubicBezTo>
                  <a:cubicBezTo>
                    <a:pt x="9" y="16"/>
                    <a:pt x="8" y="14"/>
                    <a:pt x="6" y="14"/>
                  </a:cubicBezTo>
                  <a:cubicBezTo>
                    <a:pt x="4" y="15"/>
                    <a:pt x="4" y="17"/>
                    <a:pt x="2" y="17"/>
                  </a:cubicBezTo>
                  <a:cubicBezTo>
                    <a:pt x="1" y="17"/>
                    <a:pt x="1" y="16"/>
                    <a:pt x="1" y="15"/>
                  </a:cubicBezTo>
                  <a:cubicBezTo>
                    <a:pt x="0" y="14"/>
                    <a:pt x="0" y="12"/>
                    <a:pt x="1" y="11"/>
                  </a:cubicBezTo>
                  <a:cubicBezTo>
                    <a:pt x="2" y="8"/>
                    <a:pt x="6" y="6"/>
                    <a:pt x="8" y="3"/>
                  </a:cubicBezTo>
                  <a:cubicBezTo>
                    <a:pt x="8" y="2"/>
                    <a:pt x="8" y="0"/>
                    <a:pt x="9" y="0"/>
                  </a:cubicBezTo>
                  <a:cubicBezTo>
                    <a:pt x="11" y="0"/>
                    <a:pt x="11" y="3"/>
                    <a:pt x="13" y="3"/>
                  </a:cubicBezTo>
                  <a:cubicBezTo>
                    <a:pt x="14" y="3"/>
                    <a:pt x="16" y="1"/>
                    <a:pt x="17" y="1"/>
                  </a:cubicBezTo>
                  <a:cubicBezTo>
                    <a:pt x="18" y="1"/>
                    <a:pt x="19" y="1"/>
                    <a:pt x="19" y="1"/>
                  </a:cubicBezTo>
                  <a:cubicBezTo>
                    <a:pt x="20" y="1"/>
                    <a:pt x="21" y="0"/>
                    <a:pt x="2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5" name="Freeform 1046"/>
            <p:cNvSpPr>
              <a:spLocks noChangeAspect="1"/>
            </p:cNvSpPr>
            <p:nvPr/>
          </p:nvSpPr>
          <p:spPr bwMode="auto">
            <a:xfrm>
              <a:off x="2644775" y="2149475"/>
              <a:ext cx="153988" cy="112713"/>
            </a:xfrm>
            <a:custGeom>
              <a:avLst/>
              <a:gdLst>
                <a:gd name="T0" fmla="*/ 142581 w 81"/>
                <a:gd name="T1" fmla="*/ 72595 h 59"/>
                <a:gd name="T2" fmla="*/ 146384 w 81"/>
                <a:gd name="T3" fmla="*/ 80236 h 59"/>
                <a:gd name="T4" fmla="*/ 142581 w 81"/>
                <a:gd name="T5" fmla="*/ 82147 h 59"/>
                <a:gd name="T6" fmla="*/ 152087 w 81"/>
                <a:gd name="T7" fmla="*/ 84057 h 59"/>
                <a:gd name="T8" fmla="*/ 150186 w 81"/>
                <a:gd name="T9" fmla="*/ 87878 h 59"/>
                <a:gd name="T10" fmla="*/ 134977 w 81"/>
                <a:gd name="T11" fmla="*/ 93609 h 59"/>
                <a:gd name="T12" fmla="*/ 123571 w 81"/>
                <a:gd name="T13" fmla="*/ 91699 h 59"/>
                <a:gd name="T14" fmla="*/ 121670 w 81"/>
                <a:gd name="T15" fmla="*/ 87878 h 59"/>
                <a:gd name="T16" fmla="*/ 115966 w 81"/>
                <a:gd name="T17" fmla="*/ 89788 h 59"/>
                <a:gd name="T18" fmla="*/ 108362 w 81"/>
                <a:gd name="T19" fmla="*/ 85968 h 59"/>
                <a:gd name="T20" fmla="*/ 106461 w 81"/>
                <a:gd name="T21" fmla="*/ 87878 h 59"/>
                <a:gd name="T22" fmla="*/ 100758 w 81"/>
                <a:gd name="T23" fmla="*/ 84057 h 59"/>
                <a:gd name="T24" fmla="*/ 102659 w 81"/>
                <a:gd name="T25" fmla="*/ 80236 h 59"/>
                <a:gd name="T26" fmla="*/ 95054 w 81"/>
                <a:gd name="T27" fmla="*/ 78326 h 59"/>
                <a:gd name="T28" fmla="*/ 91252 w 81"/>
                <a:gd name="T29" fmla="*/ 78326 h 59"/>
                <a:gd name="T30" fmla="*/ 91252 w 81"/>
                <a:gd name="T31" fmla="*/ 70684 h 59"/>
                <a:gd name="T32" fmla="*/ 79846 w 81"/>
                <a:gd name="T33" fmla="*/ 72595 h 59"/>
                <a:gd name="T34" fmla="*/ 76043 w 81"/>
                <a:gd name="T35" fmla="*/ 85968 h 59"/>
                <a:gd name="T36" fmla="*/ 64637 w 81"/>
                <a:gd name="T37" fmla="*/ 91699 h 59"/>
                <a:gd name="T38" fmla="*/ 58934 w 81"/>
                <a:gd name="T39" fmla="*/ 93609 h 59"/>
                <a:gd name="T40" fmla="*/ 53230 w 81"/>
                <a:gd name="T41" fmla="*/ 103161 h 59"/>
                <a:gd name="T42" fmla="*/ 39923 w 81"/>
                <a:gd name="T43" fmla="*/ 110803 h 59"/>
                <a:gd name="T44" fmla="*/ 32318 w 81"/>
                <a:gd name="T45" fmla="*/ 110803 h 59"/>
                <a:gd name="T46" fmla="*/ 32318 w 81"/>
                <a:gd name="T47" fmla="*/ 95519 h 59"/>
                <a:gd name="T48" fmla="*/ 34220 w 81"/>
                <a:gd name="T49" fmla="*/ 87878 h 59"/>
                <a:gd name="T50" fmla="*/ 30417 w 81"/>
                <a:gd name="T51" fmla="*/ 84057 h 59"/>
                <a:gd name="T52" fmla="*/ 26615 w 81"/>
                <a:gd name="T53" fmla="*/ 87878 h 59"/>
                <a:gd name="T54" fmla="*/ 17110 w 81"/>
                <a:gd name="T55" fmla="*/ 87878 h 59"/>
                <a:gd name="T56" fmla="*/ 5703 w 81"/>
                <a:gd name="T57" fmla="*/ 93609 h 59"/>
                <a:gd name="T58" fmla="*/ 0 w 81"/>
                <a:gd name="T59" fmla="*/ 89788 h 59"/>
                <a:gd name="T60" fmla="*/ 11407 w 81"/>
                <a:gd name="T61" fmla="*/ 76416 h 59"/>
                <a:gd name="T62" fmla="*/ 24714 w 81"/>
                <a:gd name="T63" fmla="*/ 70684 h 59"/>
                <a:gd name="T64" fmla="*/ 26615 w 81"/>
                <a:gd name="T65" fmla="*/ 53491 h 59"/>
                <a:gd name="T66" fmla="*/ 34220 w 81"/>
                <a:gd name="T67" fmla="*/ 36297 h 59"/>
                <a:gd name="T68" fmla="*/ 38022 w 81"/>
                <a:gd name="T69" fmla="*/ 21014 h 59"/>
                <a:gd name="T70" fmla="*/ 45626 w 81"/>
                <a:gd name="T71" fmla="*/ 9552 h 59"/>
                <a:gd name="T72" fmla="*/ 55131 w 81"/>
                <a:gd name="T73" fmla="*/ 1910 h 59"/>
                <a:gd name="T74" fmla="*/ 58934 w 81"/>
                <a:gd name="T75" fmla="*/ 7642 h 59"/>
                <a:gd name="T76" fmla="*/ 62736 w 81"/>
                <a:gd name="T77" fmla="*/ 13373 h 59"/>
                <a:gd name="T78" fmla="*/ 57033 w 81"/>
                <a:gd name="T79" fmla="*/ 17194 h 59"/>
                <a:gd name="T80" fmla="*/ 60835 w 81"/>
                <a:gd name="T81" fmla="*/ 30566 h 59"/>
                <a:gd name="T82" fmla="*/ 64637 w 81"/>
                <a:gd name="T83" fmla="*/ 30566 h 59"/>
                <a:gd name="T84" fmla="*/ 70340 w 81"/>
                <a:gd name="T85" fmla="*/ 19104 h 59"/>
                <a:gd name="T86" fmla="*/ 77945 w 81"/>
                <a:gd name="T87" fmla="*/ 28656 h 59"/>
                <a:gd name="T88" fmla="*/ 79846 w 81"/>
                <a:gd name="T89" fmla="*/ 30566 h 59"/>
                <a:gd name="T90" fmla="*/ 93153 w 81"/>
                <a:gd name="T91" fmla="*/ 34387 h 59"/>
                <a:gd name="T92" fmla="*/ 95054 w 81"/>
                <a:gd name="T93" fmla="*/ 40118 h 59"/>
                <a:gd name="T94" fmla="*/ 121670 w 81"/>
                <a:gd name="T95" fmla="*/ 53491 h 59"/>
                <a:gd name="T96" fmla="*/ 121670 w 81"/>
                <a:gd name="T97" fmla="*/ 63043 h 59"/>
                <a:gd name="T98" fmla="*/ 123571 w 81"/>
                <a:gd name="T99" fmla="*/ 68774 h 59"/>
                <a:gd name="T100" fmla="*/ 115966 w 81"/>
                <a:gd name="T101" fmla="*/ 76416 h 59"/>
                <a:gd name="T102" fmla="*/ 125472 w 81"/>
                <a:gd name="T103" fmla="*/ 76416 h 59"/>
                <a:gd name="T104" fmla="*/ 129274 w 81"/>
                <a:gd name="T105" fmla="*/ 72595 h 59"/>
                <a:gd name="T106" fmla="*/ 138779 w 81"/>
                <a:gd name="T107" fmla="*/ 76416 h 59"/>
                <a:gd name="T108" fmla="*/ 142581 w 81"/>
                <a:gd name="T109" fmla="*/ 72595 h 5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1"/>
                <a:gd name="T166" fmla="*/ 0 h 59"/>
                <a:gd name="T167" fmla="*/ 81 w 81"/>
                <a:gd name="T168" fmla="*/ 59 h 5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1" h="59">
                  <a:moveTo>
                    <a:pt x="75" y="38"/>
                  </a:moveTo>
                  <a:cubicBezTo>
                    <a:pt x="77" y="38"/>
                    <a:pt x="77" y="40"/>
                    <a:pt x="77" y="42"/>
                  </a:cubicBezTo>
                  <a:cubicBezTo>
                    <a:pt x="77" y="43"/>
                    <a:pt x="74" y="43"/>
                    <a:pt x="75" y="43"/>
                  </a:cubicBezTo>
                  <a:cubicBezTo>
                    <a:pt x="76" y="44"/>
                    <a:pt x="79" y="43"/>
                    <a:pt x="80" y="44"/>
                  </a:cubicBezTo>
                  <a:cubicBezTo>
                    <a:pt x="81" y="44"/>
                    <a:pt x="80" y="45"/>
                    <a:pt x="79" y="46"/>
                  </a:cubicBezTo>
                  <a:cubicBezTo>
                    <a:pt x="77" y="47"/>
                    <a:pt x="74" y="49"/>
                    <a:pt x="71" y="49"/>
                  </a:cubicBezTo>
                  <a:cubicBezTo>
                    <a:pt x="69" y="50"/>
                    <a:pt x="67" y="49"/>
                    <a:pt x="65" y="48"/>
                  </a:cubicBezTo>
                  <a:cubicBezTo>
                    <a:pt x="64" y="48"/>
                    <a:pt x="64" y="47"/>
                    <a:pt x="64" y="46"/>
                  </a:cubicBezTo>
                  <a:cubicBezTo>
                    <a:pt x="63" y="46"/>
                    <a:pt x="62" y="47"/>
                    <a:pt x="61" y="47"/>
                  </a:cubicBezTo>
                  <a:cubicBezTo>
                    <a:pt x="60" y="46"/>
                    <a:pt x="59" y="45"/>
                    <a:pt x="57" y="45"/>
                  </a:cubicBezTo>
                  <a:cubicBezTo>
                    <a:pt x="56" y="45"/>
                    <a:pt x="57" y="47"/>
                    <a:pt x="56" y="46"/>
                  </a:cubicBezTo>
                  <a:cubicBezTo>
                    <a:pt x="55" y="46"/>
                    <a:pt x="54" y="45"/>
                    <a:pt x="53" y="44"/>
                  </a:cubicBezTo>
                  <a:cubicBezTo>
                    <a:pt x="53" y="43"/>
                    <a:pt x="55" y="42"/>
                    <a:pt x="54" y="42"/>
                  </a:cubicBezTo>
                  <a:cubicBezTo>
                    <a:pt x="53" y="41"/>
                    <a:pt x="51" y="41"/>
                    <a:pt x="50" y="41"/>
                  </a:cubicBezTo>
                  <a:cubicBezTo>
                    <a:pt x="49" y="41"/>
                    <a:pt x="48" y="42"/>
                    <a:pt x="48" y="41"/>
                  </a:cubicBezTo>
                  <a:cubicBezTo>
                    <a:pt x="48" y="40"/>
                    <a:pt x="50" y="38"/>
                    <a:pt x="48" y="37"/>
                  </a:cubicBezTo>
                  <a:cubicBezTo>
                    <a:pt x="46" y="36"/>
                    <a:pt x="44" y="36"/>
                    <a:pt x="42" y="38"/>
                  </a:cubicBezTo>
                  <a:cubicBezTo>
                    <a:pt x="40" y="40"/>
                    <a:pt x="41" y="43"/>
                    <a:pt x="40" y="45"/>
                  </a:cubicBezTo>
                  <a:cubicBezTo>
                    <a:pt x="38" y="47"/>
                    <a:pt x="36" y="47"/>
                    <a:pt x="34" y="48"/>
                  </a:cubicBezTo>
                  <a:cubicBezTo>
                    <a:pt x="33" y="48"/>
                    <a:pt x="32" y="48"/>
                    <a:pt x="31" y="49"/>
                  </a:cubicBezTo>
                  <a:cubicBezTo>
                    <a:pt x="29" y="50"/>
                    <a:pt x="29" y="53"/>
                    <a:pt x="28" y="54"/>
                  </a:cubicBezTo>
                  <a:cubicBezTo>
                    <a:pt x="26" y="56"/>
                    <a:pt x="23" y="57"/>
                    <a:pt x="21" y="58"/>
                  </a:cubicBezTo>
                  <a:cubicBezTo>
                    <a:pt x="20" y="59"/>
                    <a:pt x="18" y="59"/>
                    <a:pt x="17" y="58"/>
                  </a:cubicBezTo>
                  <a:cubicBezTo>
                    <a:pt x="16" y="55"/>
                    <a:pt x="17" y="53"/>
                    <a:pt x="17" y="50"/>
                  </a:cubicBezTo>
                  <a:cubicBezTo>
                    <a:pt x="17" y="49"/>
                    <a:pt x="18" y="47"/>
                    <a:pt x="18" y="46"/>
                  </a:cubicBezTo>
                  <a:cubicBezTo>
                    <a:pt x="18" y="45"/>
                    <a:pt x="17" y="44"/>
                    <a:pt x="16" y="44"/>
                  </a:cubicBezTo>
                  <a:cubicBezTo>
                    <a:pt x="15" y="44"/>
                    <a:pt x="15" y="46"/>
                    <a:pt x="14" y="46"/>
                  </a:cubicBezTo>
                  <a:cubicBezTo>
                    <a:pt x="12" y="47"/>
                    <a:pt x="11" y="46"/>
                    <a:pt x="9" y="46"/>
                  </a:cubicBezTo>
                  <a:cubicBezTo>
                    <a:pt x="7" y="47"/>
                    <a:pt x="5" y="49"/>
                    <a:pt x="3" y="49"/>
                  </a:cubicBezTo>
                  <a:cubicBezTo>
                    <a:pt x="2" y="49"/>
                    <a:pt x="0" y="48"/>
                    <a:pt x="0" y="47"/>
                  </a:cubicBezTo>
                  <a:cubicBezTo>
                    <a:pt x="1" y="44"/>
                    <a:pt x="3" y="42"/>
                    <a:pt x="6" y="40"/>
                  </a:cubicBezTo>
                  <a:cubicBezTo>
                    <a:pt x="8" y="39"/>
                    <a:pt x="12" y="40"/>
                    <a:pt x="13" y="37"/>
                  </a:cubicBezTo>
                  <a:cubicBezTo>
                    <a:pt x="15" y="35"/>
                    <a:pt x="14" y="31"/>
                    <a:pt x="14" y="28"/>
                  </a:cubicBezTo>
                  <a:cubicBezTo>
                    <a:pt x="15" y="25"/>
                    <a:pt x="17" y="22"/>
                    <a:pt x="18" y="19"/>
                  </a:cubicBezTo>
                  <a:cubicBezTo>
                    <a:pt x="18" y="16"/>
                    <a:pt x="19" y="14"/>
                    <a:pt x="20" y="11"/>
                  </a:cubicBezTo>
                  <a:cubicBezTo>
                    <a:pt x="21" y="9"/>
                    <a:pt x="22" y="7"/>
                    <a:pt x="24" y="5"/>
                  </a:cubicBezTo>
                  <a:cubicBezTo>
                    <a:pt x="25" y="4"/>
                    <a:pt x="26" y="1"/>
                    <a:pt x="29" y="1"/>
                  </a:cubicBezTo>
                  <a:cubicBezTo>
                    <a:pt x="30" y="0"/>
                    <a:pt x="30" y="3"/>
                    <a:pt x="31" y="4"/>
                  </a:cubicBezTo>
                  <a:cubicBezTo>
                    <a:pt x="32" y="5"/>
                    <a:pt x="33" y="6"/>
                    <a:pt x="33" y="7"/>
                  </a:cubicBezTo>
                  <a:cubicBezTo>
                    <a:pt x="32" y="8"/>
                    <a:pt x="30" y="8"/>
                    <a:pt x="30" y="9"/>
                  </a:cubicBezTo>
                  <a:cubicBezTo>
                    <a:pt x="30" y="11"/>
                    <a:pt x="31" y="14"/>
                    <a:pt x="32" y="16"/>
                  </a:cubicBezTo>
                  <a:cubicBezTo>
                    <a:pt x="32" y="16"/>
                    <a:pt x="34" y="17"/>
                    <a:pt x="34" y="16"/>
                  </a:cubicBezTo>
                  <a:cubicBezTo>
                    <a:pt x="35" y="14"/>
                    <a:pt x="35" y="11"/>
                    <a:pt x="37" y="10"/>
                  </a:cubicBezTo>
                  <a:cubicBezTo>
                    <a:pt x="39" y="10"/>
                    <a:pt x="40" y="13"/>
                    <a:pt x="41" y="15"/>
                  </a:cubicBezTo>
                  <a:cubicBezTo>
                    <a:pt x="42" y="15"/>
                    <a:pt x="42" y="16"/>
                    <a:pt x="42" y="16"/>
                  </a:cubicBezTo>
                  <a:cubicBezTo>
                    <a:pt x="44" y="17"/>
                    <a:pt x="47" y="17"/>
                    <a:pt x="49" y="18"/>
                  </a:cubicBezTo>
                  <a:cubicBezTo>
                    <a:pt x="50" y="18"/>
                    <a:pt x="49" y="20"/>
                    <a:pt x="50" y="21"/>
                  </a:cubicBezTo>
                  <a:cubicBezTo>
                    <a:pt x="54" y="24"/>
                    <a:pt x="60" y="24"/>
                    <a:pt x="64" y="28"/>
                  </a:cubicBezTo>
                  <a:cubicBezTo>
                    <a:pt x="65" y="29"/>
                    <a:pt x="63" y="31"/>
                    <a:pt x="64" y="33"/>
                  </a:cubicBezTo>
                  <a:cubicBezTo>
                    <a:pt x="64" y="34"/>
                    <a:pt x="66" y="35"/>
                    <a:pt x="65" y="36"/>
                  </a:cubicBezTo>
                  <a:cubicBezTo>
                    <a:pt x="65" y="38"/>
                    <a:pt x="61" y="38"/>
                    <a:pt x="61" y="40"/>
                  </a:cubicBezTo>
                  <a:cubicBezTo>
                    <a:pt x="61" y="42"/>
                    <a:pt x="64" y="40"/>
                    <a:pt x="66" y="40"/>
                  </a:cubicBezTo>
                  <a:cubicBezTo>
                    <a:pt x="67" y="40"/>
                    <a:pt x="67" y="38"/>
                    <a:pt x="68" y="38"/>
                  </a:cubicBezTo>
                  <a:cubicBezTo>
                    <a:pt x="70" y="38"/>
                    <a:pt x="71" y="40"/>
                    <a:pt x="73" y="40"/>
                  </a:cubicBezTo>
                  <a:cubicBezTo>
                    <a:pt x="74" y="40"/>
                    <a:pt x="74" y="38"/>
                    <a:pt x="75" y="3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6" name="Freeform 1047"/>
            <p:cNvSpPr>
              <a:spLocks noChangeAspect="1"/>
            </p:cNvSpPr>
            <p:nvPr/>
          </p:nvSpPr>
          <p:spPr bwMode="auto">
            <a:xfrm>
              <a:off x="2722563" y="2144713"/>
              <a:ext cx="25400" cy="20637"/>
            </a:xfrm>
            <a:custGeom>
              <a:avLst/>
              <a:gdLst>
                <a:gd name="T0" fmla="*/ 1954 w 13"/>
                <a:gd name="T1" fmla="*/ 1876 h 11"/>
                <a:gd name="T2" fmla="*/ 1954 w 13"/>
                <a:gd name="T3" fmla="*/ 5628 h 11"/>
                <a:gd name="T4" fmla="*/ 5862 w 13"/>
                <a:gd name="T5" fmla="*/ 5628 h 11"/>
                <a:gd name="T6" fmla="*/ 5862 w 13"/>
                <a:gd name="T7" fmla="*/ 13133 h 11"/>
                <a:gd name="T8" fmla="*/ 11723 w 13"/>
                <a:gd name="T9" fmla="*/ 15009 h 11"/>
                <a:gd name="T10" fmla="*/ 11723 w 13"/>
                <a:gd name="T11" fmla="*/ 18761 h 11"/>
                <a:gd name="T12" fmla="*/ 23446 w 13"/>
                <a:gd name="T13" fmla="*/ 16885 h 11"/>
                <a:gd name="T14" fmla="*/ 19538 w 13"/>
                <a:gd name="T15" fmla="*/ 13133 h 11"/>
                <a:gd name="T16" fmla="*/ 15631 w 13"/>
                <a:gd name="T17" fmla="*/ 9380 h 11"/>
                <a:gd name="T18" fmla="*/ 9769 w 13"/>
                <a:gd name="T19" fmla="*/ 1876 h 11"/>
                <a:gd name="T20" fmla="*/ 1954 w 13"/>
                <a:gd name="T21" fmla="*/ 1876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11"/>
                <a:gd name="T35" fmla="*/ 13 w 13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11">
                  <a:moveTo>
                    <a:pt x="1" y="1"/>
                  </a:move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3" y="2"/>
                    <a:pt x="3" y="3"/>
                  </a:cubicBezTo>
                  <a:cubicBezTo>
                    <a:pt x="4" y="4"/>
                    <a:pt x="2" y="6"/>
                    <a:pt x="3" y="7"/>
                  </a:cubicBezTo>
                  <a:cubicBezTo>
                    <a:pt x="4" y="8"/>
                    <a:pt x="5" y="7"/>
                    <a:pt x="6" y="8"/>
                  </a:cubicBezTo>
                  <a:cubicBezTo>
                    <a:pt x="6" y="8"/>
                    <a:pt x="5" y="10"/>
                    <a:pt x="6" y="10"/>
                  </a:cubicBezTo>
                  <a:cubicBezTo>
                    <a:pt x="8" y="10"/>
                    <a:pt x="10" y="11"/>
                    <a:pt x="12" y="9"/>
                  </a:cubicBezTo>
                  <a:cubicBezTo>
                    <a:pt x="13" y="9"/>
                    <a:pt x="11" y="8"/>
                    <a:pt x="10" y="7"/>
                  </a:cubicBezTo>
                  <a:cubicBezTo>
                    <a:pt x="9" y="6"/>
                    <a:pt x="9" y="6"/>
                    <a:pt x="8" y="5"/>
                  </a:cubicBezTo>
                  <a:cubicBezTo>
                    <a:pt x="7" y="4"/>
                    <a:pt x="6" y="2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7" name="Freeform 1048"/>
            <p:cNvSpPr>
              <a:spLocks noChangeAspect="1"/>
            </p:cNvSpPr>
            <p:nvPr/>
          </p:nvSpPr>
          <p:spPr bwMode="auto">
            <a:xfrm>
              <a:off x="2682875" y="2057400"/>
              <a:ext cx="14288" cy="25400"/>
            </a:xfrm>
            <a:custGeom>
              <a:avLst/>
              <a:gdLst>
                <a:gd name="T0" fmla="*/ 8165 w 7"/>
                <a:gd name="T1" fmla="*/ 0 h 14"/>
                <a:gd name="T2" fmla="*/ 12247 w 7"/>
                <a:gd name="T3" fmla="*/ 5443 h 14"/>
                <a:gd name="T4" fmla="*/ 12247 w 7"/>
                <a:gd name="T5" fmla="*/ 19957 h 14"/>
                <a:gd name="T6" fmla="*/ 8165 w 7"/>
                <a:gd name="T7" fmla="*/ 25400 h 14"/>
                <a:gd name="T8" fmla="*/ 4082 w 7"/>
                <a:gd name="T9" fmla="*/ 21771 h 14"/>
                <a:gd name="T10" fmla="*/ 4082 w 7"/>
                <a:gd name="T11" fmla="*/ 14514 h 14"/>
                <a:gd name="T12" fmla="*/ 0 w 7"/>
                <a:gd name="T13" fmla="*/ 7257 h 14"/>
                <a:gd name="T14" fmla="*/ 4082 w 7"/>
                <a:gd name="T15" fmla="*/ 3629 h 14"/>
                <a:gd name="T16" fmla="*/ 8165 w 7"/>
                <a:gd name="T17" fmla="*/ 0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4"/>
                <a:gd name="T29" fmla="*/ 7 w 7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4">
                  <a:moveTo>
                    <a:pt x="4" y="0"/>
                  </a:moveTo>
                  <a:cubicBezTo>
                    <a:pt x="5" y="0"/>
                    <a:pt x="6" y="2"/>
                    <a:pt x="6" y="3"/>
                  </a:cubicBezTo>
                  <a:cubicBezTo>
                    <a:pt x="7" y="6"/>
                    <a:pt x="7" y="8"/>
                    <a:pt x="6" y="11"/>
                  </a:cubicBezTo>
                  <a:cubicBezTo>
                    <a:pt x="6" y="12"/>
                    <a:pt x="5" y="14"/>
                    <a:pt x="4" y="14"/>
                  </a:cubicBezTo>
                  <a:cubicBezTo>
                    <a:pt x="3" y="14"/>
                    <a:pt x="2" y="13"/>
                    <a:pt x="2" y="12"/>
                  </a:cubicBezTo>
                  <a:cubicBezTo>
                    <a:pt x="1" y="10"/>
                    <a:pt x="2" y="9"/>
                    <a:pt x="2" y="8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3"/>
                    <a:pt x="1" y="3"/>
                    <a:pt x="2" y="2"/>
                  </a:cubicBezTo>
                  <a:cubicBezTo>
                    <a:pt x="3" y="2"/>
                    <a:pt x="3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8" name="Freeform 1049"/>
            <p:cNvSpPr>
              <a:spLocks noChangeAspect="1"/>
            </p:cNvSpPr>
            <p:nvPr/>
          </p:nvSpPr>
          <p:spPr bwMode="auto">
            <a:xfrm>
              <a:off x="2425700" y="1987550"/>
              <a:ext cx="93663" cy="66675"/>
            </a:xfrm>
            <a:custGeom>
              <a:avLst/>
              <a:gdLst>
                <a:gd name="T0" fmla="*/ 89840 w 49"/>
                <a:gd name="T1" fmla="*/ 43815 h 35"/>
                <a:gd name="T2" fmla="*/ 91752 w 49"/>
                <a:gd name="T3" fmla="*/ 47625 h 35"/>
                <a:gd name="T4" fmla="*/ 82194 w 49"/>
                <a:gd name="T5" fmla="*/ 53340 h 35"/>
                <a:gd name="T6" fmla="*/ 72637 w 49"/>
                <a:gd name="T7" fmla="*/ 59055 h 35"/>
                <a:gd name="T8" fmla="*/ 64991 w 49"/>
                <a:gd name="T9" fmla="*/ 66675 h 35"/>
                <a:gd name="T10" fmla="*/ 51610 w 49"/>
                <a:gd name="T11" fmla="*/ 62865 h 35"/>
                <a:gd name="T12" fmla="*/ 28672 w 49"/>
                <a:gd name="T13" fmla="*/ 51435 h 35"/>
                <a:gd name="T14" fmla="*/ 24849 w 49"/>
                <a:gd name="T15" fmla="*/ 49530 h 35"/>
                <a:gd name="T16" fmla="*/ 21026 w 49"/>
                <a:gd name="T17" fmla="*/ 49530 h 35"/>
                <a:gd name="T18" fmla="*/ 15292 w 49"/>
                <a:gd name="T19" fmla="*/ 43815 h 35"/>
                <a:gd name="T20" fmla="*/ 11469 w 49"/>
                <a:gd name="T21" fmla="*/ 47625 h 35"/>
                <a:gd name="T22" fmla="*/ 0 w 49"/>
                <a:gd name="T23" fmla="*/ 41910 h 35"/>
                <a:gd name="T24" fmla="*/ 9557 w 49"/>
                <a:gd name="T25" fmla="*/ 34290 h 35"/>
                <a:gd name="T26" fmla="*/ 15292 w 49"/>
                <a:gd name="T27" fmla="*/ 38100 h 35"/>
                <a:gd name="T28" fmla="*/ 24849 w 49"/>
                <a:gd name="T29" fmla="*/ 34290 h 35"/>
                <a:gd name="T30" fmla="*/ 32495 w 49"/>
                <a:gd name="T31" fmla="*/ 26670 h 35"/>
                <a:gd name="T32" fmla="*/ 34407 w 49"/>
                <a:gd name="T33" fmla="*/ 15240 h 35"/>
                <a:gd name="T34" fmla="*/ 38230 w 49"/>
                <a:gd name="T35" fmla="*/ 22860 h 35"/>
                <a:gd name="T36" fmla="*/ 47787 w 49"/>
                <a:gd name="T37" fmla="*/ 20955 h 35"/>
                <a:gd name="T38" fmla="*/ 40141 w 49"/>
                <a:gd name="T39" fmla="*/ 15240 h 35"/>
                <a:gd name="T40" fmla="*/ 40141 w 49"/>
                <a:gd name="T41" fmla="*/ 7620 h 35"/>
                <a:gd name="T42" fmla="*/ 47787 w 49"/>
                <a:gd name="T43" fmla="*/ 0 h 35"/>
                <a:gd name="T44" fmla="*/ 57345 w 49"/>
                <a:gd name="T45" fmla="*/ 9525 h 35"/>
                <a:gd name="T46" fmla="*/ 57345 w 49"/>
                <a:gd name="T47" fmla="*/ 15240 h 35"/>
                <a:gd name="T48" fmla="*/ 64991 w 49"/>
                <a:gd name="T49" fmla="*/ 17145 h 35"/>
                <a:gd name="T50" fmla="*/ 74548 w 49"/>
                <a:gd name="T51" fmla="*/ 28575 h 35"/>
                <a:gd name="T52" fmla="*/ 74548 w 49"/>
                <a:gd name="T53" fmla="*/ 38100 h 35"/>
                <a:gd name="T54" fmla="*/ 78371 w 49"/>
                <a:gd name="T55" fmla="*/ 38100 h 35"/>
                <a:gd name="T56" fmla="*/ 78371 w 49"/>
                <a:gd name="T57" fmla="*/ 47625 h 35"/>
                <a:gd name="T58" fmla="*/ 89840 w 49"/>
                <a:gd name="T59" fmla="*/ 43815 h 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9"/>
                <a:gd name="T91" fmla="*/ 0 h 35"/>
                <a:gd name="T92" fmla="*/ 49 w 49"/>
                <a:gd name="T93" fmla="*/ 35 h 3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9" h="35">
                  <a:moveTo>
                    <a:pt x="47" y="23"/>
                  </a:moveTo>
                  <a:cubicBezTo>
                    <a:pt x="47" y="23"/>
                    <a:pt x="49" y="25"/>
                    <a:pt x="48" y="25"/>
                  </a:cubicBezTo>
                  <a:cubicBezTo>
                    <a:pt x="47" y="27"/>
                    <a:pt x="44" y="27"/>
                    <a:pt x="43" y="28"/>
                  </a:cubicBezTo>
                  <a:cubicBezTo>
                    <a:pt x="41" y="29"/>
                    <a:pt x="40" y="30"/>
                    <a:pt x="38" y="31"/>
                  </a:cubicBezTo>
                  <a:cubicBezTo>
                    <a:pt x="37" y="32"/>
                    <a:pt x="36" y="34"/>
                    <a:pt x="34" y="35"/>
                  </a:cubicBezTo>
                  <a:cubicBezTo>
                    <a:pt x="32" y="35"/>
                    <a:pt x="29" y="34"/>
                    <a:pt x="27" y="33"/>
                  </a:cubicBezTo>
                  <a:cubicBezTo>
                    <a:pt x="23" y="32"/>
                    <a:pt x="19" y="29"/>
                    <a:pt x="15" y="27"/>
                  </a:cubicBezTo>
                  <a:cubicBezTo>
                    <a:pt x="14" y="27"/>
                    <a:pt x="14" y="26"/>
                    <a:pt x="13" y="26"/>
                  </a:cubicBezTo>
                  <a:cubicBezTo>
                    <a:pt x="13" y="25"/>
                    <a:pt x="12" y="26"/>
                    <a:pt x="11" y="26"/>
                  </a:cubicBezTo>
                  <a:cubicBezTo>
                    <a:pt x="10" y="25"/>
                    <a:pt x="9" y="23"/>
                    <a:pt x="8" y="23"/>
                  </a:cubicBezTo>
                  <a:cubicBezTo>
                    <a:pt x="7" y="23"/>
                    <a:pt x="7" y="25"/>
                    <a:pt x="6" y="25"/>
                  </a:cubicBezTo>
                  <a:cubicBezTo>
                    <a:pt x="4" y="25"/>
                    <a:pt x="1" y="24"/>
                    <a:pt x="0" y="22"/>
                  </a:cubicBezTo>
                  <a:cubicBezTo>
                    <a:pt x="0" y="20"/>
                    <a:pt x="3" y="18"/>
                    <a:pt x="5" y="18"/>
                  </a:cubicBezTo>
                  <a:cubicBezTo>
                    <a:pt x="6" y="18"/>
                    <a:pt x="7" y="20"/>
                    <a:pt x="8" y="20"/>
                  </a:cubicBezTo>
                  <a:cubicBezTo>
                    <a:pt x="9" y="20"/>
                    <a:pt x="11" y="19"/>
                    <a:pt x="13" y="18"/>
                  </a:cubicBezTo>
                  <a:cubicBezTo>
                    <a:pt x="14" y="17"/>
                    <a:pt x="16" y="16"/>
                    <a:pt x="17" y="14"/>
                  </a:cubicBezTo>
                  <a:cubicBezTo>
                    <a:pt x="18" y="12"/>
                    <a:pt x="16" y="9"/>
                    <a:pt x="18" y="8"/>
                  </a:cubicBezTo>
                  <a:cubicBezTo>
                    <a:pt x="19" y="7"/>
                    <a:pt x="19" y="11"/>
                    <a:pt x="20" y="12"/>
                  </a:cubicBezTo>
                  <a:cubicBezTo>
                    <a:pt x="22" y="12"/>
                    <a:pt x="24" y="13"/>
                    <a:pt x="25" y="11"/>
                  </a:cubicBezTo>
                  <a:cubicBezTo>
                    <a:pt x="25" y="10"/>
                    <a:pt x="22" y="10"/>
                    <a:pt x="21" y="8"/>
                  </a:cubicBezTo>
                  <a:cubicBezTo>
                    <a:pt x="21" y="7"/>
                    <a:pt x="21" y="5"/>
                    <a:pt x="21" y="4"/>
                  </a:cubicBezTo>
                  <a:cubicBezTo>
                    <a:pt x="22" y="2"/>
                    <a:pt x="24" y="0"/>
                    <a:pt x="25" y="0"/>
                  </a:cubicBezTo>
                  <a:cubicBezTo>
                    <a:pt x="28" y="1"/>
                    <a:pt x="29" y="3"/>
                    <a:pt x="30" y="5"/>
                  </a:cubicBezTo>
                  <a:cubicBezTo>
                    <a:pt x="31" y="6"/>
                    <a:pt x="30" y="7"/>
                    <a:pt x="30" y="8"/>
                  </a:cubicBezTo>
                  <a:cubicBezTo>
                    <a:pt x="31" y="9"/>
                    <a:pt x="33" y="8"/>
                    <a:pt x="34" y="9"/>
                  </a:cubicBezTo>
                  <a:cubicBezTo>
                    <a:pt x="36" y="11"/>
                    <a:pt x="38" y="13"/>
                    <a:pt x="39" y="15"/>
                  </a:cubicBezTo>
                  <a:cubicBezTo>
                    <a:pt x="39" y="17"/>
                    <a:pt x="38" y="19"/>
                    <a:pt x="39" y="20"/>
                  </a:cubicBezTo>
                  <a:cubicBezTo>
                    <a:pt x="39" y="21"/>
                    <a:pt x="41" y="19"/>
                    <a:pt x="41" y="20"/>
                  </a:cubicBezTo>
                  <a:cubicBezTo>
                    <a:pt x="42" y="21"/>
                    <a:pt x="40" y="24"/>
                    <a:pt x="41" y="25"/>
                  </a:cubicBezTo>
                  <a:cubicBezTo>
                    <a:pt x="43" y="26"/>
                    <a:pt x="45" y="23"/>
                    <a:pt x="47" y="2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49" name="Freeform 1050"/>
            <p:cNvSpPr>
              <a:spLocks noChangeAspect="1"/>
            </p:cNvSpPr>
            <p:nvPr/>
          </p:nvSpPr>
          <p:spPr bwMode="auto">
            <a:xfrm>
              <a:off x="2508250" y="2000250"/>
              <a:ext cx="12700" cy="15875"/>
            </a:xfrm>
            <a:custGeom>
              <a:avLst/>
              <a:gdLst>
                <a:gd name="T0" fmla="*/ 10886 w 7"/>
                <a:gd name="T1" fmla="*/ 14111 h 9"/>
                <a:gd name="T2" fmla="*/ 10886 w 7"/>
                <a:gd name="T3" fmla="*/ 7056 h 9"/>
                <a:gd name="T4" fmla="*/ 7257 w 7"/>
                <a:gd name="T5" fmla="*/ 1764 h 9"/>
                <a:gd name="T6" fmla="*/ 0 w 7"/>
                <a:gd name="T7" fmla="*/ 1764 h 9"/>
                <a:gd name="T8" fmla="*/ 1814 w 7"/>
                <a:gd name="T9" fmla="*/ 3528 h 9"/>
                <a:gd name="T10" fmla="*/ 7257 w 7"/>
                <a:gd name="T11" fmla="*/ 8819 h 9"/>
                <a:gd name="T12" fmla="*/ 7257 w 7"/>
                <a:gd name="T13" fmla="*/ 12347 h 9"/>
                <a:gd name="T14" fmla="*/ 10886 w 7"/>
                <a:gd name="T15" fmla="*/ 14111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"/>
                <a:gd name="T25" fmla="*/ 0 h 9"/>
                <a:gd name="T26" fmla="*/ 7 w 7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" h="9">
                  <a:moveTo>
                    <a:pt x="6" y="8"/>
                  </a:moveTo>
                  <a:cubicBezTo>
                    <a:pt x="7" y="7"/>
                    <a:pt x="7" y="5"/>
                    <a:pt x="6" y="4"/>
                  </a:cubicBezTo>
                  <a:cubicBezTo>
                    <a:pt x="6" y="2"/>
                    <a:pt x="5" y="1"/>
                    <a:pt x="4" y="1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3"/>
                    <a:pt x="3" y="3"/>
                    <a:pt x="4" y="5"/>
                  </a:cubicBezTo>
                  <a:cubicBezTo>
                    <a:pt x="4" y="5"/>
                    <a:pt x="3" y="6"/>
                    <a:pt x="4" y="7"/>
                  </a:cubicBezTo>
                  <a:cubicBezTo>
                    <a:pt x="4" y="8"/>
                    <a:pt x="5" y="9"/>
                    <a:pt x="6" y="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0" name="Freeform 1051"/>
            <p:cNvSpPr>
              <a:spLocks noChangeAspect="1"/>
            </p:cNvSpPr>
            <p:nvPr/>
          </p:nvSpPr>
          <p:spPr bwMode="auto">
            <a:xfrm>
              <a:off x="2403475" y="2025650"/>
              <a:ext cx="11113" cy="17463"/>
            </a:xfrm>
            <a:custGeom>
              <a:avLst/>
              <a:gdLst>
                <a:gd name="T0" fmla="*/ 7409 w 6"/>
                <a:gd name="T1" fmla="*/ 1940 h 9"/>
                <a:gd name="T2" fmla="*/ 11113 w 6"/>
                <a:gd name="T3" fmla="*/ 9702 h 9"/>
                <a:gd name="T4" fmla="*/ 3704 w 6"/>
                <a:gd name="T5" fmla="*/ 15523 h 9"/>
                <a:gd name="T6" fmla="*/ 3704 w 6"/>
                <a:gd name="T7" fmla="*/ 3881 h 9"/>
                <a:gd name="T8" fmla="*/ 7409 w 6"/>
                <a:gd name="T9" fmla="*/ 194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4" y="1"/>
                  </a:moveTo>
                  <a:cubicBezTo>
                    <a:pt x="5" y="2"/>
                    <a:pt x="6" y="4"/>
                    <a:pt x="6" y="5"/>
                  </a:cubicBezTo>
                  <a:cubicBezTo>
                    <a:pt x="5" y="7"/>
                    <a:pt x="3" y="9"/>
                    <a:pt x="2" y="8"/>
                  </a:cubicBezTo>
                  <a:cubicBezTo>
                    <a:pt x="0" y="7"/>
                    <a:pt x="1" y="4"/>
                    <a:pt x="2" y="2"/>
                  </a:cubicBezTo>
                  <a:cubicBezTo>
                    <a:pt x="2" y="1"/>
                    <a:pt x="3" y="0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1" name="Freeform 1052"/>
            <p:cNvSpPr>
              <a:spLocks noChangeAspect="1"/>
            </p:cNvSpPr>
            <p:nvPr/>
          </p:nvSpPr>
          <p:spPr bwMode="auto">
            <a:xfrm>
              <a:off x="2366963" y="2038350"/>
              <a:ext cx="12700" cy="11113"/>
            </a:xfrm>
            <a:custGeom>
              <a:avLst/>
              <a:gdLst>
                <a:gd name="T0" fmla="*/ 10886 w 7"/>
                <a:gd name="T1" fmla="*/ 1852 h 6"/>
                <a:gd name="T2" fmla="*/ 9071 w 7"/>
                <a:gd name="T3" fmla="*/ 9261 h 6"/>
                <a:gd name="T4" fmla="*/ 0 w 7"/>
                <a:gd name="T5" fmla="*/ 7409 h 6"/>
                <a:gd name="T6" fmla="*/ 3629 w 7"/>
                <a:gd name="T7" fmla="*/ 3704 h 6"/>
                <a:gd name="T8" fmla="*/ 10886 w 7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6" y="1"/>
                  </a:moveTo>
                  <a:cubicBezTo>
                    <a:pt x="7" y="2"/>
                    <a:pt x="6" y="4"/>
                    <a:pt x="5" y="5"/>
                  </a:cubicBezTo>
                  <a:cubicBezTo>
                    <a:pt x="4" y="6"/>
                    <a:pt x="2" y="5"/>
                    <a:pt x="0" y="4"/>
                  </a:cubicBezTo>
                  <a:cubicBezTo>
                    <a:pt x="0" y="4"/>
                    <a:pt x="1" y="2"/>
                    <a:pt x="2" y="2"/>
                  </a:cubicBezTo>
                  <a:cubicBezTo>
                    <a:pt x="3" y="1"/>
                    <a:pt x="5" y="0"/>
                    <a:pt x="6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2" name="Freeform 1053"/>
            <p:cNvSpPr>
              <a:spLocks noChangeAspect="1"/>
            </p:cNvSpPr>
            <p:nvPr/>
          </p:nvSpPr>
          <p:spPr bwMode="auto">
            <a:xfrm>
              <a:off x="2308225" y="2044700"/>
              <a:ext cx="12700" cy="12700"/>
            </a:xfrm>
            <a:custGeom>
              <a:avLst/>
              <a:gdLst>
                <a:gd name="T0" fmla="*/ 1814 w 7"/>
                <a:gd name="T1" fmla="*/ 0 h 6"/>
                <a:gd name="T2" fmla="*/ 10886 w 7"/>
                <a:gd name="T3" fmla="*/ 4233 h 6"/>
                <a:gd name="T4" fmla="*/ 7257 w 7"/>
                <a:gd name="T5" fmla="*/ 10583 h 6"/>
                <a:gd name="T6" fmla="*/ 0 w 7"/>
                <a:gd name="T7" fmla="*/ 2117 h 6"/>
                <a:gd name="T8" fmla="*/ 1814 w 7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6"/>
                <a:gd name="T17" fmla="*/ 7 w 7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6">
                  <a:moveTo>
                    <a:pt x="1" y="0"/>
                  </a:moveTo>
                  <a:cubicBezTo>
                    <a:pt x="3" y="0"/>
                    <a:pt x="5" y="1"/>
                    <a:pt x="6" y="2"/>
                  </a:cubicBezTo>
                  <a:cubicBezTo>
                    <a:pt x="7" y="3"/>
                    <a:pt x="5" y="6"/>
                    <a:pt x="4" y="5"/>
                  </a:cubicBezTo>
                  <a:cubicBezTo>
                    <a:pt x="2" y="5"/>
                    <a:pt x="1" y="3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3" name="Freeform 1054"/>
            <p:cNvSpPr>
              <a:spLocks noChangeAspect="1"/>
            </p:cNvSpPr>
            <p:nvPr/>
          </p:nvSpPr>
          <p:spPr bwMode="auto">
            <a:xfrm>
              <a:off x="2497138" y="2001838"/>
              <a:ext cx="9525" cy="9525"/>
            </a:xfrm>
            <a:custGeom>
              <a:avLst/>
              <a:gdLst>
                <a:gd name="T0" fmla="*/ 0 w 5"/>
                <a:gd name="T1" fmla="*/ 1905 h 5"/>
                <a:gd name="T2" fmla="*/ 7620 w 5"/>
                <a:gd name="T3" fmla="*/ 3810 h 5"/>
                <a:gd name="T4" fmla="*/ 5715 w 5"/>
                <a:gd name="T5" fmla="*/ 9525 h 5"/>
                <a:gd name="T6" fmla="*/ 0 w 5"/>
                <a:gd name="T7" fmla="*/ 190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5"/>
                <a:gd name="T14" fmla="*/ 5 w 5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5">
                  <a:moveTo>
                    <a:pt x="0" y="1"/>
                  </a:moveTo>
                  <a:cubicBezTo>
                    <a:pt x="1" y="0"/>
                    <a:pt x="4" y="1"/>
                    <a:pt x="4" y="2"/>
                  </a:cubicBezTo>
                  <a:cubicBezTo>
                    <a:pt x="5" y="3"/>
                    <a:pt x="4" y="5"/>
                    <a:pt x="3" y="5"/>
                  </a:cubicBezTo>
                  <a:cubicBezTo>
                    <a:pt x="1" y="4"/>
                    <a:pt x="0" y="2"/>
                    <a:pt x="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4" name="Freeform 1055"/>
            <p:cNvSpPr>
              <a:spLocks noChangeAspect="1"/>
            </p:cNvSpPr>
            <p:nvPr/>
          </p:nvSpPr>
          <p:spPr bwMode="auto">
            <a:xfrm>
              <a:off x="1657350" y="2016125"/>
              <a:ext cx="9525" cy="14288"/>
            </a:xfrm>
            <a:custGeom>
              <a:avLst/>
              <a:gdLst>
                <a:gd name="T0" fmla="*/ 3810 w 5"/>
                <a:gd name="T1" fmla="*/ 2041 h 7"/>
                <a:gd name="T2" fmla="*/ 7620 w 5"/>
                <a:gd name="T3" fmla="*/ 12247 h 7"/>
                <a:gd name="T4" fmla="*/ 1905 w 5"/>
                <a:gd name="T5" fmla="*/ 10206 h 7"/>
                <a:gd name="T6" fmla="*/ 3810 w 5"/>
                <a:gd name="T7" fmla="*/ 2041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7"/>
                <a:gd name="T14" fmla="*/ 5 w 5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7">
                  <a:moveTo>
                    <a:pt x="2" y="1"/>
                  </a:moveTo>
                  <a:cubicBezTo>
                    <a:pt x="4" y="1"/>
                    <a:pt x="5" y="4"/>
                    <a:pt x="4" y="6"/>
                  </a:cubicBezTo>
                  <a:cubicBezTo>
                    <a:pt x="4" y="7"/>
                    <a:pt x="1" y="6"/>
                    <a:pt x="1" y="5"/>
                  </a:cubicBezTo>
                  <a:cubicBezTo>
                    <a:pt x="0" y="3"/>
                    <a:pt x="1" y="0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5" name="Freeform 1056"/>
            <p:cNvSpPr>
              <a:spLocks noChangeAspect="1"/>
            </p:cNvSpPr>
            <p:nvPr/>
          </p:nvSpPr>
          <p:spPr bwMode="auto">
            <a:xfrm>
              <a:off x="1666875" y="2014538"/>
              <a:ext cx="12700" cy="17462"/>
            </a:xfrm>
            <a:custGeom>
              <a:avLst/>
              <a:gdLst>
                <a:gd name="T0" fmla="*/ 8467 w 6"/>
                <a:gd name="T1" fmla="*/ 1940 h 9"/>
                <a:gd name="T2" fmla="*/ 12700 w 6"/>
                <a:gd name="T3" fmla="*/ 13582 h 9"/>
                <a:gd name="T4" fmla="*/ 2117 w 6"/>
                <a:gd name="T5" fmla="*/ 15522 h 9"/>
                <a:gd name="T6" fmla="*/ 2117 w 6"/>
                <a:gd name="T7" fmla="*/ 3880 h 9"/>
                <a:gd name="T8" fmla="*/ 8467 w 6"/>
                <a:gd name="T9" fmla="*/ 194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4" y="1"/>
                  </a:moveTo>
                  <a:cubicBezTo>
                    <a:pt x="5" y="2"/>
                    <a:pt x="6" y="5"/>
                    <a:pt x="6" y="7"/>
                  </a:cubicBezTo>
                  <a:cubicBezTo>
                    <a:pt x="5" y="8"/>
                    <a:pt x="2" y="9"/>
                    <a:pt x="1" y="8"/>
                  </a:cubicBezTo>
                  <a:cubicBezTo>
                    <a:pt x="0" y="6"/>
                    <a:pt x="0" y="4"/>
                    <a:pt x="1" y="2"/>
                  </a:cubicBezTo>
                  <a:cubicBezTo>
                    <a:pt x="1" y="1"/>
                    <a:pt x="3" y="0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6" name="Freeform 1057"/>
            <p:cNvSpPr>
              <a:spLocks noChangeAspect="1"/>
            </p:cNvSpPr>
            <p:nvPr/>
          </p:nvSpPr>
          <p:spPr bwMode="auto">
            <a:xfrm>
              <a:off x="1676400" y="2000250"/>
              <a:ext cx="33338" cy="25400"/>
            </a:xfrm>
            <a:custGeom>
              <a:avLst/>
              <a:gdLst>
                <a:gd name="T0" fmla="*/ 23533 w 17"/>
                <a:gd name="T1" fmla="*/ 0 h 14"/>
                <a:gd name="T2" fmla="*/ 33338 w 17"/>
                <a:gd name="T3" fmla="*/ 7257 h 14"/>
                <a:gd name="T4" fmla="*/ 19611 w 17"/>
                <a:gd name="T5" fmla="*/ 18143 h 14"/>
                <a:gd name="T6" fmla="*/ 7844 w 17"/>
                <a:gd name="T7" fmla="*/ 23586 h 14"/>
                <a:gd name="T8" fmla="*/ 1961 w 17"/>
                <a:gd name="T9" fmla="*/ 16329 h 14"/>
                <a:gd name="T10" fmla="*/ 3922 w 17"/>
                <a:gd name="T11" fmla="*/ 9071 h 14"/>
                <a:gd name="T12" fmla="*/ 17650 w 17"/>
                <a:gd name="T13" fmla="*/ 9071 h 14"/>
                <a:gd name="T14" fmla="*/ 23533 w 17"/>
                <a:gd name="T15" fmla="*/ 0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4"/>
                <a:gd name="T26" fmla="*/ 17 w 17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4">
                  <a:moveTo>
                    <a:pt x="12" y="0"/>
                  </a:moveTo>
                  <a:cubicBezTo>
                    <a:pt x="14" y="0"/>
                    <a:pt x="17" y="2"/>
                    <a:pt x="17" y="4"/>
                  </a:cubicBezTo>
                  <a:cubicBezTo>
                    <a:pt x="16" y="7"/>
                    <a:pt x="13" y="8"/>
                    <a:pt x="10" y="10"/>
                  </a:cubicBezTo>
                  <a:cubicBezTo>
                    <a:pt x="8" y="11"/>
                    <a:pt x="6" y="14"/>
                    <a:pt x="4" y="13"/>
                  </a:cubicBezTo>
                  <a:cubicBezTo>
                    <a:pt x="2" y="13"/>
                    <a:pt x="1" y="11"/>
                    <a:pt x="1" y="9"/>
                  </a:cubicBezTo>
                  <a:cubicBezTo>
                    <a:pt x="0" y="8"/>
                    <a:pt x="1" y="6"/>
                    <a:pt x="2" y="5"/>
                  </a:cubicBezTo>
                  <a:cubicBezTo>
                    <a:pt x="4" y="4"/>
                    <a:pt x="7" y="6"/>
                    <a:pt x="9" y="5"/>
                  </a:cubicBezTo>
                  <a:cubicBezTo>
                    <a:pt x="10" y="4"/>
                    <a:pt x="10" y="0"/>
                    <a:pt x="1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7" name="Freeform 1058"/>
            <p:cNvSpPr>
              <a:spLocks noChangeAspect="1"/>
            </p:cNvSpPr>
            <p:nvPr/>
          </p:nvSpPr>
          <p:spPr bwMode="auto">
            <a:xfrm>
              <a:off x="2649538" y="1824038"/>
              <a:ext cx="573087" cy="484187"/>
            </a:xfrm>
            <a:custGeom>
              <a:avLst/>
              <a:gdLst>
                <a:gd name="T0" fmla="*/ 418868 w 301"/>
                <a:gd name="T1" fmla="*/ 411750 h 254"/>
                <a:gd name="T2" fmla="*/ 416964 w 301"/>
                <a:gd name="T3" fmla="*/ 442250 h 254"/>
                <a:gd name="T4" fmla="*/ 436003 w 301"/>
                <a:gd name="T5" fmla="*/ 480375 h 254"/>
                <a:gd name="T6" fmla="*/ 359845 w 301"/>
                <a:gd name="T7" fmla="*/ 447968 h 254"/>
                <a:gd name="T8" fmla="*/ 338902 w 301"/>
                <a:gd name="T9" fmla="*/ 421281 h 254"/>
                <a:gd name="T10" fmla="*/ 310343 w 301"/>
                <a:gd name="T11" fmla="*/ 396500 h 254"/>
                <a:gd name="T12" fmla="*/ 285592 w 301"/>
                <a:gd name="T13" fmla="*/ 385062 h 254"/>
                <a:gd name="T14" fmla="*/ 279880 w 301"/>
                <a:gd name="T15" fmla="*/ 377437 h 254"/>
                <a:gd name="T16" fmla="*/ 218953 w 301"/>
                <a:gd name="T17" fmla="*/ 392687 h 254"/>
                <a:gd name="T18" fmla="*/ 222761 w 301"/>
                <a:gd name="T19" fmla="*/ 346937 h 254"/>
                <a:gd name="T20" fmla="*/ 295111 w 301"/>
                <a:gd name="T21" fmla="*/ 341218 h 254"/>
                <a:gd name="T22" fmla="*/ 344614 w 301"/>
                <a:gd name="T23" fmla="*/ 268781 h 254"/>
                <a:gd name="T24" fmla="*/ 314151 w 301"/>
                <a:gd name="T25" fmla="*/ 213500 h 254"/>
                <a:gd name="T26" fmla="*/ 291303 w 301"/>
                <a:gd name="T27" fmla="*/ 205875 h 254"/>
                <a:gd name="T28" fmla="*/ 281784 w 301"/>
                <a:gd name="T29" fmla="*/ 188719 h 254"/>
                <a:gd name="T30" fmla="*/ 249417 w 301"/>
                <a:gd name="T31" fmla="*/ 150594 h 254"/>
                <a:gd name="T32" fmla="*/ 209434 w 301"/>
                <a:gd name="T33" fmla="*/ 146781 h 254"/>
                <a:gd name="T34" fmla="*/ 184683 w 301"/>
                <a:gd name="T35" fmla="*/ 169656 h 254"/>
                <a:gd name="T36" fmla="*/ 150412 w 301"/>
                <a:gd name="T37" fmla="*/ 167750 h 254"/>
                <a:gd name="T38" fmla="*/ 74254 w 301"/>
                <a:gd name="T39" fmla="*/ 160125 h 254"/>
                <a:gd name="T40" fmla="*/ 53310 w 301"/>
                <a:gd name="T41" fmla="*/ 154406 h 254"/>
                <a:gd name="T42" fmla="*/ 30463 w 301"/>
                <a:gd name="T43" fmla="*/ 116281 h 254"/>
                <a:gd name="T44" fmla="*/ 3808 w 301"/>
                <a:gd name="T45" fmla="*/ 99125 h 254"/>
                <a:gd name="T46" fmla="*/ 97101 w 301"/>
                <a:gd name="T47" fmla="*/ 1906 h 254"/>
                <a:gd name="T48" fmla="*/ 85677 w 301"/>
                <a:gd name="T49" fmla="*/ 47656 h 254"/>
                <a:gd name="T50" fmla="*/ 79966 w 301"/>
                <a:gd name="T51" fmla="*/ 112469 h 254"/>
                <a:gd name="T52" fmla="*/ 110429 w 301"/>
                <a:gd name="T53" fmla="*/ 108656 h 254"/>
                <a:gd name="T54" fmla="*/ 125660 w 301"/>
                <a:gd name="T55" fmla="*/ 76250 h 254"/>
                <a:gd name="T56" fmla="*/ 118044 w 301"/>
                <a:gd name="T57" fmla="*/ 40031 h 254"/>
                <a:gd name="T58" fmla="*/ 125660 w 301"/>
                <a:gd name="T59" fmla="*/ 19062 h 254"/>
                <a:gd name="T60" fmla="*/ 207530 w 301"/>
                <a:gd name="T61" fmla="*/ 13344 h 254"/>
                <a:gd name="T62" fmla="*/ 196106 w 301"/>
                <a:gd name="T63" fmla="*/ 76250 h 254"/>
                <a:gd name="T64" fmla="*/ 237993 w 301"/>
                <a:gd name="T65" fmla="*/ 66719 h 254"/>
                <a:gd name="T66" fmla="*/ 245609 w 301"/>
                <a:gd name="T67" fmla="*/ 64812 h 254"/>
                <a:gd name="T68" fmla="*/ 302727 w 301"/>
                <a:gd name="T69" fmla="*/ 55281 h 254"/>
                <a:gd name="T70" fmla="*/ 319862 w 301"/>
                <a:gd name="T71" fmla="*/ 76250 h 254"/>
                <a:gd name="T72" fmla="*/ 335094 w 301"/>
                <a:gd name="T73" fmla="*/ 93406 h 254"/>
                <a:gd name="T74" fmla="*/ 350326 w 301"/>
                <a:gd name="T75" fmla="*/ 118187 h 254"/>
                <a:gd name="T76" fmla="*/ 399828 w 301"/>
                <a:gd name="T77" fmla="*/ 110562 h 254"/>
                <a:gd name="T78" fmla="*/ 388404 w 301"/>
                <a:gd name="T79" fmla="*/ 131531 h 254"/>
                <a:gd name="T80" fmla="*/ 378885 w 301"/>
                <a:gd name="T81" fmla="*/ 152500 h 254"/>
                <a:gd name="T82" fmla="*/ 418868 w 301"/>
                <a:gd name="T83" fmla="*/ 133437 h 254"/>
                <a:gd name="T84" fmla="*/ 422675 w 301"/>
                <a:gd name="T85" fmla="*/ 152500 h 254"/>
                <a:gd name="T86" fmla="*/ 418868 w 301"/>
                <a:gd name="T87" fmla="*/ 173469 h 254"/>
                <a:gd name="T88" fmla="*/ 430291 w 301"/>
                <a:gd name="T89" fmla="*/ 179187 h 254"/>
                <a:gd name="T90" fmla="*/ 443619 w 301"/>
                <a:gd name="T91" fmla="*/ 190625 h 254"/>
                <a:gd name="T92" fmla="*/ 449331 w 301"/>
                <a:gd name="T93" fmla="*/ 211594 h 254"/>
                <a:gd name="T94" fmla="*/ 464562 w 301"/>
                <a:gd name="T95" fmla="*/ 230656 h 254"/>
                <a:gd name="T96" fmla="*/ 481698 w 301"/>
                <a:gd name="T97" fmla="*/ 257344 h 254"/>
                <a:gd name="T98" fmla="*/ 515969 w 301"/>
                <a:gd name="T99" fmla="*/ 266875 h 254"/>
                <a:gd name="T100" fmla="*/ 525488 w 301"/>
                <a:gd name="T101" fmla="*/ 291656 h 254"/>
                <a:gd name="T102" fmla="*/ 565471 w 301"/>
                <a:gd name="T103" fmla="*/ 287843 h 254"/>
                <a:gd name="T104" fmla="*/ 552144 w 301"/>
                <a:gd name="T105" fmla="*/ 318343 h 254"/>
                <a:gd name="T106" fmla="*/ 521681 w 301"/>
                <a:gd name="T107" fmla="*/ 329781 h 254"/>
                <a:gd name="T108" fmla="*/ 489314 w 301"/>
                <a:gd name="T109" fmla="*/ 343125 h 254"/>
                <a:gd name="T110" fmla="*/ 475986 w 301"/>
                <a:gd name="T111" fmla="*/ 314531 h 254"/>
                <a:gd name="T112" fmla="*/ 434099 w 301"/>
                <a:gd name="T113" fmla="*/ 306906 h 254"/>
                <a:gd name="T114" fmla="*/ 439811 w 301"/>
                <a:gd name="T115" fmla="*/ 337406 h 254"/>
                <a:gd name="T116" fmla="*/ 477890 w 301"/>
                <a:gd name="T117" fmla="*/ 385062 h 254"/>
                <a:gd name="T118" fmla="*/ 470274 w 301"/>
                <a:gd name="T119" fmla="*/ 442250 h 25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01"/>
                <a:gd name="T181" fmla="*/ 0 h 254"/>
                <a:gd name="T182" fmla="*/ 301 w 301"/>
                <a:gd name="T183" fmla="*/ 254 h 25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01" h="254">
                  <a:moveTo>
                    <a:pt x="248" y="236"/>
                  </a:moveTo>
                  <a:cubicBezTo>
                    <a:pt x="245" y="237"/>
                    <a:pt x="243" y="234"/>
                    <a:pt x="241" y="233"/>
                  </a:cubicBezTo>
                  <a:cubicBezTo>
                    <a:pt x="239" y="232"/>
                    <a:pt x="238" y="230"/>
                    <a:pt x="236" y="229"/>
                  </a:cubicBezTo>
                  <a:cubicBezTo>
                    <a:pt x="235" y="229"/>
                    <a:pt x="234" y="231"/>
                    <a:pt x="233" y="230"/>
                  </a:cubicBezTo>
                  <a:cubicBezTo>
                    <a:pt x="231" y="230"/>
                    <a:pt x="231" y="227"/>
                    <a:pt x="230" y="227"/>
                  </a:cubicBezTo>
                  <a:cubicBezTo>
                    <a:pt x="228" y="225"/>
                    <a:pt x="225" y="226"/>
                    <a:pt x="224" y="224"/>
                  </a:cubicBezTo>
                  <a:cubicBezTo>
                    <a:pt x="222" y="222"/>
                    <a:pt x="223" y="217"/>
                    <a:pt x="220" y="216"/>
                  </a:cubicBezTo>
                  <a:cubicBezTo>
                    <a:pt x="217" y="215"/>
                    <a:pt x="221" y="222"/>
                    <a:pt x="218" y="222"/>
                  </a:cubicBezTo>
                  <a:cubicBezTo>
                    <a:pt x="215" y="222"/>
                    <a:pt x="215" y="217"/>
                    <a:pt x="213" y="216"/>
                  </a:cubicBezTo>
                  <a:cubicBezTo>
                    <a:pt x="212" y="215"/>
                    <a:pt x="211" y="216"/>
                    <a:pt x="209" y="216"/>
                  </a:cubicBezTo>
                  <a:cubicBezTo>
                    <a:pt x="208" y="216"/>
                    <a:pt x="206" y="214"/>
                    <a:pt x="206" y="216"/>
                  </a:cubicBezTo>
                  <a:cubicBezTo>
                    <a:pt x="207" y="219"/>
                    <a:pt x="210" y="222"/>
                    <a:pt x="213" y="225"/>
                  </a:cubicBezTo>
                  <a:cubicBezTo>
                    <a:pt x="214" y="226"/>
                    <a:pt x="217" y="227"/>
                    <a:pt x="219" y="228"/>
                  </a:cubicBezTo>
                  <a:cubicBezTo>
                    <a:pt x="220" y="229"/>
                    <a:pt x="218" y="231"/>
                    <a:pt x="219" y="232"/>
                  </a:cubicBezTo>
                  <a:cubicBezTo>
                    <a:pt x="221" y="234"/>
                    <a:pt x="225" y="234"/>
                    <a:pt x="227" y="236"/>
                  </a:cubicBezTo>
                  <a:cubicBezTo>
                    <a:pt x="229" y="238"/>
                    <a:pt x="229" y="241"/>
                    <a:pt x="231" y="242"/>
                  </a:cubicBezTo>
                  <a:cubicBezTo>
                    <a:pt x="232" y="243"/>
                    <a:pt x="234" y="242"/>
                    <a:pt x="235" y="243"/>
                  </a:cubicBezTo>
                  <a:cubicBezTo>
                    <a:pt x="236" y="244"/>
                    <a:pt x="237" y="246"/>
                    <a:pt x="236" y="247"/>
                  </a:cubicBezTo>
                  <a:cubicBezTo>
                    <a:pt x="235" y="248"/>
                    <a:pt x="232" y="246"/>
                    <a:pt x="232" y="247"/>
                  </a:cubicBezTo>
                  <a:cubicBezTo>
                    <a:pt x="232" y="249"/>
                    <a:pt x="236" y="251"/>
                    <a:pt x="235" y="252"/>
                  </a:cubicBezTo>
                  <a:cubicBezTo>
                    <a:pt x="234" y="254"/>
                    <a:pt x="231" y="253"/>
                    <a:pt x="229" y="252"/>
                  </a:cubicBezTo>
                  <a:cubicBezTo>
                    <a:pt x="227" y="252"/>
                    <a:pt x="225" y="250"/>
                    <a:pt x="223" y="249"/>
                  </a:cubicBezTo>
                  <a:cubicBezTo>
                    <a:pt x="221" y="248"/>
                    <a:pt x="218" y="246"/>
                    <a:pt x="215" y="245"/>
                  </a:cubicBezTo>
                  <a:cubicBezTo>
                    <a:pt x="213" y="244"/>
                    <a:pt x="210" y="245"/>
                    <a:pt x="207" y="245"/>
                  </a:cubicBezTo>
                  <a:cubicBezTo>
                    <a:pt x="205" y="244"/>
                    <a:pt x="202" y="244"/>
                    <a:pt x="200" y="243"/>
                  </a:cubicBezTo>
                  <a:cubicBezTo>
                    <a:pt x="198" y="242"/>
                    <a:pt x="197" y="239"/>
                    <a:pt x="195" y="237"/>
                  </a:cubicBezTo>
                  <a:cubicBezTo>
                    <a:pt x="194" y="236"/>
                    <a:pt x="194" y="233"/>
                    <a:pt x="193" y="233"/>
                  </a:cubicBezTo>
                  <a:cubicBezTo>
                    <a:pt x="191" y="233"/>
                    <a:pt x="190" y="235"/>
                    <a:pt x="189" y="235"/>
                  </a:cubicBezTo>
                  <a:cubicBezTo>
                    <a:pt x="187" y="235"/>
                    <a:pt x="186" y="234"/>
                    <a:pt x="184" y="233"/>
                  </a:cubicBezTo>
                  <a:cubicBezTo>
                    <a:pt x="183" y="232"/>
                    <a:pt x="181" y="232"/>
                    <a:pt x="180" y="231"/>
                  </a:cubicBezTo>
                  <a:cubicBezTo>
                    <a:pt x="179" y="230"/>
                    <a:pt x="181" y="229"/>
                    <a:pt x="180" y="228"/>
                  </a:cubicBezTo>
                  <a:cubicBezTo>
                    <a:pt x="179" y="228"/>
                    <a:pt x="178" y="229"/>
                    <a:pt x="177" y="229"/>
                  </a:cubicBezTo>
                  <a:cubicBezTo>
                    <a:pt x="175" y="228"/>
                    <a:pt x="174" y="226"/>
                    <a:pt x="173" y="225"/>
                  </a:cubicBezTo>
                  <a:cubicBezTo>
                    <a:pt x="172" y="224"/>
                    <a:pt x="168" y="223"/>
                    <a:pt x="170" y="222"/>
                  </a:cubicBezTo>
                  <a:cubicBezTo>
                    <a:pt x="172" y="220"/>
                    <a:pt x="175" y="222"/>
                    <a:pt x="178" y="221"/>
                  </a:cubicBezTo>
                  <a:cubicBezTo>
                    <a:pt x="179" y="221"/>
                    <a:pt x="179" y="219"/>
                    <a:pt x="178" y="218"/>
                  </a:cubicBezTo>
                  <a:cubicBezTo>
                    <a:pt x="177" y="217"/>
                    <a:pt x="175" y="217"/>
                    <a:pt x="174" y="217"/>
                  </a:cubicBezTo>
                  <a:cubicBezTo>
                    <a:pt x="172" y="216"/>
                    <a:pt x="172" y="214"/>
                    <a:pt x="171" y="214"/>
                  </a:cubicBezTo>
                  <a:cubicBezTo>
                    <a:pt x="170" y="213"/>
                    <a:pt x="170" y="216"/>
                    <a:pt x="169" y="216"/>
                  </a:cubicBezTo>
                  <a:cubicBezTo>
                    <a:pt x="168" y="215"/>
                    <a:pt x="168" y="213"/>
                    <a:pt x="167" y="212"/>
                  </a:cubicBezTo>
                  <a:cubicBezTo>
                    <a:pt x="166" y="211"/>
                    <a:pt x="164" y="213"/>
                    <a:pt x="163" y="212"/>
                  </a:cubicBezTo>
                  <a:cubicBezTo>
                    <a:pt x="162" y="211"/>
                    <a:pt x="163" y="209"/>
                    <a:pt x="163" y="208"/>
                  </a:cubicBezTo>
                  <a:cubicBezTo>
                    <a:pt x="162" y="206"/>
                    <a:pt x="159" y="206"/>
                    <a:pt x="158" y="205"/>
                  </a:cubicBezTo>
                  <a:cubicBezTo>
                    <a:pt x="158" y="203"/>
                    <a:pt x="159" y="200"/>
                    <a:pt x="159" y="198"/>
                  </a:cubicBezTo>
                  <a:cubicBezTo>
                    <a:pt x="159" y="198"/>
                    <a:pt x="157" y="198"/>
                    <a:pt x="157" y="198"/>
                  </a:cubicBezTo>
                  <a:cubicBezTo>
                    <a:pt x="155" y="200"/>
                    <a:pt x="155" y="202"/>
                    <a:pt x="154" y="204"/>
                  </a:cubicBezTo>
                  <a:cubicBezTo>
                    <a:pt x="153" y="205"/>
                    <a:pt x="154" y="203"/>
                    <a:pt x="154" y="202"/>
                  </a:cubicBezTo>
                  <a:cubicBezTo>
                    <a:pt x="154" y="201"/>
                    <a:pt x="156" y="198"/>
                    <a:pt x="155" y="197"/>
                  </a:cubicBezTo>
                  <a:cubicBezTo>
                    <a:pt x="153" y="197"/>
                    <a:pt x="152" y="201"/>
                    <a:pt x="150" y="202"/>
                  </a:cubicBezTo>
                  <a:cubicBezTo>
                    <a:pt x="149" y="202"/>
                    <a:pt x="150" y="200"/>
                    <a:pt x="150" y="199"/>
                  </a:cubicBezTo>
                  <a:cubicBezTo>
                    <a:pt x="150" y="197"/>
                    <a:pt x="151" y="195"/>
                    <a:pt x="150" y="194"/>
                  </a:cubicBezTo>
                  <a:cubicBezTo>
                    <a:pt x="149" y="194"/>
                    <a:pt x="149" y="197"/>
                    <a:pt x="148" y="197"/>
                  </a:cubicBezTo>
                  <a:cubicBezTo>
                    <a:pt x="147" y="196"/>
                    <a:pt x="148" y="194"/>
                    <a:pt x="147" y="193"/>
                  </a:cubicBezTo>
                  <a:cubicBezTo>
                    <a:pt x="145" y="192"/>
                    <a:pt x="144" y="191"/>
                    <a:pt x="142" y="191"/>
                  </a:cubicBezTo>
                  <a:cubicBezTo>
                    <a:pt x="141" y="192"/>
                    <a:pt x="141" y="195"/>
                    <a:pt x="142" y="196"/>
                  </a:cubicBezTo>
                  <a:cubicBezTo>
                    <a:pt x="143" y="197"/>
                    <a:pt x="147" y="196"/>
                    <a:pt x="147" y="198"/>
                  </a:cubicBezTo>
                  <a:cubicBezTo>
                    <a:pt x="147" y="200"/>
                    <a:pt x="145" y="202"/>
                    <a:pt x="143" y="202"/>
                  </a:cubicBezTo>
                  <a:cubicBezTo>
                    <a:pt x="141" y="202"/>
                    <a:pt x="140" y="200"/>
                    <a:pt x="138" y="200"/>
                  </a:cubicBezTo>
                  <a:cubicBezTo>
                    <a:pt x="136" y="199"/>
                    <a:pt x="134" y="197"/>
                    <a:pt x="132" y="198"/>
                  </a:cubicBezTo>
                  <a:cubicBezTo>
                    <a:pt x="131" y="199"/>
                    <a:pt x="133" y="201"/>
                    <a:pt x="132" y="202"/>
                  </a:cubicBezTo>
                  <a:cubicBezTo>
                    <a:pt x="130" y="203"/>
                    <a:pt x="127" y="202"/>
                    <a:pt x="125" y="203"/>
                  </a:cubicBezTo>
                  <a:cubicBezTo>
                    <a:pt x="124" y="203"/>
                    <a:pt x="125" y="205"/>
                    <a:pt x="124" y="206"/>
                  </a:cubicBezTo>
                  <a:cubicBezTo>
                    <a:pt x="122" y="207"/>
                    <a:pt x="118" y="206"/>
                    <a:pt x="115" y="206"/>
                  </a:cubicBezTo>
                  <a:cubicBezTo>
                    <a:pt x="113" y="205"/>
                    <a:pt x="112" y="203"/>
                    <a:pt x="110" y="202"/>
                  </a:cubicBezTo>
                  <a:cubicBezTo>
                    <a:pt x="109" y="202"/>
                    <a:pt x="107" y="203"/>
                    <a:pt x="106" y="202"/>
                  </a:cubicBezTo>
                  <a:cubicBezTo>
                    <a:pt x="105" y="200"/>
                    <a:pt x="104" y="197"/>
                    <a:pt x="104" y="194"/>
                  </a:cubicBezTo>
                  <a:cubicBezTo>
                    <a:pt x="104" y="192"/>
                    <a:pt x="105" y="190"/>
                    <a:pt x="107" y="189"/>
                  </a:cubicBezTo>
                  <a:cubicBezTo>
                    <a:pt x="110" y="187"/>
                    <a:pt x="113" y="189"/>
                    <a:pt x="115" y="188"/>
                  </a:cubicBezTo>
                  <a:cubicBezTo>
                    <a:pt x="116" y="187"/>
                    <a:pt x="115" y="186"/>
                    <a:pt x="116" y="184"/>
                  </a:cubicBezTo>
                  <a:cubicBezTo>
                    <a:pt x="116" y="184"/>
                    <a:pt x="116" y="182"/>
                    <a:pt x="117" y="182"/>
                  </a:cubicBezTo>
                  <a:cubicBezTo>
                    <a:pt x="120" y="182"/>
                    <a:pt x="122" y="182"/>
                    <a:pt x="125" y="182"/>
                  </a:cubicBezTo>
                  <a:cubicBezTo>
                    <a:pt x="127" y="182"/>
                    <a:pt x="128" y="183"/>
                    <a:pt x="129" y="183"/>
                  </a:cubicBezTo>
                  <a:cubicBezTo>
                    <a:pt x="131" y="183"/>
                    <a:pt x="133" y="182"/>
                    <a:pt x="135" y="183"/>
                  </a:cubicBezTo>
                  <a:cubicBezTo>
                    <a:pt x="137" y="183"/>
                    <a:pt x="139" y="184"/>
                    <a:pt x="141" y="184"/>
                  </a:cubicBezTo>
                  <a:cubicBezTo>
                    <a:pt x="142" y="184"/>
                    <a:pt x="144" y="183"/>
                    <a:pt x="145" y="183"/>
                  </a:cubicBezTo>
                  <a:cubicBezTo>
                    <a:pt x="146" y="183"/>
                    <a:pt x="148" y="184"/>
                    <a:pt x="149" y="183"/>
                  </a:cubicBezTo>
                  <a:cubicBezTo>
                    <a:pt x="151" y="182"/>
                    <a:pt x="152" y="180"/>
                    <a:pt x="155" y="179"/>
                  </a:cubicBezTo>
                  <a:cubicBezTo>
                    <a:pt x="156" y="179"/>
                    <a:pt x="159" y="181"/>
                    <a:pt x="160" y="180"/>
                  </a:cubicBezTo>
                  <a:cubicBezTo>
                    <a:pt x="161" y="178"/>
                    <a:pt x="160" y="175"/>
                    <a:pt x="158" y="173"/>
                  </a:cubicBezTo>
                  <a:cubicBezTo>
                    <a:pt x="157" y="172"/>
                    <a:pt x="153" y="171"/>
                    <a:pt x="153" y="169"/>
                  </a:cubicBezTo>
                  <a:cubicBezTo>
                    <a:pt x="153" y="167"/>
                    <a:pt x="156" y="164"/>
                    <a:pt x="158" y="162"/>
                  </a:cubicBezTo>
                  <a:cubicBezTo>
                    <a:pt x="162" y="159"/>
                    <a:pt x="167" y="157"/>
                    <a:pt x="170" y="154"/>
                  </a:cubicBezTo>
                  <a:cubicBezTo>
                    <a:pt x="172" y="152"/>
                    <a:pt x="173" y="149"/>
                    <a:pt x="175" y="147"/>
                  </a:cubicBezTo>
                  <a:cubicBezTo>
                    <a:pt x="176" y="145"/>
                    <a:pt x="181" y="144"/>
                    <a:pt x="181" y="141"/>
                  </a:cubicBezTo>
                  <a:cubicBezTo>
                    <a:pt x="182" y="138"/>
                    <a:pt x="178" y="136"/>
                    <a:pt x="177" y="133"/>
                  </a:cubicBezTo>
                  <a:cubicBezTo>
                    <a:pt x="176" y="131"/>
                    <a:pt x="176" y="129"/>
                    <a:pt x="177" y="127"/>
                  </a:cubicBezTo>
                  <a:cubicBezTo>
                    <a:pt x="177" y="126"/>
                    <a:pt x="178" y="125"/>
                    <a:pt x="178" y="124"/>
                  </a:cubicBezTo>
                  <a:cubicBezTo>
                    <a:pt x="176" y="123"/>
                    <a:pt x="174" y="123"/>
                    <a:pt x="172" y="122"/>
                  </a:cubicBezTo>
                  <a:cubicBezTo>
                    <a:pt x="171" y="122"/>
                    <a:pt x="169" y="121"/>
                    <a:pt x="168" y="120"/>
                  </a:cubicBezTo>
                  <a:cubicBezTo>
                    <a:pt x="167" y="119"/>
                    <a:pt x="168" y="117"/>
                    <a:pt x="168" y="116"/>
                  </a:cubicBezTo>
                  <a:cubicBezTo>
                    <a:pt x="167" y="114"/>
                    <a:pt x="167" y="112"/>
                    <a:pt x="165" y="112"/>
                  </a:cubicBezTo>
                  <a:cubicBezTo>
                    <a:pt x="164" y="112"/>
                    <a:pt x="166" y="115"/>
                    <a:pt x="165" y="117"/>
                  </a:cubicBezTo>
                  <a:cubicBezTo>
                    <a:pt x="164" y="118"/>
                    <a:pt x="162" y="118"/>
                    <a:pt x="161" y="117"/>
                  </a:cubicBezTo>
                  <a:cubicBezTo>
                    <a:pt x="159" y="116"/>
                    <a:pt x="160" y="113"/>
                    <a:pt x="159" y="111"/>
                  </a:cubicBezTo>
                  <a:cubicBezTo>
                    <a:pt x="159" y="111"/>
                    <a:pt x="157" y="112"/>
                    <a:pt x="157" y="112"/>
                  </a:cubicBezTo>
                  <a:cubicBezTo>
                    <a:pt x="156" y="110"/>
                    <a:pt x="156" y="109"/>
                    <a:pt x="157" y="107"/>
                  </a:cubicBezTo>
                  <a:cubicBezTo>
                    <a:pt x="157" y="106"/>
                    <a:pt x="160" y="104"/>
                    <a:pt x="158" y="104"/>
                  </a:cubicBezTo>
                  <a:cubicBezTo>
                    <a:pt x="156" y="105"/>
                    <a:pt x="155" y="107"/>
                    <a:pt x="153" y="108"/>
                  </a:cubicBezTo>
                  <a:cubicBezTo>
                    <a:pt x="153" y="108"/>
                    <a:pt x="152" y="105"/>
                    <a:pt x="152" y="106"/>
                  </a:cubicBezTo>
                  <a:cubicBezTo>
                    <a:pt x="151" y="107"/>
                    <a:pt x="153" y="110"/>
                    <a:pt x="151" y="111"/>
                  </a:cubicBezTo>
                  <a:cubicBezTo>
                    <a:pt x="147" y="114"/>
                    <a:pt x="142" y="116"/>
                    <a:pt x="137" y="116"/>
                  </a:cubicBezTo>
                  <a:cubicBezTo>
                    <a:pt x="135" y="116"/>
                    <a:pt x="136" y="112"/>
                    <a:pt x="137" y="111"/>
                  </a:cubicBezTo>
                  <a:cubicBezTo>
                    <a:pt x="138" y="109"/>
                    <a:pt x="140" y="107"/>
                    <a:pt x="142" y="106"/>
                  </a:cubicBezTo>
                  <a:cubicBezTo>
                    <a:pt x="144" y="104"/>
                    <a:pt x="148" y="105"/>
                    <a:pt x="150" y="103"/>
                  </a:cubicBezTo>
                  <a:cubicBezTo>
                    <a:pt x="152" y="102"/>
                    <a:pt x="149" y="100"/>
                    <a:pt x="148" y="99"/>
                  </a:cubicBezTo>
                  <a:cubicBezTo>
                    <a:pt x="147" y="98"/>
                    <a:pt x="144" y="99"/>
                    <a:pt x="143" y="97"/>
                  </a:cubicBezTo>
                  <a:cubicBezTo>
                    <a:pt x="142" y="96"/>
                    <a:pt x="145" y="92"/>
                    <a:pt x="143" y="92"/>
                  </a:cubicBezTo>
                  <a:cubicBezTo>
                    <a:pt x="141" y="90"/>
                    <a:pt x="137" y="95"/>
                    <a:pt x="135" y="94"/>
                  </a:cubicBezTo>
                  <a:cubicBezTo>
                    <a:pt x="133" y="92"/>
                    <a:pt x="138" y="89"/>
                    <a:pt x="137" y="87"/>
                  </a:cubicBezTo>
                  <a:cubicBezTo>
                    <a:pt x="137" y="85"/>
                    <a:pt x="134" y="88"/>
                    <a:pt x="132" y="89"/>
                  </a:cubicBezTo>
                  <a:cubicBezTo>
                    <a:pt x="131" y="90"/>
                    <a:pt x="130" y="94"/>
                    <a:pt x="130" y="92"/>
                  </a:cubicBezTo>
                  <a:cubicBezTo>
                    <a:pt x="129" y="88"/>
                    <a:pt x="132" y="83"/>
                    <a:pt x="131" y="79"/>
                  </a:cubicBezTo>
                  <a:cubicBezTo>
                    <a:pt x="130" y="77"/>
                    <a:pt x="128" y="82"/>
                    <a:pt x="126" y="82"/>
                  </a:cubicBezTo>
                  <a:cubicBezTo>
                    <a:pt x="124" y="82"/>
                    <a:pt x="124" y="79"/>
                    <a:pt x="122" y="78"/>
                  </a:cubicBezTo>
                  <a:cubicBezTo>
                    <a:pt x="121" y="77"/>
                    <a:pt x="119" y="77"/>
                    <a:pt x="118" y="76"/>
                  </a:cubicBezTo>
                  <a:cubicBezTo>
                    <a:pt x="118" y="74"/>
                    <a:pt x="122" y="69"/>
                    <a:pt x="119" y="70"/>
                  </a:cubicBezTo>
                  <a:cubicBezTo>
                    <a:pt x="117" y="70"/>
                    <a:pt x="117" y="75"/>
                    <a:pt x="115" y="76"/>
                  </a:cubicBezTo>
                  <a:cubicBezTo>
                    <a:pt x="113" y="77"/>
                    <a:pt x="114" y="72"/>
                    <a:pt x="112" y="72"/>
                  </a:cubicBezTo>
                  <a:cubicBezTo>
                    <a:pt x="110" y="72"/>
                    <a:pt x="109" y="76"/>
                    <a:pt x="110" y="77"/>
                  </a:cubicBezTo>
                  <a:cubicBezTo>
                    <a:pt x="112" y="80"/>
                    <a:pt x="117" y="78"/>
                    <a:pt x="119" y="81"/>
                  </a:cubicBezTo>
                  <a:cubicBezTo>
                    <a:pt x="121" y="83"/>
                    <a:pt x="120" y="87"/>
                    <a:pt x="118" y="88"/>
                  </a:cubicBezTo>
                  <a:cubicBezTo>
                    <a:pt x="115" y="90"/>
                    <a:pt x="110" y="90"/>
                    <a:pt x="106" y="89"/>
                  </a:cubicBezTo>
                  <a:cubicBezTo>
                    <a:pt x="105" y="89"/>
                    <a:pt x="105" y="85"/>
                    <a:pt x="103" y="85"/>
                  </a:cubicBezTo>
                  <a:cubicBezTo>
                    <a:pt x="98" y="83"/>
                    <a:pt x="93" y="83"/>
                    <a:pt x="87" y="83"/>
                  </a:cubicBezTo>
                  <a:cubicBezTo>
                    <a:pt x="86" y="83"/>
                    <a:pt x="89" y="85"/>
                    <a:pt x="90" y="85"/>
                  </a:cubicBezTo>
                  <a:cubicBezTo>
                    <a:pt x="92" y="87"/>
                    <a:pt x="95" y="87"/>
                    <a:pt x="97" y="89"/>
                  </a:cubicBezTo>
                  <a:cubicBezTo>
                    <a:pt x="98" y="90"/>
                    <a:pt x="95" y="91"/>
                    <a:pt x="93" y="91"/>
                  </a:cubicBezTo>
                  <a:cubicBezTo>
                    <a:pt x="90" y="90"/>
                    <a:pt x="88" y="87"/>
                    <a:pt x="85" y="86"/>
                  </a:cubicBezTo>
                  <a:cubicBezTo>
                    <a:pt x="83" y="84"/>
                    <a:pt x="81" y="81"/>
                    <a:pt x="79" y="80"/>
                  </a:cubicBezTo>
                  <a:cubicBezTo>
                    <a:pt x="77" y="79"/>
                    <a:pt x="75" y="79"/>
                    <a:pt x="73" y="79"/>
                  </a:cubicBezTo>
                  <a:cubicBezTo>
                    <a:pt x="72" y="79"/>
                    <a:pt x="75" y="80"/>
                    <a:pt x="76" y="81"/>
                  </a:cubicBezTo>
                  <a:cubicBezTo>
                    <a:pt x="78" y="83"/>
                    <a:pt x="82" y="84"/>
                    <a:pt x="83" y="87"/>
                  </a:cubicBezTo>
                  <a:cubicBezTo>
                    <a:pt x="83" y="88"/>
                    <a:pt x="80" y="88"/>
                    <a:pt x="79" y="88"/>
                  </a:cubicBezTo>
                  <a:cubicBezTo>
                    <a:pt x="74" y="88"/>
                    <a:pt x="70" y="86"/>
                    <a:pt x="66" y="86"/>
                  </a:cubicBezTo>
                  <a:cubicBezTo>
                    <a:pt x="62" y="86"/>
                    <a:pt x="58" y="87"/>
                    <a:pt x="55" y="86"/>
                  </a:cubicBezTo>
                  <a:cubicBezTo>
                    <a:pt x="53" y="85"/>
                    <a:pt x="56" y="81"/>
                    <a:pt x="54" y="80"/>
                  </a:cubicBezTo>
                  <a:cubicBezTo>
                    <a:pt x="52" y="80"/>
                    <a:pt x="53" y="84"/>
                    <a:pt x="52" y="85"/>
                  </a:cubicBezTo>
                  <a:cubicBezTo>
                    <a:pt x="49" y="86"/>
                    <a:pt x="46" y="83"/>
                    <a:pt x="43" y="84"/>
                  </a:cubicBezTo>
                  <a:cubicBezTo>
                    <a:pt x="42" y="84"/>
                    <a:pt x="46" y="86"/>
                    <a:pt x="45" y="86"/>
                  </a:cubicBezTo>
                  <a:cubicBezTo>
                    <a:pt x="43" y="87"/>
                    <a:pt x="41" y="85"/>
                    <a:pt x="39" y="84"/>
                  </a:cubicBezTo>
                  <a:cubicBezTo>
                    <a:pt x="38" y="83"/>
                    <a:pt x="36" y="82"/>
                    <a:pt x="35" y="80"/>
                  </a:cubicBezTo>
                  <a:cubicBezTo>
                    <a:pt x="34" y="79"/>
                    <a:pt x="36" y="76"/>
                    <a:pt x="35" y="76"/>
                  </a:cubicBezTo>
                  <a:cubicBezTo>
                    <a:pt x="33" y="76"/>
                    <a:pt x="35" y="79"/>
                    <a:pt x="33" y="80"/>
                  </a:cubicBezTo>
                  <a:cubicBezTo>
                    <a:pt x="33" y="81"/>
                    <a:pt x="31" y="80"/>
                    <a:pt x="31" y="80"/>
                  </a:cubicBezTo>
                  <a:cubicBezTo>
                    <a:pt x="30" y="79"/>
                    <a:pt x="31" y="77"/>
                    <a:pt x="30" y="76"/>
                  </a:cubicBezTo>
                  <a:cubicBezTo>
                    <a:pt x="30" y="76"/>
                    <a:pt x="29" y="76"/>
                    <a:pt x="28" y="76"/>
                  </a:cubicBezTo>
                  <a:cubicBezTo>
                    <a:pt x="28" y="78"/>
                    <a:pt x="30" y="80"/>
                    <a:pt x="28" y="81"/>
                  </a:cubicBezTo>
                  <a:cubicBezTo>
                    <a:pt x="26" y="81"/>
                    <a:pt x="23" y="79"/>
                    <a:pt x="20" y="78"/>
                  </a:cubicBezTo>
                  <a:cubicBezTo>
                    <a:pt x="19" y="78"/>
                    <a:pt x="18" y="80"/>
                    <a:pt x="17" y="80"/>
                  </a:cubicBezTo>
                  <a:cubicBezTo>
                    <a:pt x="16" y="79"/>
                    <a:pt x="17" y="77"/>
                    <a:pt x="16" y="76"/>
                  </a:cubicBezTo>
                  <a:cubicBezTo>
                    <a:pt x="14" y="74"/>
                    <a:pt x="11" y="73"/>
                    <a:pt x="10" y="71"/>
                  </a:cubicBezTo>
                  <a:cubicBezTo>
                    <a:pt x="8" y="69"/>
                    <a:pt x="8" y="66"/>
                    <a:pt x="7" y="63"/>
                  </a:cubicBezTo>
                  <a:cubicBezTo>
                    <a:pt x="7" y="63"/>
                    <a:pt x="6" y="61"/>
                    <a:pt x="7" y="61"/>
                  </a:cubicBezTo>
                  <a:cubicBezTo>
                    <a:pt x="10" y="61"/>
                    <a:pt x="13" y="61"/>
                    <a:pt x="16" y="61"/>
                  </a:cubicBezTo>
                  <a:cubicBezTo>
                    <a:pt x="19" y="62"/>
                    <a:pt x="20" y="64"/>
                    <a:pt x="23" y="65"/>
                  </a:cubicBezTo>
                  <a:cubicBezTo>
                    <a:pt x="25" y="65"/>
                    <a:pt x="30" y="67"/>
                    <a:pt x="31" y="64"/>
                  </a:cubicBezTo>
                  <a:cubicBezTo>
                    <a:pt x="31" y="61"/>
                    <a:pt x="26" y="61"/>
                    <a:pt x="24" y="59"/>
                  </a:cubicBezTo>
                  <a:cubicBezTo>
                    <a:pt x="23" y="59"/>
                    <a:pt x="24" y="57"/>
                    <a:pt x="23" y="57"/>
                  </a:cubicBezTo>
                  <a:cubicBezTo>
                    <a:pt x="21" y="57"/>
                    <a:pt x="18" y="58"/>
                    <a:pt x="16" y="58"/>
                  </a:cubicBezTo>
                  <a:cubicBezTo>
                    <a:pt x="11" y="58"/>
                    <a:pt x="6" y="58"/>
                    <a:pt x="1" y="56"/>
                  </a:cubicBezTo>
                  <a:cubicBezTo>
                    <a:pt x="0" y="56"/>
                    <a:pt x="1" y="54"/>
                    <a:pt x="2" y="52"/>
                  </a:cubicBezTo>
                  <a:cubicBezTo>
                    <a:pt x="3" y="49"/>
                    <a:pt x="4" y="46"/>
                    <a:pt x="5" y="43"/>
                  </a:cubicBezTo>
                  <a:cubicBezTo>
                    <a:pt x="6" y="41"/>
                    <a:pt x="8" y="40"/>
                    <a:pt x="9" y="37"/>
                  </a:cubicBezTo>
                  <a:cubicBezTo>
                    <a:pt x="10" y="35"/>
                    <a:pt x="8" y="32"/>
                    <a:pt x="9" y="30"/>
                  </a:cubicBezTo>
                  <a:cubicBezTo>
                    <a:pt x="10" y="27"/>
                    <a:pt x="14" y="26"/>
                    <a:pt x="16" y="23"/>
                  </a:cubicBezTo>
                  <a:cubicBezTo>
                    <a:pt x="19" y="20"/>
                    <a:pt x="20" y="16"/>
                    <a:pt x="23" y="13"/>
                  </a:cubicBezTo>
                  <a:cubicBezTo>
                    <a:pt x="27" y="9"/>
                    <a:pt x="32" y="6"/>
                    <a:pt x="37" y="4"/>
                  </a:cubicBezTo>
                  <a:cubicBezTo>
                    <a:pt x="41" y="2"/>
                    <a:pt x="46" y="1"/>
                    <a:pt x="51" y="1"/>
                  </a:cubicBezTo>
                  <a:cubicBezTo>
                    <a:pt x="55" y="0"/>
                    <a:pt x="59" y="1"/>
                    <a:pt x="63" y="1"/>
                  </a:cubicBezTo>
                  <a:cubicBezTo>
                    <a:pt x="65" y="1"/>
                    <a:pt x="67" y="0"/>
                    <a:pt x="68" y="1"/>
                  </a:cubicBezTo>
                  <a:cubicBezTo>
                    <a:pt x="69" y="2"/>
                    <a:pt x="68" y="4"/>
                    <a:pt x="67" y="5"/>
                  </a:cubicBezTo>
                  <a:cubicBezTo>
                    <a:pt x="65" y="6"/>
                    <a:pt x="61" y="7"/>
                    <a:pt x="59" y="8"/>
                  </a:cubicBezTo>
                  <a:cubicBezTo>
                    <a:pt x="57" y="9"/>
                    <a:pt x="54" y="10"/>
                    <a:pt x="53" y="12"/>
                  </a:cubicBezTo>
                  <a:cubicBezTo>
                    <a:pt x="51" y="14"/>
                    <a:pt x="52" y="17"/>
                    <a:pt x="51" y="19"/>
                  </a:cubicBezTo>
                  <a:cubicBezTo>
                    <a:pt x="49" y="22"/>
                    <a:pt x="46" y="23"/>
                    <a:pt x="45" y="25"/>
                  </a:cubicBezTo>
                  <a:cubicBezTo>
                    <a:pt x="45" y="28"/>
                    <a:pt x="48" y="30"/>
                    <a:pt x="48" y="32"/>
                  </a:cubicBezTo>
                  <a:cubicBezTo>
                    <a:pt x="48" y="35"/>
                    <a:pt x="45" y="37"/>
                    <a:pt x="45" y="39"/>
                  </a:cubicBezTo>
                  <a:cubicBezTo>
                    <a:pt x="44" y="41"/>
                    <a:pt x="44" y="44"/>
                    <a:pt x="45" y="45"/>
                  </a:cubicBezTo>
                  <a:cubicBezTo>
                    <a:pt x="47" y="48"/>
                    <a:pt x="51" y="50"/>
                    <a:pt x="53" y="52"/>
                  </a:cubicBezTo>
                  <a:cubicBezTo>
                    <a:pt x="54" y="53"/>
                    <a:pt x="57" y="53"/>
                    <a:pt x="56" y="54"/>
                  </a:cubicBezTo>
                  <a:cubicBezTo>
                    <a:pt x="55" y="56"/>
                    <a:pt x="51" y="56"/>
                    <a:pt x="49" y="57"/>
                  </a:cubicBezTo>
                  <a:cubicBezTo>
                    <a:pt x="46" y="58"/>
                    <a:pt x="44" y="58"/>
                    <a:pt x="42" y="59"/>
                  </a:cubicBezTo>
                  <a:cubicBezTo>
                    <a:pt x="40" y="60"/>
                    <a:pt x="38" y="62"/>
                    <a:pt x="38" y="64"/>
                  </a:cubicBezTo>
                  <a:cubicBezTo>
                    <a:pt x="38" y="65"/>
                    <a:pt x="41" y="63"/>
                    <a:pt x="42" y="62"/>
                  </a:cubicBezTo>
                  <a:cubicBezTo>
                    <a:pt x="45" y="62"/>
                    <a:pt x="47" y="60"/>
                    <a:pt x="50" y="59"/>
                  </a:cubicBezTo>
                  <a:cubicBezTo>
                    <a:pt x="51" y="59"/>
                    <a:pt x="53" y="58"/>
                    <a:pt x="54" y="59"/>
                  </a:cubicBezTo>
                  <a:cubicBezTo>
                    <a:pt x="55" y="61"/>
                    <a:pt x="53" y="63"/>
                    <a:pt x="53" y="65"/>
                  </a:cubicBezTo>
                  <a:cubicBezTo>
                    <a:pt x="53" y="66"/>
                    <a:pt x="55" y="67"/>
                    <a:pt x="55" y="66"/>
                  </a:cubicBezTo>
                  <a:cubicBezTo>
                    <a:pt x="57" y="63"/>
                    <a:pt x="57" y="60"/>
                    <a:pt x="58" y="57"/>
                  </a:cubicBezTo>
                  <a:cubicBezTo>
                    <a:pt x="58" y="56"/>
                    <a:pt x="59" y="55"/>
                    <a:pt x="60" y="54"/>
                  </a:cubicBezTo>
                  <a:cubicBezTo>
                    <a:pt x="61" y="52"/>
                    <a:pt x="62" y="50"/>
                    <a:pt x="61" y="49"/>
                  </a:cubicBezTo>
                  <a:cubicBezTo>
                    <a:pt x="59" y="46"/>
                    <a:pt x="56" y="46"/>
                    <a:pt x="53" y="45"/>
                  </a:cubicBezTo>
                  <a:cubicBezTo>
                    <a:pt x="52" y="44"/>
                    <a:pt x="49" y="42"/>
                    <a:pt x="50" y="41"/>
                  </a:cubicBezTo>
                  <a:cubicBezTo>
                    <a:pt x="51" y="38"/>
                    <a:pt x="54" y="35"/>
                    <a:pt x="57" y="34"/>
                  </a:cubicBezTo>
                  <a:cubicBezTo>
                    <a:pt x="58" y="33"/>
                    <a:pt x="60" y="36"/>
                    <a:pt x="61" y="37"/>
                  </a:cubicBezTo>
                  <a:cubicBezTo>
                    <a:pt x="63" y="38"/>
                    <a:pt x="64" y="40"/>
                    <a:pt x="66" y="40"/>
                  </a:cubicBezTo>
                  <a:cubicBezTo>
                    <a:pt x="67" y="41"/>
                    <a:pt x="67" y="38"/>
                    <a:pt x="66" y="38"/>
                  </a:cubicBezTo>
                  <a:cubicBezTo>
                    <a:pt x="65" y="36"/>
                    <a:pt x="62" y="37"/>
                    <a:pt x="61" y="35"/>
                  </a:cubicBezTo>
                  <a:cubicBezTo>
                    <a:pt x="60" y="34"/>
                    <a:pt x="63" y="32"/>
                    <a:pt x="62" y="31"/>
                  </a:cubicBezTo>
                  <a:cubicBezTo>
                    <a:pt x="62" y="30"/>
                    <a:pt x="59" y="32"/>
                    <a:pt x="58" y="31"/>
                  </a:cubicBezTo>
                  <a:cubicBezTo>
                    <a:pt x="57" y="31"/>
                    <a:pt x="57" y="29"/>
                    <a:pt x="57" y="28"/>
                  </a:cubicBezTo>
                  <a:cubicBezTo>
                    <a:pt x="57" y="24"/>
                    <a:pt x="55" y="20"/>
                    <a:pt x="57" y="18"/>
                  </a:cubicBezTo>
                  <a:cubicBezTo>
                    <a:pt x="58" y="16"/>
                    <a:pt x="60" y="20"/>
                    <a:pt x="62" y="21"/>
                  </a:cubicBezTo>
                  <a:cubicBezTo>
                    <a:pt x="65" y="22"/>
                    <a:pt x="68" y="25"/>
                    <a:pt x="71" y="25"/>
                  </a:cubicBezTo>
                  <a:cubicBezTo>
                    <a:pt x="72" y="25"/>
                    <a:pt x="72" y="23"/>
                    <a:pt x="71" y="22"/>
                  </a:cubicBezTo>
                  <a:cubicBezTo>
                    <a:pt x="68" y="20"/>
                    <a:pt x="64" y="20"/>
                    <a:pt x="61" y="17"/>
                  </a:cubicBezTo>
                  <a:cubicBezTo>
                    <a:pt x="60" y="16"/>
                    <a:pt x="64" y="16"/>
                    <a:pt x="65" y="16"/>
                  </a:cubicBezTo>
                  <a:cubicBezTo>
                    <a:pt x="68" y="16"/>
                    <a:pt x="71" y="19"/>
                    <a:pt x="73" y="17"/>
                  </a:cubicBezTo>
                  <a:cubicBezTo>
                    <a:pt x="75" y="15"/>
                    <a:pt x="69" y="16"/>
                    <a:pt x="67" y="14"/>
                  </a:cubicBezTo>
                  <a:cubicBezTo>
                    <a:pt x="66" y="13"/>
                    <a:pt x="65" y="11"/>
                    <a:pt x="66" y="10"/>
                  </a:cubicBezTo>
                  <a:cubicBezTo>
                    <a:pt x="68" y="9"/>
                    <a:pt x="69" y="12"/>
                    <a:pt x="71" y="12"/>
                  </a:cubicBezTo>
                  <a:cubicBezTo>
                    <a:pt x="72" y="11"/>
                    <a:pt x="73" y="8"/>
                    <a:pt x="74" y="8"/>
                  </a:cubicBezTo>
                  <a:cubicBezTo>
                    <a:pt x="76" y="7"/>
                    <a:pt x="78" y="9"/>
                    <a:pt x="80" y="9"/>
                  </a:cubicBezTo>
                  <a:cubicBezTo>
                    <a:pt x="81" y="8"/>
                    <a:pt x="79" y="6"/>
                    <a:pt x="80" y="6"/>
                  </a:cubicBezTo>
                  <a:cubicBezTo>
                    <a:pt x="85" y="4"/>
                    <a:pt x="89" y="2"/>
                    <a:pt x="94" y="2"/>
                  </a:cubicBezTo>
                  <a:cubicBezTo>
                    <a:pt x="99" y="1"/>
                    <a:pt x="104" y="1"/>
                    <a:pt x="108" y="3"/>
                  </a:cubicBezTo>
                  <a:cubicBezTo>
                    <a:pt x="109" y="3"/>
                    <a:pt x="109" y="6"/>
                    <a:pt x="109" y="7"/>
                  </a:cubicBezTo>
                  <a:cubicBezTo>
                    <a:pt x="109" y="9"/>
                    <a:pt x="107" y="11"/>
                    <a:pt x="108" y="13"/>
                  </a:cubicBezTo>
                  <a:cubicBezTo>
                    <a:pt x="109" y="15"/>
                    <a:pt x="112" y="14"/>
                    <a:pt x="113" y="16"/>
                  </a:cubicBezTo>
                  <a:cubicBezTo>
                    <a:pt x="114" y="17"/>
                    <a:pt x="112" y="19"/>
                    <a:pt x="112" y="21"/>
                  </a:cubicBezTo>
                  <a:cubicBezTo>
                    <a:pt x="112" y="23"/>
                    <a:pt x="114" y="24"/>
                    <a:pt x="113" y="25"/>
                  </a:cubicBezTo>
                  <a:cubicBezTo>
                    <a:pt x="110" y="29"/>
                    <a:pt x="104" y="30"/>
                    <a:pt x="101" y="34"/>
                  </a:cubicBezTo>
                  <a:cubicBezTo>
                    <a:pt x="100" y="35"/>
                    <a:pt x="106" y="32"/>
                    <a:pt x="107" y="34"/>
                  </a:cubicBezTo>
                  <a:cubicBezTo>
                    <a:pt x="108" y="36"/>
                    <a:pt x="104" y="38"/>
                    <a:pt x="103" y="40"/>
                  </a:cubicBezTo>
                  <a:cubicBezTo>
                    <a:pt x="103" y="41"/>
                    <a:pt x="103" y="44"/>
                    <a:pt x="105" y="44"/>
                  </a:cubicBezTo>
                  <a:cubicBezTo>
                    <a:pt x="107" y="43"/>
                    <a:pt x="108" y="40"/>
                    <a:pt x="110" y="38"/>
                  </a:cubicBezTo>
                  <a:cubicBezTo>
                    <a:pt x="111" y="37"/>
                    <a:pt x="111" y="36"/>
                    <a:pt x="113" y="35"/>
                  </a:cubicBezTo>
                  <a:cubicBezTo>
                    <a:pt x="114" y="35"/>
                    <a:pt x="115" y="37"/>
                    <a:pt x="116" y="36"/>
                  </a:cubicBezTo>
                  <a:cubicBezTo>
                    <a:pt x="117" y="35"/>
                    <a:pt x="115" y="32"/>
                    <a:pt x="116" y="32"/>
                  </a:cubicBezTo>
                  <a:cubicBezTo>
                    <a:pt x="118" y="32"/>
                    <a:pt x="118" y="35"/>
                    <a:pt x="120" y="36"/>
                  </a:cubicBezTo>
                  <a:cubicBezTo>
                    <a:pt x="122" y="37"/>
                    <a:pt x="125" y="33"/>
                    <a:pt x="125" y="35"/>
                  </a:cubicBezTo>
                  <a:cubicBezTo>
                    <a:pt x="126" y="37"/>
                    <a:pt x="122" y="40"/>
                    <a:pt x="123" y="43"/>
                  </a:cubicBezTo>
                  <a:cubicBezTo>
                    <a:pt x="124" y="45"/>
                    <a:pt x="127" y="44"/>
                    <a:pt x="128" y="43"/>
                  </a:cubicBezTo>
                  <a:cubicBezTo>
                    <a:pt x="129" y="42"/>
                    <a:pt x="125" y="39"/>
                    <a:pt x="127" y="38"/>
                  </a:cubicBezTo>
                  <a:cubicBezTo>
                    <a:pt x="128" y="37"/>
                    <a:pt x="130" y="40"/>
                    <a:pt x="132" y="41"/>
                  </a:cubicBezTo>
                  <a:cubicBezTo>
                    <a:pt x="133" y="42"/>
                    <a:pt x="134" y="45"/>
                    <a:pt x="134" y="44"/>
                  </a:cubicBezTo>
                  <a:cubicBezTo>
                    <a:pt x="134" y="42"/>
                    <a:pt x="133" y="40"/>
                    <a:pt x="132" y="38"/>
                  </a:cubicBezTo>
                  <a:cubicBezTo>
                    <a:pt x="131" y="36"/>
                    <a:pt x="128" y="35"/>
                    <a:pt x="129" y="34"/>
                  </a:cubicBezTo>
                  <a:cubicBezTo>
                    <a:pt x="131" y="33"/>
                    <a:pt x="133" y="36"/>
                    <a:pt x="135" y="36"/>
                  </a:cubicBezTo>
                  <a:cubicBezTo>
                    <a:pt x="137" y="37"/>
                    <a:pt x="140" y="38"/>
                    <a:pt x="143" y="37"/>
                  </a:cubicBezTo>
                  <a:cubicBezTo>
                    <a:pt x="144" y="37"/>
                    <a:pt x="141" y="36"/>
                    <a:pt x="140" y="35"/>
                  </a:cubicBezTo>
                  <a:cubicBezTo>
                    <a:pt x="137" y="34"/>
                    <a:pt x="133" y="35"/>
                    <a:pt x="132" y="32"/>
                  </a:cubicBezTo>
                  <a:cubicBezTo>
                    <a:pt x="132" y="30"/>
                    <a:pt x="136" y="28"/>
                    <a:pt x="138" y="27"/>
                  </a:cubicBezTo>
                  <a:cubicBezTo>
                    <a:pt x="140" y="26"/>
                    <a:pt x="143" y="24"/>
                    <a:pt x="145" y="25"/>
                  </a:cubicBezTo>
                  <a:cubicBezTo>
                    <a:pt x="150" y="25"/>
                    <a:pt x="155" y="27"/>
                    <a:pt x="159" y="29"/>
                  </a:cubicBezTo>
                  <a:cubicBezTo>
                    <a:pt x="160" y="29"/>
                    <a:pt x="161" y="32"/>
                    <a:pt x="162" y="31"/>
                  </a:cubicBezTo>
                  <a:cubicBezTo>
                    <a:pt x="163" y="31"/>
                    <a:pt x="162" y="27"/>
                    <a:pt x="163" y="28"/>
                  </a:cubicBezTo>
                  <a:cubicBezTo>
                    <a:pt x="167" y="29"/>
                    <a:pt x="170" y="31"/>
                    <a:pt x="171" y="35"/>
                  </a:cubicBezTo>
                  <a:cubicBezTo>
                    <a:pt x="172" y="37"/>
                    <a:pt x="168" y="38"/>
                    <a:pt x="166" y="39"/>
                  </a:cubicBezTo>
                  <a:cubicBezTo>
                    <a:pt x="164" y="41"/>
                    <a:pt x="162" y="42"/>
                    <a:pt x="161" y="44"/>
                  </a:cubicBezTo>
                  <a:cubicBezTo>
                    <a:pt x="161" y="45"/>
                    <a:pt x="162" y="46"/>
                    <a:pt x="162" y="46"/>
                  </a:cubicBezTo>
                  <a:cubicBezTo>
                    <a:pt x="164" y="44"/>
                    <a:pt x="165" y="41"/>
                    <a:pt x="168" y="40"/>
                  </a:cubicBezTo>
                  <a:cubicBezTo>
                    <a:pt x="171" y="39"/>
                    <a:pt x="175" y="37"/>
                    <a:pt x="177" y="40"/>
                  </a:cubicBezTo>
                  <a:cubicBezTo>
                    <a:pt x="179" y="42"/>
                    <a:pt x="175" y="44"/>
                    <a:pt x="173" y="46"/>
                  </a:cubicBezTo>
                  <a:cubicBezTo>
                    <a:pt x="171" y="47"/>
                    <a:pt x="168" y="47"/>
                    <a:pt x="168" y="48"/>
                  </a:cubicBezTo>
                  <a:cubicBezTo>
                    <a:pt x="167" y="50"/>
                    <a:pt x="172" y="48"/>
                    <a:pt x="172" y="49"/>
                  </a:cubicBezTo>
                  <a:cubicBezTo>
                    <a:pt x="172" y="51"/>
                    <a:pt x="169" y="53"/>
                    <a:pt x="169" y="55"/>
                  </a:cubicBezTo>
                  <a:cubicBezTo>
                    <a:pt x="169" y="56"/>
                    <a:pt x="171" y="56"/>
                    <a:pt x="172" y="56"/>
                  </a:cubicBezTo>
                  <a:cubicBezTo>
                    <a:pt x="174" y="54"/>
                    <a:pt x="174" y="51"/>
                    <a:pt x="176" y="49"/>
                  </a:cubicBezTo>
                  <a:cubicBezTo>
                    <a:pt x="178" y="47"/>
                    <a:pt x="181" y="43"/>
                    <a:pt x="181" y="45"/>
                  </a:cubicBezTo>
                  <a:cubicBezTo>
                    <a:pt x="182" y="48"/>
                    <a:pt x="178" y="50"/>
                    <a:pt x="177" y="53"/>
                  </a:cubicBezTo>
                  <a:cubicBezTo>
                    <a:pt x="176" y="54"/>
                    <a:pt x="175" y="58"/>
                    <a:pt x="176" y="58"/>
                  </a:cubicBezTo>
                  <a:cubicBezTo>
                    <a:pt x="179" y="56"/>
                    <a:pt x="179" y="48"/>
                    <a:pt x="182" y="50"/>
                  </a:cubicBezTo>
                  <a:cubicBezTo>
                    <a:pt x="185" y="51"/>
                    <a:pt x="179" y="56"/>
                    <a:pt x="180" y="59"/>
                  </a:cubicBezTo>
                  <a:cubicBezTo>
                    <a:pt x="182" y="61"/>
                    <a:pt x="183" y="53"/>
                    <a:pt x="185" y="54"/>
                  </a:cubicBezTo>
                  <a:cubicBezTo>
                    <a:pt x="187" y="56"/>
                    <a:pt x="181" y="63"/>
                    <a:pt x="184" y="62"/>
                  </a:cubicBezTo>
                  <a:cubicBezTo>
                    <a:pt x="188" y="62"/>
                    <a:pt x="189" y="57"/>
                    <a:pt x="190" y="54"/>
                  </a:cubicBezTo>
                  <a:cubicBezTo>
                    <a:pt x="192" y="52"/>
                    <a:pt x="192" y="48"/>
                    <a:pt x="194" y="47"/>
                  </a:cubicBezTo>
                  <a:cubicBezTo>
                    <a:pt x="196" y="46"/>
                    <a:pt x="200" y="47"/>
                    <a:pt x="202" y="49"/>
                  </a:cubicBezTo>
                  <a:cubicBezTo>
                    <a:pt x="203" y="50"/>
                    <a:pt x="199" y="54"/>
                    <a:pt x="201" y="54"/>
                  </a:cubicBezTo>
                  <a:cubicBezTo>
                    <a:pt x="202" y="55"/>
                    <a:pt x="202" y="50"/>
                    <a:pt x="204" y="50"/>
                  </a:cubicBezTo>
                  <a:cubicBezTo>
                    <a:pt x="207" y="50"/>
                    <a:pt x="209" y="53"/>
                    <a:pt x="210" y="55"/>
                  </a:cubicBezTo>
                  <a:cubicBezTo>
                    <a:pt x="211" y="55"/>
                    <a:pt x="211" y="57"/>
                    <a:pt x="210" y="58"/>
                  </a:cubicBezTo>
                  <a:cubicBezTo>
                    <a:pt x="209" y="59"/>
                    <a:pt x="207" y="60"/>
                    <a:pt x="205" y="61"/>
                  </a:cubicBezTo>
                  <a:cubicBezTo>
                    <a:pt x="203" y="62"/>
                    <a:pt x="200" y="60"/>
                    <a:pt x="198" y="61"/>
                  </a:cubicBezTo>
                  <a:cubicBezTo>
                    <a:pt x="196" y="62"/>
                    <a:pt x="196" y="65"/>
                    <a:pt x="195" y="67"/>
                  </a:cubicBezTo>
                  <a:cubicBezTo>
                    <a:pt x="194" y="69"/>
                    <a:pt x="191" y="72"/>
                    <a:pt x="193" y="73"/>
                  </a:cubicBezTo>
                  <a:cubicBezTo>
                    <a:pt x="195" y="74"/>
                    <a:pt x="197" y="70"/>
                    <a:pt x="199" y="69"/>
                  </a:cubicBezTo>
                  <a:cubicBezTo>
                    <a:pt x="201" y="67"/>
                    <a:pt x="204" y="66"/>
                    <a:pt x="206" y="67"/>
                  </a:cubicBezTo>
                  <a:cubicBezTo>
                    <a:pt x="208" y="67"/>
                    <a:pt x="203" y="70"/>
                    <a:pt x="204" y="69"/>
                  </a:cubicBezTo>
                  <a:cubicBezTo>
                    <a:pt x="206" y="68"/>
                    <a:pt x="208" y="67"/>
                    <a:pt x="210" y="65"/>
                  </a:cubicBezTo>
                  <a:cubicBezTo>
                    <a:pt x="211" y="64"/>
                    <a:pt x="212" y="61"/>
                    <a:pt x="213" y="61"/>
                  </a:cubicBezTo>
                  <a:cubicBezTo>
                    <a:pt x="215" y="62"/>
                    <a:pt x="215" y="65"/>
                    <a:pt x="214" y="67"/>
                  </a:cubicBezTo>
                  <a:cubicBezTo>
                    <a:pt x="213" y="69"/>
                    <a:pt x="210" y="71"/>
                    <a:pt x="207" y="72"/>
                  </a:cubicBezTo>
                  <a:cubicBezTo>
                    <a:pt x="205" y="73"/>
                    <a:pt x="202" y="73"/>
                    <a:pt x="200" y="74"/>
                  </a:cubicBezTo>
                  <a:cubicBezTo>
                    <a:pt x="198" y="75"/>
                    <a:pt x="197" y="77"/>
                    <a:pt x="196" y="79"/>
                  </a:cubicBezTo>
                  <a:cubicBezTo>
                    <a:pt x="196" y="80"/>
                    <a:pt x="198" y="80"/>
                    <a:pt x="199" y="80"/>
                  </a:cubicBezTo>
                  <a:cubicBezTo>
                    <a:pt x="200" y="79"/>
                    <a:pt x="200" y="76"/>
                    <a:pt x="202" y="75"/>
                  </a:cubicBezTo>
                  <a:cubicBezTo>
                    <a:pt x="203" y="74"/>
                    <a:pt x="205" y="75"/>
                    <a:pt x="205" y="76"/>
                  </a:cubicBezTo>
                  <a:cubicBezTo>
                    <a:pt x="206" y="78"/>
                    <a:pt x="203" y="80"/>
                    <a:pt x="203" y="82"/>
                  </a:cubicBezTo>
                  <a:cubicBezTo>
                    <a:pt x="203" y="83"/>
                    <a:pt x="205" y="82"/>
                    <a:pt x="206" y="81"/>
                  </a:cubicBezTo>
                  <a:cubicBezTo>
                    <a:pt x="207" y="79"/>
                    <a:pt x="207" y="75"/>
                    <a:pt x="209" y="73"/>
                  </a:cubicBezTo>
                  <a:cubicBezTo>
                    <a:pt x="212" y="70"/>
                    <a:pt x="216" y="68"/>
                    <a:pt x="220" y="67"/>
                  </a:cubicBezTo>
                  <a:cubicBezTo>
                    <a:pt x="221" y="66"/>
                    <a:pt x="221" y="69"/>
                    <a:pt x="220" y="70"/>
                  </a:cubicBezTo>
                  <a:cubicBezTo>
                    <a:pt x="218" y="72"/>
                    <a:pt x="214" y="73"/>
                    <a:pt x="212" y="75"/>
                  </a:cubicBezTo>
                  <a:cubicBezTo>
                    <a:pt x="211" y="76"/>
                    <a:pt x="212" y="78"/>
                    <a:pt x="213" y="77"/>
                  </a:cubicBezTo>
                  <a:cubicBezTo>
                    <a:pt x="218" y="75"/>
                    <a:pt x="222" y="71"/>
                    <a:pt x="227" y="69"/>
                  </a:cubicBezTo>
                  <a:cubicBezTo>
                    <a:pt x="228" y="69"/>
                    <a:pt x="228" y="71"/>
                    <a:pt x="229" y="72"/>
                  </a:cubicBezTo>
                  <a:cubicBezTo>
                    <a:pt x="231" y="73"/>
                    <a:pt x="235" y="73"/>
                    <a:pt x="235" y="75"/>
                  </a:cubicBezTo>
                  <a:cubicBezTo>
                    <a:pt x="236" y="77"/>
                    <a:pt x="232" y="78"/>
                    <a:pt x="230" y="79"/>
                  </a:cubicBezTo>
                  <a:cubicBezTo>
                    <a:pt x="228" y="80"/>
                    <a:pt x="225" y="79"/>
                    <a:pt x="222" y="80"/>
                  </a:cubicBezTo>
                  <a:cubicBezTo>
                    <a:pt x="220" y="81"/>
                    <a:pt x="218" y="83"/>
                    <a:pt x="216" y="85"/>
                  </a:cubicBezTo>
                  <a:cubicBezTo>
                    <a:pt x="215" y="85"/>
                    <a:pt x="215" y="87"/>
                    <a:pt x="216" y="87"/>
                  </a:cubicBezTo>
                  <a:cubicBezTo>
                    <a:pt x="220" y="86"/>
                    <a:pt x="222" y="84"/>
                    <a:pt x="226" y="83"/>
                  </a:cubicBezTo>
                  <a:cubicBezTo>
                    <a:pt x="227" y="82"/>
                    <a:pt x="231" y="80"/>
                    <a:pt x="231" y="81"/>
                  </a:cubicBezTo>
                  <a:cubicBezTo>
                    <a:pt x="230" y="84"/>
                    <a:pt x="227" y="85"/>
                    <a:pt x="224" y="87"/>
                  </a:cubicBezTo>
                  <a:cubicBezTo>
                    <a:pt x="223" y="88"/>
                    <a:pt x="221" y="88"/>
                    <a:pt x="220" y="89"/>
                  </a:cubicBezTo>
                  <a:cubicBezTo>
                    <a:pt x="219" y="89"/>
                    <a:pt x="220" y="91"/>
                    <a:pt x="220" y="91"/>
                  </a:cubicBezTo>
                  <a:cubicBezTo>
                    <a:pt x="224" y="90"/>
                    <a:pt x="227" y="88"/>
                    <a:pt x="230" y="86"/>
                  </a:cubicBezTo>
                  <a:cubicBezTo>
                    <a:pt x="233" y="85"/>
                    <a:pt x="235" y="82"/>
                    <a:pt x="238" y="80"/>
                  </a:cubicBezTo>
                  <a:cubicBezTo>
                    <a:pt x="239" y="80"/>
                    <a:pt x="240" y="81"/>
                    <a:pt x="241" y="81"/>
                  </a:cubicBezTo>
                  <a:cubicBezTo>
                    <a:pt x="243" y="83"/>
                    <a:pt x="246" y="85"/>
                    <a:pt x="248" y="87"/>
                  </a:cubicBezTo>
                  <a:cubicBezTo>
                    <a:pt x="249" y="88"/>
                    <a:pt x="250" y="91"/>
                    <a:pt x="248" y="91"/>
                  </a:cubicBezTo>
                  <a:cubicBezTo>
                    <a:pt x="244" y="92"/>
                    <a:pt x="240" y="90"/>
                    <a:pt x="235" y="91"/>
                  </a:cubicBezTo>
                  <a:cubicBezTo>
                    <a:pt x="232" y="91"/>
                    <a:pt x="229" y="92"/>
                    <a:pt x="226" y="94"/>
                  </a:cubicBezTo>
                  <a:cubicBezTo>
                    <a:pt x="225" y="95"/>
                    <a:pt x="229" y="94"/>
                    <a:pt x="230" y="95"/>
                  </a:cubicBezTo>
                  <a:cubicBezTo>
                    <a:pt x="233" y="95"/>
                    <a:pt x="236" y="97"/>
                    <a:pt x="239" y="97"/>
                  </a:cubicBezTo>
                  <a:cubicBezTo>
                    <a:pt x="243" y="98"/>
                    <a:pt x="247" y="97"/>
                    <a:pt x="250" y="98"/>
                  </a:cubicBezTo>
                  <a:cubicBezTo>
                    <a:pt x="252" y="99"/>
                    <a:pt x="253" y="100"/>
                    <a:pt x="253" y="101"/>
                  </a:cubicBezTo>
                  <a:cubicBezTo>
                    <a:pt x="253" y="102"/>
                    <a:pt x="251" y="103"/>
                    <a:pt x="251" y="103"/>
                  </a:cubicBezTo>
                  <a:cubicBezTo>
                    <a:pt x="248" y="103"/>
                    <a:pt x="245" y="103"/>
                    <a:pt x="243" y="103"/>
                  </a:cubicBezTo>
                  <a:cubicBezTo>
                    <a:pt x="240" y="102"/>
                    <a:pt x="237" y="100"/>
                    <a:pt x="233" y="100"/>
                  </a:cubicBezTo>
                  <a:cubicBezTo>
                    <a:pt x="231" y="100"/>
                    <a:pt x="228" y="101"/>
                    <a:pt x="226" y="102"/>
                  </a:cubicBezTo>
                  <a:cubicBezTo>
                    <a:pt x="225" y="103"/>
                    <a:pt x="224" y="106"/>
                    <a:pt x="226" y="106"/>
                  </a:cubicBezTo>
                  <a:cubicBezTo>
                    <a:pt x="228" y="107"/>
                    <a:pt x="231" y="104"/>
                    <a:pt x="234" y="104"/>
                  </a:cubicBezTo>
                  <a:cubicBezTo>
                    <a:pt x="235" y="104"/>
                    <a:pt x="238" y="104"/>
                    <a:pt x="238" y="105"/>
                  </a:cubicBezTo>
                  <a:cubicBezTo>
                    <a:pt x="239" y="107"/>
                    <a:pt x="236" y="107"/>
                    <a:pt x="235" y="108"/>
                  </a:cubicBezTo>
                  <a:cubicBezTo>
                    <a:pt x="233" y="108"/>
                    <a:pt x="230" y="106"/>
                    <a:pt x="230" y="108"/>
                  </a:cubicBezTo>
                  <a:cubicBezTo>
                    <a:pt x="231" y="110"/>
                    <a:pt x="238" y="110"/>
                    <a:pt x="236" y="111"/>
                  </a:cubicBezTo>
                  <a:cubicBezTo>
                    <a:pt x="233" y="113"/>
                    <a:pt x="228" y="110"/>
                    <a:pt x="224" y="111"/>
                  </a:cubicBezTo>
                  <a:cubicBezTo>
                    <a:pt x="223" y="112"/>
                    <a:pt x="223" y="114"/>
                    <a:pt x="224" y="114"/>
                  </a:cubicBezTo>
                  <a:cubicBezTo>
                    <a:pt x="227" y="115"/>
                    <a:pt x="231" y="112"/>
                    <a:pt x="233" y="114"/>
                  </a:cubicBezTo>
                  <a:cubicBezTo>
                    <a:pt x="235" y="116"/>
                    <a:pt x="224" y="116"/>
                    <a:pt x="226" y="117"/>
                  </a:cubicBezTo>
                  <a:cubicBezTo>
                    <a:pt x="232" y="119"/>
                    <a:pt x="239" y="116"/>
                    <a:pt x="245" y="118"/>
                  </a:cubicBezTo>
                  <a:cubicBezTo>
                    <a:pt x="249" y="119"/>
                    <a:pt x="236" y="117"/>
                    <a:pt x="235" y="120"/>
                  </a:cubicBezTo>
                  <a:cubicBezTo>
                    <a:pt x="234" y="122"/>
                    <a:pt x="242" y="119"/>
                    <a:pt x="244" y="121"/>
                  </a:cubicBezTo>
                  <a:cubicBezTo>
                    <a:pt x="245" y="123"/>
                    <a:pt x="238" y="123"/>
                    <a:pt x="238" y="126"/>
                  </a:cubicBezTo>
                  <a:cubicBezTo>
                    <a:pt x="238" y="128"/>
                    <a:pt x="242" y="123"/>
                    <a:pt x="244" y="123"/>
                  </a:cubicBezTo>
                  <a:cubicBezTo>
                    <a:pt x="245" y="124"/>
                    <a:pt x="242" y="127"/>
                    <a:pt x="244" y="127"/>
                  </a:cubicBezTo>
                  <a:cubicBezTo>
                    <a:pt x="246" y="128"/>
                    <a:pt x="249" y="122"/>
                    <a:pt x="251" y="124"/>
                  </a:cubicBezTo>
                  <a:cubicBezTo>
                    <a:pt x="253" y="126"/>
                    <a:pt x="247" y="129"/>
                    <a:pt x="249" y="132"/>
                  </a:cubicBezTo>
                  <a:cubicBezTo>
                    <a:pt x="250" y="133"/>
                    <a:pt x="252" y="127"/>
                    <a:pt x="253" y="128"/>
                  </a:cubicBezTo>
                  <a:cubicBezTo>
                    <a:pt x="255" y="130"/>
                    <a:pt x="251" y="136"/>
                    <a:pt x="253" y="135"/>
                  </a:cubicBezTo>
                  <a:cubicBezTo>
                    <a:pt x="256" y="135"/>
                    <a:pt x="255" y="127"/>
                    <a:pt x="258" y="128"/>
                  </a:cubicBezTo>
                  <a:cubicBezTo>
                    <a:pt x="261" y="128"/>
                    <a:pt x="256" y="137"/>
                    <a:pt x="258" y="136"/>
                  </a:cubicBezTo>
                  <a:cubicBezTo>
                    <a:pt x="262" y="136"/>
                    <a:pt x="260" y="130"/>
                    <a:pt x="262" y="127"/>
                  </a:cubicBezTo>
                  <a:cubicBezTo>
                    <a:pt x="263" y="126"/>
                    <a:pt x="266" y="127"/>
                    <a:pt x="266" y="128"/>
                  </a:cubicBezTo>
                  <a:cubicBezTo>
                    <a:pt x="267" y="131"/>
                    <a:pt x="262" y="132"/>
                    <a:pt x="263" y="134"/>
                  </a:cubicBezTo>
                  <a:cubicBezTo>
                    <a:pt x="264" y="137"/>
                    <a:pt x="269" y="135"/>
                    <a:pt x="271" y="137"/>
                  </a:cubicBezTo>
                  <a:cubicBezTo>
                    <a:pt x="272" y="137"/>
                    <a:pt x="272" y="139"/>
                    <a:pt x="271" y="140"/>
                  </a:cubicBezTo>
                  <a:cubicBezTo>
                    <a:pt x="270" y="141"/>
                    <a:pt x="266" y="139"/>
                    <a:pt x="265" y="141"/>
                  </a:cubicBezTo>
                  <a:cubicBezTo>
                    <a:pt x="264" y="143"/>
                    <a:pt x="267" y="145"/>
                    <a:pt x="268" y="145"/>
                  </a:cubicBezTo>
                  <a:cubicBezTo>
                    <a:pt x="271" y="146"/>
                    <a:pt x="273" y="142"/>
                    <a:pt x="276" y="142"/>
                  </a:cubicBezTo>
                  <a:cubicBezTo>
                    <a:pt x="277" y="142"/>
                    <a:pt x="278" y="144"/>
                    <a:pt x="279" y="144"/>
                  </a:cubicBezTo>
                  <a:cubicBezTo>
                    <a:pt x="281" y="144"/>
                    <a:pt x="283" y="140"/>
                    <a:pt x="284" y="142"/>
                  </a:cubicBezTo>
                  <a:cubicBezTo>
                    <a:pt x="284" y="144"/>
                    <a:pt x="281" y="146"/>
                    <a:pt x="280" y="148"/>
                  </a:cubicBezTo>
                  <a:cubicBezTo>
                    <a:pt x="279" y="150"/>
                    <a:pt x="276" y="151"/>
                    <a:pt x="276" y="153"/>
                  </a:cubicBezTo>
                  <a:cubicBezTo>
                    <a:pt x="276" y="154"/>
                    <a:pt x="278" y="154"/>
                    <a:pt x="279" y="154"/>
                  </a:cubicBezTo>
                  <a:cubicBezTo>
                    <a:pt x="280" y="153"/>
                    <a:pt x="280" y="149"/>
                    <a:pt x="282" y="150"/>
                  </a:cubicBezTo>
                  <a:cubicBezTo>
                    <a:pt x="284" y="150"/>
                    <a:pt x="282" y="154"/>
                    <a:pt x="283" y="155"/>
                  </a:cubicBezTo>
                  <a:cubicBezTo>
                    <a:pt x="285" y="155"/>
                    <a:pt x="284" y="150"/>
                    <a:pt x="286" y="150"/>
                  </a:cubicBezTo>
                  <a:cubicBezTo>
                    <a:pt x="287" y="150"/>
                    <a:pt x="288" y="154"/>
                    <a:pt x="289" y="153"/>
                  </a:cubicBezTo>
                  <a:cubicBezTo>
                    <a:pt x="291" y="153"/>
                    <a:pt x="289" y="149"/>
                    <a:pt x="290" y="149"/>
                  </a:cubicBezTo>
                  <a:cubicBezTo>
                    <a:pt x="292" y="148"/>
                    <a:pt x="295" y="150"/>
                    <a:pt x="297" y="151"/>
                  </a:cubicBezTo>
                  <a:cubicBezTo>
                    <a:pt x="298" y="152"/>
                    <a:pt x="301" y="154"/>
                    <a:pt x="300" y="156"/>
                  </a:cubicBezTo>
                  <a:cubicBezTo>
                    <a:pt x="298" y="158"/>
                    <a:pt x="292" y="155"/>
                    <a:pt x="292" y="158"/>
                  </a:cubicBezTo>
                  <a:cubicBezTo>
                    <a:pt x="292" y="160"/>
                    <a:pt x="299" y="159"/>
                    <a:pt x="299" y="162"/>
                  </a:cubicBezTo>
                  <a:cubicBezTo>
                    <a:pt x="299" y="164"/>
                    <a:pt x="295" y="163"/>
                    <a:pt x="292" y="163"/>
                  </a:cubicBezTo>
                  <a:cubicBezTo>
                    <a:pt x="290" y="163"/>
                    <a:pt x="288" y="162"/>
                    <a:pt x="286" y="163"/>
                  </a:cubicBezTo>
                  <a:cubicBezTo>
                    <a:pt x="285" y="163"/>
                    <a:pt x="282" y="164"/>
                    <a:pt x="283" y="165"/>
                  </a:cubicBezTo>
                  <a:cubicBezTo>
                    <a:pt x="284" y="167"/>
                    <a:pt x="288" y="166"/>
                    <a:pt x="290" y="167"/>
                  </a:cubicBezTo>
                  <a:cubicBezTo>
                    <a:pt x="291" y="168"/>
                    <a:pt x="288" y="169"/>
                    <a:pt x="287" y="169"/>
                  </a:cubicBezTo>
                  <a:cubicBezTo>
                    <a:pt x="285" y="169"/>
                    <a:pt x="280" y="167"/>
                    <a:pt x="280" y="169"/>
                  </a:cubicBezTo>
                  <a:cubicBezTo>
                    <a:pt x="281" y="172"/>
                    <a:pt x="288" y="172"/>
                    <a:pt x="288" y="176"/>
                  </a:cubicBezTo>
                  <a:cubicBezTo>
                    <a:pt x="288" y="178"/>
                    <a:pt x="283" y="174"/>
                    <a:pt x="281" y="175"/>
                  </a:cubicBezTo>
                  <a:cubicBezTo>
                    <a:pt x="280" y="175"/>
                    <a:pt x="282" y="177"/>
                    <a:pt x="282" y="177"/>
                  </a:cubicBezTo>
                  <a:cubicBezTo>
                    <a:pt x="280" y="178"/>
                    <a:pt x="277" y="178"/>
                    <a:pt x="275" y="177"/>
                  </a:cubicBezTo>
                  <a:cubicBezTo>
                    <a:pt x="274" y="177"/>
                    <a:pt x="275" y="172"/>
                    <a:pt x="274" y="173"/>
                  </a:cubicBezTo>
                  <a:cubicBezTo>
                    <a:pt x="272" y="175"/>
                    <a:pt x="272" y="179"/>
                    <a:pt x="272" y="181"/>
                  </a:cubicBezTo>
                  <a:cubicBezTo>
                    <a:pt x="272" y="184"/>
                    <a:pt x="274" y="189"/>
                    <a:pt x="271" y="191"/>
                  </a:cubicBezTo>
                  <a:cubicBezTo>
                    <a:pt x="270" y="193"/>
                    <a:pt x="268" y="190"/>
                    <a:pt x="266" y="188"/>
                  </a:cubicBezTo>
                  <a:cubicBezTo>
                    <a:pt x="265" y="187"/>
                    <a:pt x="264" y="184"/>
                    <a:pt x="263" y="184"/>
                  </a:cubicBezTo>
                  <a:cubicBezTo>
                    <a:pt x="261" y="183"/>
                    <a:pt x="261" y="187"/>
                    <a:pt x="260" y="187"/>
                  </a:cubicBezTo>
                  <a:cubicBezTo>
                    <a:pt x="258" y="187"/>
                    <a:pt x="258" y="185"/>
                    <a:pt x="257" y="183"/>
                  </a:cubicBezTo>
                  <a:cubicBezTo>
                    <a:pt x="257" y="182"/>
                    <a:pt x="258" y="181"/>
                    <a:pt x="257" y="180"/>
                  </a:cubicBezTo>
                  <a:cubicBezTo>
                    <a:pt x="257" y="179"/>
                    <a:pt x="255" y="179"/>
                    <a:pt x="255" y="177"/>
                  </a:cubicBezTo>
                  <a:cubicBezTo>
                    <a:pt x="254" y="175"/>
                    <a:pt x="254" y="173"/>
                    <a:pt x="255" y="172"/>
                  </a:cubicBezTo>
                  <a:cubicBezTo>
                    <a:pt x="256" y="169"/>
                    <a:pt x="260" y="170"/>
                    <a:pt x="261" y="168"/>
                  </a:cubicBezTo>
                  <a:cubicBezTo>
                    <a:pt x="262" y="167"/>
                    <a:pt x="263" y="163"/>
                    <a:pt x="262" y="163"/>
                  </a:cubicBezTo>
                  <a:cubicBezTo>
                    <a:pt x="258" y="164"/>
                    <a:pt x="256" y="167"/>
                    <a:pt x="253" y="169"/>
                  </a:cubicBezTo>
                  <a:cubicBezTo>
                    <a:pt x="252" y="169"/>
                    <a:pt x="250" y="171"/>
                    <a:pt x="250" y="170"/>
                  </a:cubicBezTo>
                  <a:cubicBezTo>
                    <a:pt x="249" y="168"/>
                    <a:pt x="251" y="166"/>
                    <a:pt x="250" y="165"/>
                  </a:cubicBezTo>
                  <a:cubicBezTo>
                    <a:pt x="249" y="164"/>
                    <a:pt x="246" y="166"/>
                    <a:pt x="244" y="165"/>
                  </a:cubicBezTo>
                  <a:cubicBezTo>
                    <a:pt x="243" y="165"/>
                    <a:pt x="241" y="164"/>
                    <a:pt x="240" y="162"/>
                  </a:cubicBezTo>
                  <a:cubicBezTo>
                    <a:pt x="239" y="161"/>
                    <a:pt x="241" y="158"/>
                    <a:pt x="240" y="157"/>
                  </a:cubicBezTo>
                  <a:cubicBezTo>
                    <a:pt x="237" y="156"/>
                    <a:pt x="233" y="156"/>
                    <a:pt x="231" y="158"/>
                  </a:cubicBezTo>
                  <a:cubicBezTo>
                    <a:pt x="230" y="160"/>
                    <a:pt x="235" y="161"/>
                    <a:pt x="235" y="164"/>
                  </a:cubicBezTo>
                  <a:cubicBezTo>
                    <a:pt x="235" y="165"/>
                    <a:pt x="233" y="165"/>
                    <a:pt x="231" y="164"/>
                  </a:cubicBezTo>
                  <a:cubicBezTo>
                    <a:pt x="230" y="163"/>
                    <a:pt x="229" y="160"/>
                    <a:pt x="228" y="161"/>
                  </a:cubicBezTo>
                  <a:cubicBezTo>
                    <a:pt x="226" y="162"/>
                    <a:pt x="228" y="164"/>
                    <a:pt x="228" y="166"/>
                  </a:cubicBezTo>
                  <a:cubicBezTo>
                    <a:pt x="229" y="168"/>
                    <a:pt x="234" y="169"/>
                    <a:pt x="233" y="171"/>
                  </a:cubicBezTo>
                  <a:cubicBezTo>
                    <a:pt x="232" y="173"/>
                    <a:pt x="227" y="173"/>
                    <a:pt x="225" y="172"/>
                  </a:cubicBezTo>
                  <a:cubicBezTo>
                    <a:pt x="223" y="170"/>
                    <a:pt x="224" y="166"/>
                    <a:pt x="221" y="165"/>
                  </a:cubicBezTo>
                  <a:cubicBezTo>
                    <a:pt x="220" y="165"/>
                    <a:pt x="220" y="168"/>
                    <a:pt x="221" y="170"/>
                  </a:cubicBezTo>
                  <a:cubicBezTo>
                    <a:pt x="221" y="172"/>
                    <a:pt x="222" y="176"/>
                    <a:pt x="224" y="177"/>
                  </a:cubicBezTo>
                  <a:cubicBezTo>
                    <a:pt x="226" y="178"/>
                    <a:pt x="229" y="176"/>
                    <a:pt x="231" y="177"/>
                  </a:cubicBezTo>
                  <a:cubicBezTo>
                    <a:pt x="233" y="180"/>
                    <a:pt x="232" y="184"/>
                    <a:pt x="233" y="187"/>
                  </a:cubicBezTo>
                  <a:cubicBezTo>
                    <a:pt x="233" y="190"/>
                    <a:pt x="231" y="193"/>
                    <a:pt x="233" y="195"/>
                  </a:cubicBezTo>
                  <a:cubicBezTo>
                    <a:pt x="234" y="196"/>
                    <a:pt x="235" y="191"/>
                    <a:pt x="237" y="191"/>
                  </a:cubicBezTo>
                  <a:cubicBezTo>
                    <a:pt x="239" y="191"/>
                    <a:pt x="241" y="193"/>
                    <a:pt x="243" y="194"/>
                  </a:cubicBezTo>
                  <a:cubicBezTo>
                    <a:pt x="244" y="195"/>
                    <a:pt x="247" y="194"/>
                    <a:pt x="248" y="195"/>
                  </a:cubicBezTo>
                  <a:cubicBezTo>
                    <a:pt x="249" y="197"/>
                    <a:pt x="246" y="200"/>
                    <a:pt x="247" y="202"/>
                  </a:cubicBezTo>
                  <a:cubicBezTo>
                    <a:pt x="248" y="203"/>
                    <a:pt x="250" y="201"/>
                    <a:pt x="251" y="202"/>
                  </a:cubicBezTo>
                  <a:cubicBezTo>
                    <a:pt x="252" y="203"/>
                    <a:pt x="251" y="205"/>
                    <a:pt x="251" y="206"/>
                  </a:cubicBezTo>
                  <a:cubicBezTo>
                    <a:pt x="251" y="208"/>
                    <a:pt x="252" y="210"/>
                    <a:pt x="253" y="212"/>
                  </a:cubicBezTo>
                  <a:cubicBezTo>
                    <a:pt x="255" y="216"/>
                    <a:pt x="258" y="218"/>
                    <a:pt x="259" y="222"/>
                  </a:cubicBezTo>
                  <a:cubicBezTo>
                    <a:pt x="259" y="224"/>
                    <a:pt x="256" y="224"/>
                    <a:pt x="254" y="223"/>
                  </a:cubicBezTo>
                  <a:cubicBezTo>
                    <a:pt x="252" y="222"/>
                    <a:pt x="250" y="217"/>
                    <a:pt x="249" y="219"/>
                  </a:cubicBezTo>
                  <a:cubicBezTo>
                    <a:pt x="248" y="224"/>
                    <a:pt x="252" y="228"/>
                    <a:pt x="252" y="233"/>
                  </a:cubicBezTo>
                  <a:cubicBezTo>
                    <a:pt x="251" y="234"/>
                    <a:pt x="248" y="231"/>
                    <a:pt x="247" y="232"/>
                  </a:cubicBezTo>
                  <a:cubicBezTo>
                    <a:pt x="246" y="233"/>
                    <a:pt x="249" y="236"/>
                    <a:pt x="248" y="23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8" name="Freeform 1059"/>
            <p:cNvSpPr>
              <a:spLocks noChangeAspect="1"/>
            </p:cNvSpPr>
            <p:nvPr/>
          </p:nvSpPr>
          <p:spPr bwMode="auto">
            <a:xfrm>
              <a:off x="2889250" y="2054225"/>
              <a:ext cx="49213" cy="47625"/>
            </a:xfrm>
            <a:custGeom>
              <a:avLst/>
              <a:gdLst>
                <a:gd name="T0" fmla="*/ 45427 w 26"/>
                <a:gd name="T1" fmla="*/ 3810 h 25"/>
                <a:gd name="T2" fmla="*/ 49213 w 26"/>
                <a:gd name="T3" fmla="*/ 7620 h 25"/>
                <a:gd name="T4" fmla="*/ 45427 w 26"/>
                <a:gd name="T5" fmla="*/ 32385 h 25"/>
                <a:gd name="T6" fmla="*/ 26499 w 26"/>
                <a:gd name="T7" fmla="*/ 45720 h 25"/>
                <a:gd name="T8" fmla="*/ 5678 w 26"/>
                <a:gd name="T9" fmla="*/ 43815 h 25"/>
                <a:gd name="T10" fmla="*/ 0 w 26"/>
                <a:gd name="T11" fmla="*/ 36195 h 25"/>
                <a:gd name="T12" fmla="*/ 5678 w 26"/>
                <a:gd name="T13" fmla="*/ 17145 h 25"/>
                <a:gd name="T14" fmla="*/ 17035 w 26"/>
                <a:gd name="T15" fmla="*/ 3810 h 25"/>
                <a:gd name="T16" fmla="*/ 32178 w 26"/>
                <a:gd name="T17" fmla="*/ 0 h 25"/>
                <a:gd name="T18" fmla="*/ 45427 w 26"/>
                <a:gd name="T19" fmla="*/ 381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5"/>
                <a:gd name="T32" fmla="*/ 26 w 26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5">
                  <a:moveTo>
                    <a:pt x="24" y="2"/>
                  </a:moveTo>
                  <a:cubicBezTo>
                    <a:pt x="25" y="2"/>
                    <a:pt x="26" y="3"/>
                    <a:pt x="26" y="4"/>
                  </a:cubicBezTo>
                  <a:cubicBezTo>
                    <a:pt x="25" y="9"/>
                    <a:pt x="26" y="14"/>
                    <a:pt x="24" y="17"/>
                  </a:cubicBezTo>
                  <a:cubicBezTo>
                    <a:pt x="22" y="21"/>
                    <a:pt x="18" y="23"/>
                    <a:pt x="14" y="24"/>
                  </a:cubicBezTo>
                  <a:cubicBezTo>
                    <a:pt x="11" y="25"/>
                    <a:pt x="6" y="24"/>
                    <a:pt x="3" y="23"/>
                  </a:cubicBezTo>
                  <a:cubicBezTo>
                    <a:pt x="1" y="23"/>
                    <a:pt x="0" y="21"/>
                    <a:pt x="0" y="19"/>
                  </a:cubicBezTo>
                  <a:cubicBezTo>
                    <a:pt x="0" y="16"/>
                    <a:pt x="1" y="12"/>
                    <a:pt x="3" y="9"/>
                  </a:cubicBezTo>
                  <a:cubicBezTo>
                    <a:pt x="4" y="7"/>
                    <a:pt x="6" y="4"/>
                    <a:pt x="9" y="2"/>
                  </a:cubicBezTo>
                  <a:cubicBezTo>
                    <a:pt x="11" y="1"/>
                    <a:pt x="14" y="0"/>
                    <a:pt x="17" y="0"/>
                  </a:cubicBezTo>
                  <a:cubicBezTo>
                    <a:pt x="19" y="0"/>
                    <a:pt x="22" y="1"/>
                    <a:pt x="2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59" name="Freeform 1060"/>
            <p:cNvSpPr>
              <a:spLocks noChangeAspect="1"/>
            </p:cNvSpPr>
            <p:nvPr/>
          </p:nvSpPr>
          <p:spPr bwMode="auto">
            <a:xfrm>
              <a:off x="2941638" y="2060575"/>
              <a:ext cx="31750" cy="20638"/>
            </a:xfrm>
            <a:custGeom>
              <a:avLst/>
              <a:gdLst>
                <a:gd name="T0" fmla="*/ 3969 w 16"/>
                <a:gd name="T1" fmla="*/ 3752 h 11"/>
                <a:gd name="T2" fmla="*/ 1984 w 16"/>
                <a:gd name="T3" fmla="*/ 7505 h 11"/>
                <a:gd name="T4" fmla="*/ 3969 w 16"/>
                <a:gd name="T5" fmla="*/ 18762 h 11"/>
                <a:gd name="T6" fmla="*/ 17859 w 16"/>
                <a:gd name="T7" fmla="*/ 16886 h 11"/>
                <a:gd name="T8" fmla="*/ 27781 w 16"/>
                <a:gd name="T9" fmla="*/ 18762 h 11"/>
                <a:gd name="T10" fmla="*/ 29766 w 16"/>
                <a:gd name="T11" fmla="*/ 7505 h 11"/>
                <a:gd name="T12" fmla="*/ 19844 w 16"/>
                <a:gd name="T13" fmla="*/ 3752 h 11"/>
                <a:gd name="T14" fmla="*/ 11906 w 16"/>
                <a:gd name="T15" fmla="*/ 0 h 11"/>
                <a:gd name="T16" fmla="*/ 3969 w 16"/>
                <a:gd name="T17" fmla="*/ 3752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11"/>
                <a:gd name="T29" fmla="*/ 16 w 16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11">
                  <a:moveTo>
                    <a:pt x="2" y="2"/>
                  </a:moveTo>
                  <a:cubicBezTo>
                    <a:pt x="1" y="2"/>
                    <a:pt x="1" y="3"/>
                    <a:pt x="1" y="4"/>
                  </a:cubicBezTo>
                  <a:cubicBezTo>
                    <a:pt x="1" y="6"/>
                    <a:pt x="0" y="9"/>
                    <a:pt x="2" y="10"/>
                  </a:cubicBezTo>
                  <a:cubicBezTo>
                    <a:pt x="4" y="11"/>
                    <a:pt x="7" y="9"/>
                    <a:pt x="9" y="9"/>
                  </a:cubicBezTo>
                  <a:cubicBezTo>
                    <a:pt x="11" y="9"/>
                    <a:pt x="13" y="11"/>
                    <a:pt x="14" y="10"/>
                  </a:cubicBezTo>
                  <a:cubicBezTo>
                    <a:pt x="16" y="9"/>
                    <a:pt x="16" y="6"/>
                    <a:pt x="15" y="4"/>
                  </a:cubicBezTo>
                  <a:cubicBezTo>
                    <a:pt x="14" y="2"/>
                    <a:pt x="12" y="3"/>
                    <a:pt x="10" y="2"/>
                  </a:cubicBezTo>
                  <a:cubicBezTo>
                    <a:pt x="9" y="2"/>
                    <a:pt x="8" y="1"/>
                    <a:pt x="6" y="0"/>
                  </a:cubicBezTo>
                  <a:cubicBezTo>
                    <a:pt x="4" y="0"/>
                    <a:pt x="3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0" name="Freeform 1061"/>
            <p:cNvSpPr>
              <a:spLocks noChangeAspect="1"/>
            </p:cNvSpPr>
            <p:nvPr/>
          </p:nvSpPr>
          <p:spPr bwMode="auto">
            <a:xfrm>
              <a:off x="2938463" y="2039938"/>
              <a:ext cx="9525" cy="17462"/>
            </a:xfrm>
            <a:custGeom>
              <a:avLst/>
              <a:gdLst>
                <a:gd name="T0" fmla="*/ 1905 w 5"/>
                <a:gd name="T1" fmla="*/ 1940 h 9"/>
                <a:gd name="T2" fmla="*/ 0 w 5"/>
                <a:gd name="T3" fmla="*/ 7761 h 9"/>
                <a:gd name="T4" fmla="*/ 3810 w 5"/>
                <a:gd name="T5" fmla="*/ 15522 h 9"/>
                <a:gd name="T6" fmla="*/ 7620 w 5"/>
                <a:gd name="T7" fmla="*/ 11641 h 9"/>
                <a:gd name="T8" fmla="*/ 7620 w 5"/>
                <a:gd name="T9" fmla="*/ 3880 h 9"/>
                <a:gd name="T10" fmla="*/ 1905 w 5"/>
                <a:gd name="T11" fmla="*/ 194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1" y="1"/>
                  </a:moveTo>
                  <a:cubicBezTo>
                    <a:pt x="0" y="1"/>
                    <a:pt x="0" y="3"/>
                    <a:pt x="0" y="4"/>
                  </a:cubicBezTo>
                  <a:cubicBezTo>
                    <a:pt x="0" y="5"/>
                    <a:pt x="1" y="8"/>
                    <a:pt x="2" y="8"/>
                  </a:cubicBezTo>
                  <a:cubicBezTo>
                    <a:pt x="3" y="9"/>
                    <a:pt x="4" y="7"/>
                    <a:pt x="4" y="6"/>
                  </a:cubicBezTo>
                  <a:cubicBezTo>
                    <a:pt x="5" y="4"/>
                    <a:pt x="4" y="3"/>
                    <a:pt x="4" y="2"/>
                  </a:cubicBezTo>
                  <a:cubicBezTo>
                    <a:pt x="3" y="1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1" name="Freeform 1062"/>
            <p:cNvSpPr>
              <a:spLocks noChangeAspect="1"/>
            </p:cNvSpPr>
            <p:nvPr/>
          </p:nvSpPr>
          <p:spPr bwMode="auto">
            <a:xfrm>
              <a:off x="2846388" y="2011363"/>
              <a:ext cx="36512" cy="28575"/>
            </a:xfrm>
            <a:custGeom>
              <a:avLst/>
              <a:gdLst>
                <a:gd name="T0" fmla="*/ 28825 w 19"/>
                <a:gd name="T1" fmla="*/ 0 h 15"/>
                <a:gd name="T2" fmla="*/ 36512 w 19"/>
                <a:gd name="T3" fmla="*/ 3810 h 15"/>
                <a:gd name="T4" fmla="*/ 23060 w 19"/>
                <a:gd name="T5" fmla="*/ 13335 h 15"/>
                <a:gd name="T6" fmla="*/ 15373 w 19"/>
                <a:gd name="T7" fmla="*/ 24765 h 15"/>
                <a:gd name="T8" fmla="*/ 3843 w 19"/>
                <a:gd name="T9" fmla="*/ 26670 h 15"/>
                <a:gd name="T10" fmla="*/ 0 w 19"/>
                <a:gd name="T11" fmla="*/ 20955 h 15"/>
                <a:gd name="T12" fmla="*/ 13452 w 19"/>
                <a:gd name="T13" fmla="*/ 11430 h 15"/>
                <a:gd name="T14" fmla="*/ 23060 w 19"/>
                <a:gd name="T15" fmla="*/ 3810 h 15"/>
                <a:gd name="T16" fmla="*/ 28825 w 19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"/>
                <a:gd name="T28" fmla="*/ 0 h 15"/>
                <a:gd name="T29" fmla="*/ 19 w 19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" h="15">
                  <a:moveTo>
                    <a:pt x="15" y="0"/>
                  </a:moveTo>
                  <a:cubicBezTo>
                    <a:pt x="17" y="0"/>
                    <a:pt x="19" y="1"/>
                    <a:pt x="19" y="2"/>
                  </a:cubicBezTo>
                  <a:cubicBezTo>
                    <a:pt x="17" y="5"/>
                    <a:pt x="14" y="5"/>
                    <a:pt x="12" y="7"/>
                  </a:cubicBezTo>
                  <a:cubicBezTo>
                    <a:pt x="11" y="9"/>
                    <a:pt x="10" y="11"/>
                    <a:pt x="8" y="13"/>
                  </a:cubicBezTo>
                  <a:cubicBezTo>
                    <a:pt x="6" y="14"/>
                    <a:pt x="4" y="15"/>
                    <a:pt x="2" y="14"/>
                  </a:cubicBezTo>
                  <a:cubicBezTo>
                    <a:pt x="1" y="14"/>
                    <a:pt x="0" y="12"/>
                    <a:pt x="0" y="11"/>
                  </a:cubicBezTo>
                  <a:cubicBezTo>
                    <a:pt x="2" y="9"/>
                    <a:pt x="5" y="8"/>
                    <a:pt x="7" y="6"/>
                  </a:cubicBezTo>
                  <a:cubicBezTo>
                    <a:pt x="8" y="5"/>
                    <a:pt x="10" y="3"/>
                    <a:pt x="12" y="2"/>
                  </a:cubicBezTo>
                  <a:cubicBezTo>
                    <a:pt x="13" y="1"/>
                    <a:pt x="14" y="0"/>
                    <a:pt x="1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2" name="Freeform 1063"/>
            <p:cNvSpPr>
              <a:spLocks noChangeAspect="1"/>
            </p:cNvSpPr>
            <p:nvPr/>
          </p:nvSpPr>
          <p:spPr bwMode="auto">
            <a:xfrm>
              <a:off x="2868613" y="1997075"/>
              <a:ext cx="25400" cy="12700"/>
            </a:xfrm>
            <a:custGeom>
              <a:avLst/>
              <a:gdLst>
                <a:gd name="T0" fmla="*/ 1814 w 14"/>
                <a:gd name="T1" fmla="*/ 8467 h 6"/>
                <a:gd name="T2" fmla="*/ 18143 w 14"/>
                <a:gd name="T3" fmla="*/ 2117 h 6"/>
                <a:gd name="T4" fmla="*/ 25400 w 14"/>
                <a:gd name="T5" fmla="*/ 4233 h 6"/>
                <a:gd name="T6" fmla="*/ 14514 w 14"/>
                <a:gd name="T7" fmla="*/ 8467 h 6"/>
                <a:gd name="T8" fmla="*/ 1814 w 14"/>
                <a:gd name="T9" fmla="*/ 846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"/>
                <a:gd name="T17" fmla="*/ 14 w 1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">
                  <a:moveTo>
                    <a:pt x="1" y="4"/>
                  </a:moveTo>
                  <a:cubicBezTo>
                    <a:pt x="3" y="1"/>
                    <a:pt x="7" y="1"/>
                    <a:pt x="10" y="1"/>
                  </a:cubicBezTo>
                  <a:cubicBezTo>
                    <a:pt x="12" y="0"/>
                    <a:pt x="14" y="1"/>
                    <a:pt x="14" y="2"/>
                  </a:cubicBezTo>
                  <a:cubicBezTo>
                    <a:pt x="13" y="4"/>
                    <a:pt x="10" y="4"/>
                    <a:pt x="8" y="4"/>
                  </a:cubicBezTo>
                  <a:cubicBezTo>
                    <a:pt x="6" y="4"/>
                    <a:pt x="0" y="6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3" name="Freeform 1064"/>
            <p:cNvSpPr>
              <a:spLocks noChangeAspect="1"/>
            </p:cNvSpPr>
            <p:nvPr/>
          </p:nvSpPr>
          <p:spPr bwMode="auto">
            <a:xfrm>
              <a:off x="2835275" y="1995488"/>
              <a:ext cx="20638" cy="9525"/>
            </a:xfrm>
            <a:custGeom>
              <a:avLst/>
              <a:gdLst>
                <a:gd name="T0" fmla="*/ 1876 w 11"/>
                <a:gd name="T1" fmla="*/ 3810 h 5"/>
                <a:gd name="T2" fmla="*/ 7505 w 11"/>
                <a:gd name="T3" fmla="*/ 9525 h 5"/>
                <a:gd name="T4" fmla="*/ 20638 w 11"/>
                <a:gd name="T5" fmla="*/ 5715 h 5"/>
                <a:gd name="T6" fmla="*/ 16886 w 11"/>
                <a:gd name="T7" fmla="*/ 1905 h 5"/>
                <a:gd name="T8" fmla="*/ 1876 w 11"/>
                <a:gd name="T9" fmla="*/ 381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5"/>
                <a:gd name="T17" fmla="*/ 11 w 11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5">
                  <a:moveTo>
                    <a:pt x="1" y="2"/>
                  </a:moveTo>
                  <a:cubicBezTo>
                    <a:pt x="0" y="3"/>
                    <a:pt x="2" y="5"/>
                    <a:pt x="4" y="5"/>
                  </a:cubicBezTo>
                  <a:cubicBezTo>
                    <a:pt x="6" y="5"/>
                    <a:pt x="9" y="4"/>
                    <a:pt x="11" y="3"/>
                  </a:cubicBezTo>
                  <a:cubicBezTo>
                    <a:pt x="11" y="2"/>
                    <a:pt x="10" y="1"/>
                    <a:pt x="9" y="1"/>
                  </a:cubicBezTo>
                  <a:cubicBezTo>
                    <a:pt x="6" y="1"/>
                    <a:pt x="3" y="0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4" name="Freeform 1065"/>
            <p:cNvSpPr>
              <a:spLocks noChangeAspect="1"/>
            </p:cNvSpPr>
            <p:nvPr/>
          </p:nvSpPr>
          <p:spPr bwMode="auto">
            <a:xfrm>
              <a:off x="2854325" y="2052638"/>
              <a:ext cx="14288" cy="14287"/>
            </a:xfrm>
            <a:custGeom>
              <a:avLst/>
              <a:gdLst>
                <a:gd name="T0" fmla="*/ 2041 w 7"/>
                <a:gd name="T1" fmla="*/ 4082 h 7"/>
                <a:gd name="T2" fmla="*/ 2041 w 7"/>
                <a:gd name="T3" fmla="*/ 12246 h 7"/>
                <a:gd name="T4" fmla="*/ 8165 w 7"/>
                <a:gd name="T5" fmla="*/ 10205 h 7"/>
                <a:gd name="T6" fmla="*/ 12247 w 7"/>
                <a:gd name="T7" fmla="*/ 4082 h 7"/>
                <a:gd name="T8" fmla="*/ 2041 w 7"/>
                <a:gd name="T9" fmla="*/ 4082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7"/>
                <a:gd name="T17" fmla="*/ 7 w 7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7">
                  <a:moveTo>
                    <a:pt x="1" y="2"/>
                  </a:moveTo>
                  <a:cubicBezTo>
                    <a:pt x="0" y="3"/>
                    <a:pt x="0" y="5"/>
                    <a:pt x="1" y="6"/>
                  </a:cubicBezTo>
                  <a:cubicBezTo>
                    <a:pt x="1" y="7"/>
                    <a:pt x="3" y="6"/>
                    <a:pt x="4" y="5"/>
                  </a:cubicBezTo>
                  <a:cubicBezTo>
                    <a:pt x="5" y="4"/>
                    <a:pt x="7" y="3"/>
                    <a:pt x="6" y="2"/>
                  </a:cubicBezTo>
                  <a:cubicBezTo>
                    <a:pt x="5" y="0"/>
                    <a:pt x="2" y="1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5" name="Freeform 1066"/>
            <p:cNvSpPr>
              <a:spLocks noChangeAspect="1"/>
            </p:cNvSpPr>
            <p:nvPr/>
          </p:nvSpPr>
          <p:spPr bwMode="auto">
            <a:xfrm>
              <a:off x="2690813" y="1981200"/>
              <a:ext cx="22225" cy="11113"/>
            </a:xfrm>
            <a:custGeom>
              <a:avLst/>
              <a:gdLst>
                <a:gd name="T0" fmla="*/ 3704 w 12"/>
                <a:gd name="T1" fmla="*/ 1852 h 6"/>
                <a:gd name="T2" fmla="*/ 9260 w 12"/>
                <a:gd name="T3" fmla="*/ 9261 h 6"/>
                <a:gd name="T4" fmla="*/ 20373 w 12"/>
                <a:gd name="T5" fmla="*/ 9261 h 6"/>
                <a:gd name="T6" fmla="*/ 18521 w 12"/>
                <a:gd name="T7" fmla="*/ 1852 h 6"/>
                <a:gd name="T8" fmla="*/ 3704 w 12"/>
                <a:gd name="T9" fmla="*/ 1852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6"/>
                <a:gd name="T17" fmla="*/ 12 w 1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6">
                  <a:moveTo>
                    <a:pt x="2" y="1"/>
                  </a:moveTo>
                  <a:cubicBezTo>
                    <a:pt x="0" y="2"/>
                    <a:pt x="4" y="5"/>
                    <a:pt x="5" y="5"/>
                  </a:cubicBezTo>
                  <a:cubicBezTo>
                    <a:pt x="7" y="6"/>
                    <a:pt x="9" y="6"/>
                    <a:pt x="11" y="5"/>
                  </a:cubicBezTo>
                  <a:cubicBezTo>
                    <a:pt x="12" y="4"/>
                    <a:pt x="11" y="2"/>
                    <a:pt x="10" y="1"/>
                  </a:cubicBezTo>
                  <a:cubicBezTo>
                    <a:pt x="7" y="0"/>
                    <a:pt x="4" y="1"/>
                    <a:pt x="2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6" name="Freeform 1067"/>
            <p:cNvSpPr>
              <a:spLocks noChangeAspect="1"/>
            </p:cNvSpPr>
            <p:nvPr/>
          </p:nvSpPr>
          <p:spPr bwMode="auto">
            <a:xfrm>
              <a:off x="2860675" y="1824038"/>
              <a:ext cx="96838" cy="49212"/>
            </a:xfrm>
            <a:custGeom>
              <a:avLst/>
              <a:gdLst>
                <a:gd name="T0" fmla="*/ 39874 w 51"/>
                <a:gd name="T1" fmla="*/ 9464 h 26"/>
                <a:gd name="T2" fmla="*/ 62660 w 51"/>
                <a:gd name="T3" fmla="*/ 7571 h 26"/>
                <a:gd name="T4" fmla="*/ 79749 w 51"/>
                <a:gd name="T5" fmla="*/ 18928 h 26"/>
                <a:gd name="T6" fmla="*/ 89243 w 51"/>
                <a:gd name="T7" fmla="*/ 24606 h 26"/>
                <a:gd name="T8" fmla="*/ 96838 w 51"/>
                <a:gd name="T9" fmla="*/ 37855 h 26"/>
                <a:gd name="T10" fmla="*/ 94939 w 51"/>
                <a:gd name="T11" fmla="*/ 43534 h 26"/>
                <a:gd name="T12" fmla="*/ 77850 w 51"/>
                <a:gd name="T13" fmla="*/ 37855 h 26"/>
                <a:gd name="T14" fmla="*/ 53166 w 51"/>
                <a:gd name="T15" fmla="*/ 39748 h 26"/>
                <a:gd name="T16" fmla="*/ 30381 w 51"/>
                <a:gd name="T17" fmla="*/ 47319 h 26"/>
                <a:gd name="T18" fmla="*/ 18988 w 51"/>
                <a:gd name="T19" fmla="*/ 47319 h 26"/>
                <a:gd name="T20" fmla="*/ 11393 w 51"/>
                <a:gd name="T21" fmla="*/ 37855 h 26"/>
                <a:gd name="T22" fmla="*/ 13291 w 51"/>
                <a:gd name="T23" fmla="*/ 26499 h 26"/>
                <a:gd name="T24" fmla="*/ 11393 w 51"/>
                <a:gd name="T25" fmla="*/ 24606 h 26"/>
                <a:gd name="T26" fmla="*/ 0 w 51"/>
                <a:gd name="T27" fmla="*/ 22713 h 26"/>
                <a:gd name="T28" fmla="*/ 7595 w 51"/>
                <a:gd name="T29" fmla="*/ 1893 h 26"/>
                <a:gd name="T30" fmla="*/ 15190 w 51"/>
                <a:gd name="T31" fmla="*/ 1893 h 26"/>
                <a:gd name="T32" fmla="*/ 39874 w 51"/>
                <a:gd name="T33" fmla="*/ 9464 h 2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1"/>
                <a:gd name="T52" fmla="*/ 0 h 26"/>
                <a:gd name="T53" fmla="*/ 51 w 51"/>
                <a:gd name="T54" fmla="*/ 26 h 2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1" h="26">
                  <a:moveTo>
                    <a:pt x="21" y="5"/>
                  </a:moveTo>
                  <a:cubicBezTo>
                    <a:pt x="25" y="6"/>
                    <a:pt x="29" y="3"/>
                    <a:pt x="33" y="4"/>
                  </a:cubicBezTo>
                  <a:cubicBezTo>
                    <a:pt x="37" y="4"/>
                    <a:pt x="39" y="8"/>
                    <a:pt x="42" y="10"/>
                  </a:cubicBezTo>
                  <a:cubicBezTo>
                    <a:pt x="43" y="11"/>
                    <a:pt x="46" y="12"/>
                    <a:pt x="47" y="13"/>
                  </a:cubicBezTo>
                  <a:cubicBezTo>
                    <a:pt x="49" y="15"/>
                    <a:pt x="50" y="18"/>
                    <a:pt x="51" y="20"/>
                  </a:cubicBezTo>
                  <a:cubicBezTo>
                    <a:pt x="51" y="21"/>
                    <a:pt x="51" y="23"/>
                    <a:pt x="50" y="23"/>
                  </a:cubicBezTo>
                  <a:cubicBezTo>
                    <a:pt x="47" y="23"/>
                    <a:pt x="44" y="21"/>
                    <a:pt x="41" y="20"/>
                  </a:cubicBezTo>
                  <a:cubicBezTo>
                    <a:pt x="36" y="20"/>
                    <a:pt x="32" y="20"/>
                    <a:pt x="28" y="21"/>
                  </a:cubicBezTo>
                  <a:cubicBezTo>
                    <a:pt x="24" y="21"/>
                    <a:pt x="20" y="24"/>
                    <a:pt x="16" y="25"/>
                  </a:cubicBezTo>
                  <a:cubicBezTo>
                    <a:pt x="14" y="25"/>
                    <a:pt x="12" y="26"/>
                    <a:pt x="10" y="25"/>
                  </a:cubicBezTo>
                  <a:cubicBezTo>
                    <a:pt x="8" y="24"/>
                    <a:pt x="7" y="22"/>
                    <a:pt x="6" y="20"/>
                  </a:cubicBezTo>
                  <a:cubicBezTo>
                    <a:pt x="6" y="18"/>
                    <a:pt x="7" y="16"/>
                    <a:pt x="7" y="14"/>
                  </a:cubicBezTo>
                  <a:cubicBezTo>
                    <a:pt x="7" y="14"/>
                    <a:pt x="6" y="13"/>
                    <a:pt x="6" y="13"/>
                  </a:cubicBezTo>
                  <a:cubicBezTo>
                    <a:pt x="4" y="12"/>
                    <a:pt x="1" y="14"/>
                    <a:pt x="0" y="12"/>
                  </a:cubicBezTo>
                  <a:cubicBezTo>
                    <a:pt x="0" y="8"/>
                    <a:pt x="2" y="5"/>
                    <a:pt x="4" y="1"/>
                  </a:cubicBezTo>
                  <a:cubicBezTo>
                    <a:pt x="5" y="0"/>
                    <a:pt x="7" y="1"/>
                    <a:pt x="8" y="1"/>
                  </a:cubicBezTo>
                  <a:cubicBezTo>
                    <a:pt x="13" y="2"/>
                    <a:pt x="17" y="5"/>
                    <a:pt x="21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7" name="Freeform 1068"/>
            <p:cNvSpPr>
              <a:spLocks noChangeAspect="1"/>
            </p:cNvSpPr>
            <p:nvPr/>
          </p:nvSpPr>
          <p:spPr bwMode="auto">
            <a:xfrm>
              <a:off x="2549525" y="1808163"/>
              <a:ext cx="123825" cy="96837"/>
            </a:xfrm>
            <a:custGeom>
              <a:avLst/>
              <a:gdLst>
                <a:gd name="T0" fmla="*/ 118110 w 65"/>
                <a:gd name="T1" fmla="*/ 9684 h 50"/>
                <a:gd name="T2" fmla="*/ 123825 w 65"/>
                <a:gd name="T3" fmla="*/ 11620 h 50"/>
                <a:gd name="T4" fmla="*/ 108585 w 65"/>
                <a:gd name="T5" fmla="*/ 25178 h 50"/>
                <a:gd name="T6" fmla="*/ 91440 w 65"/>
                <a:gd name="T7" fmla="*/ 42608 h 50"/>
                <a:gd name="T8" fmla="*/ 72390 w 65"/>
                <a:gd name="T9" fmla="*/ 61976 h 50"/>
                <a:gd name="T10" fmla="*/ 43815 w 65"/>
                <a:gd name="T11" fmla="*/ 56165 h 50"/>
                <a:gd name="T12" fmla="*/ 32385 w 65"/>
                <a:gd name="T13" fmla="*/ 58102 h 50"/>
                <a:gd name="T14" fmla="*/ 32385 w 65"/>
                <a:gd name="T15" fmla="*/ 61976 h 50"/>
                <a:gd name="T16" fmla="*/ 41910 w 65"/>
                <a:gd name="T17" fmla="*/ 65849 h 50"/>
                <a:gd name="T18" fmla="*/ 43815 w 65"/>
                <a:gd name="T19" fmla="*/ 73596 h 50"/>
                <a:gd name="T20" fmla="*/ 22860 w 65"/>
                <a:gd name="T21" fmla="*/ 94900 h 50"/>
                <a:gd name="T22" fmla="*/ 17145 w 65"/>
                <a:gd name="T23" fmla="*/ 92964 h 50"/>
                <a:gd name="T24" fmla="*/ 1905 w 65"/>
                <a:gd name="T25" fmla="*/ 92964 h 50"/>
                <a:gd name="T26" fmla="*/ 5715 w 65"/>
                <a:gd name="T27" fmla="*/ 85217 h 50"/>
                <a:gd name="T28" fmla="*/ 5715 w 65"/>
                <a:gd name="T29" fmla="*/ 69723 h 50"/>
                <a:gd name="T30" fmla="*/ 0 w 65"/>
                <a:gd name="T31" fmla="*/ 61976 h 50"/>
                <a:gd name="T32" fmla="*/ 5715 w 65"/>
                <a:gd name="T33" fmla="*/ 36798 h 50"/>
                <a:gd name="T34" fmla="*/ 5715 w 65"/>
                <a:gd name="T35" fmla="*/ 30988 h 50"/>
                <a:gd name="T36" fmla="*/ 9525 w 65"/>
                <a:gd name="T37" fmla="*/ 19367 h 50"/>
                <a:gd name="T38" fmla="*/ 24765 w 65"/>
                <a:gd name="T39" fmla="*/ 23241 h 50"/>
                <a:gd name="T40" fmla="*/ 28575 w 65"/>
                <a:gd name="T41" fmla="*/ 21304 h 50"/>
                <a:gd name="T42" fmla="*/ 17145 w 65"/>
                <a:gd name="T43" fmla="*/ 9684 h 50"/>
                <a:gd name="T44" fmla="*/ 26670 w 65"/>
                <a:gd name="T45" fmla="*/ 5810 h 50"/>
                <a:gd name="T46" fmla="*/ 49530 w 65"/>
                <a:gd name="T47" fmla="*/ 1937 h 50"/>
                <a:gd name="T48" fmla="*/ 53340 w 65"/>
                <a:gd name="T49" fmla="*/ 5810 h 50"/>
                <a:gd name="T50" fmla="*/ 60960 w 65"/>
                <a:gd name="T51" fmla="*/ 1937 h 50"/>
                <a:gd name="T52" fmla="*/ 81915 w 65"/>
                <a:gd name="T53" fmla="*/ 3873 h 50"/>
                <a:gd name="T54" fmla="*/ 83820 w 65"/>
                <a:gd name="T55" fmla="*/ 9684 h 50"/>
                <a:gd name="T56" fmla="*/ 93345 w 65"/>
                <a:gd name="T57" fmla="*/ 3873 h 50"/>
                <a:gd name="T58" fmla="*/ 118110 w 65"/>
                <a:gd name="T59" fmla="*/ 9684 h 5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5"/>
                <a:gd name="T91" fmla="*/ 0 h 50"/>
                <a:gd name="T92" fmla="*/ 65 w 65"/>
                <a:gd name="T93" fmla="*/ 50 h 5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5" h="50">
                  <a:moveTo>
                    <a:pt x="62" y="5"/>
                  </a:moveTo>
                  <a:cubicBezTo>
                    <a:pt x="63" y="5"/>
                    <a:pt x="65" y="5"/>
                    <a:pt x="65" y="6"/>
                  </a:cubicBezTo>
                  <a:cubicBezTo>
                    <a:pt x="63" y="9"/>
                    <a:pt x="60" y="11"/>
                    <a:pt x="57" y="13"/>
                  </a:cubicBezTo>
                  <a:cubicBezTo>
                    <a:pt x="54" y="16"/>
                    <a:pt x="51" y="19"/>
                    <a:pt x="48" y="22"/>
                  </a:cubicBezTo>
                  <a:cubicBezTo>
                    <a:pt x="45" y="26"/>
                    <a:pt x="42" y="31"/>
                    <a:pt x="38" y="32"/>
                  </a:cubicBezTo>
                  <a:cubicBezTo>
                    <a:pt x="33" y="33"/>
                    <a:pt x="28" y="30"/>
                    <a:pt x="23" y="29"/>
                  </a:cubicBezTo>
                  <a:cubicBezTo>
                    <a:pt x="21" y="29"/>
                    <a:pt x="19" y="29"/>
                    <a:pt x="17" y="30"/>
                  </a:cubicBezTo>
                  <a:cubicBezTo>
                    <a:pt x="16" y="30"/>
                    <a:pt x="17" y="31"/>
                    <a:pt x="17" y="32"/>
                  </a:cubicBezTo>
                  <a:cubicBezTo>
                    <a:pt x="18" y="33"/>
                    <a:pt x="21" y="33"/>
                    <a:pt x="22" y="34"/>
                  </a:cubicBezTo>
                  <a:cubicBezTo>
                    <a:pt x="23" y="35"/>
                    <a:pt x="24" y="36"/>
                    <a:pt x="23" y="38"/>
                  </a:cubicBezTo>
                  <a:cubicBezTo>
                    <a:pt x="21" y="42"/>
                    <a:pt x="16" y="46"/>
                    <a:pt x="12" y="49"/>
                  </a:cubicBezTo>
                  <a:cubicBezTo>
                    <a:pt x="11" y="50"/>
                    <a:pt x="10" y="49"/>
                    <a:pt x="9" y="48"/>
                  </a:cubicBezTo>
                  <a:cubicBezTo>
                    <a:pt x="7" y="48"/>
                    <a:pt x="4" y="49"/>
                    <a:pt x="1" y="48"/>
                  </a:cubicBezTo>
                  <a:cubicBezTo>
                    <a:pt x="0" y="47"/>
                    <a:pt x="2" y="46"/>
                    <a:pt x="3" y="44"/>
                  </a:cubicBezTo>
                  <a:cubicBezTo>
                    <a:pt x="3" y="42"/>
                    <a:pt x="4" y="39"/>
                    <a:pt x="3" y="36"/>
                  </a:cubicBezTo>
                  <a:cubicBezTo>
                    <a:pt x="3" y="34"/>
                    <a:pt x="0" y="34"/>
                    <a:pt x="0" y="32"/>
                  </a:cubicBezTo>
                  <a:cubicBezTo>
                    <a:pt x="0" y="28"/>
                    <a:pt x="2" y="23"/>
                    <a:pt x="3" y="19"/>
                  </a:cubicBezTo>
                  <a:cubicBezTo>
                    <a:pt x="3" y="18"/>
                    <a:pt x="3" y="17"/>
                    <a:pt x="3" y="16"/>
                  </a:cubicBezTo>
                  <a:cubicBezTo>
                    <a:pt x="4" y="14"/>
                    <a:pt x="3" y="11"/>
                    <a:pt x="5" y="10"/>
                  </a:cubicBezTo>
                  <a:cubicBezTo>
                    <a:pt x="8" y="9"/>
                    <a:pt x="10" y="12"/>
                    <a:pt x="13" y="12"/>
                  </a:cubicBezTo>
                  <a:cubicBezTo>
                    <a:pt x="14" y="12"/>
                    <a:pt x="15" y="11"/>
                    <a:pt x="15" y="11"/>
                  </a:cubicBezTo>
                  <a:cubicBezTo>
                    <a:pt x="13" y="8"/>
                    <a:pt x="9" y="8"/>
                    <a:pt x="9" y="5"/>
                  </a:cubicBezTo>
                  <a:cubicBezTo>
                    <a:pt x="9" y="3"/>
                    <a:pt x="12" y="4"/>
                    <a:pt x="14" y="3"/>
                  </a:cubicBezTo>
                  <a:cubicBezTo>
                    <a:pt x="18" y="2"/>
                    <a:pt x="22" y="1"/>
                    <a:pt x="26" y="1"/>
                  </a:cubicBezTo>
                  <a:cubicBezTo>
                    <a:pt x="27" y="1"/>
                    <a:pt x="27" y="3"/>
                    <a:pt x="28" y="3"/>
                  </a:cubicBezTo>
                  <a:cubicBezTo>
                    <a:pt x="29" y="3"/>
                    <a:pt x="30" y="1"/>
                    <a:pt x="32" y="1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4" y="2"/>
                    <a:pt x="43" y="5"/>
                    <a:pt x="44" y="5"/>
                  </a:cubicBezTo>
                  <a:cubicBezTo>
                    <a:pt x="46" y="5"/>
                    <a:pt x="47" y="2"/>
                    <a:pt x="49" y="2"/>
                  </a:cubicBezTo>
                  <a:cubicBezTo>
                    <a:pt x="54" y="1"/>
                    <a:pt x="58" y="3"/>
                    <a:pt x="62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8" name="Freeform 1069"/>
            <p:cNvSpPr>
              <a:spLocks noChangeAspect="1"/>
            </p:cNvSpPr>
            <p:nvPr/>
          </p:nvSpPr>
          <p:spPr bwMode="auto">
            <a:xfrm>
              <a:off x="2411413" y="1820863"/>
              <a:ext cx="120650" cy="109537"/>
            </a:xfrm>
            <a:custGeom>
              <a:avLst/>
              <a:gdLst>
                <a:gd name="T0" fmla="*/ 82947 w 64"/>
                <a:gd name="T1" fmla="*/ 41549 h 58"/>
                <a:gd name="T2" fmla="*/ 88602 w 64"/>
                <a:gd name="T3" fmla="*/ 32106 h 58"/>
                <a:gd name="T4" fmla="*/ 109339 w 64"/>
                <a:gd name="T5" fmla="*/ 22663 h 58"/>
                <a:gd name="T6" fmla="*/ 105569 w 64"/>
                <a:gd name="T7" fmla="*/ 15109 h 58"/>
                <a:gd name="T8" fmla="*/ 116880 w 64"/>
                <a:gd name="T9" fmla="*/ 5666 h 58"/>
                <a:gd name="T10" fmla="*/ 111224 w 64"/>
                <a:gd name="T11" fmla="*/ 0 h 58"/>
                <a:gd name="T12" fmla="*/ 88602 w 64"/>
                <a:gd name="T13" fmla="*/ 5666 h 58"/>
                <a:gd name="T14" fmla="*/ 73521 w 64"/>
                <a:gd name="T15" fmla="*/ 9443 h 58"/>
                <a:gd name="T16" fmla="*/ 62210 w 64"/>
                <a:gd name="T17" fmla="*/ 5666 h 58"/>
                <a:gd name="T18" fmla="*/ 54670 w 64"/>
                <a:gd name="T19" fmla="*/ 7554 h 58"/>
                <a:gd name="T20" fmla="*/ 49014 w 64"/>
                <a:gd name="T21" fmla="*/ 3777 h 58"/>
                <a:gd name="T22" fmla="*/ 37703 w 64"/>
                <a:gd name="T23" fmla="*/ 9443 h 58"/>
                <a:gd name="T24" fmla="*/ 47129 w 64"/>
                <a:gd name="T25" fmla="*/ 15109 h 58"/>
                <a:gd name="T26" fmla="*/ 45244 w 64"/>
                <a:gd name="T27" fmla="*/ 18886 h 58"/>
                <a:gd name="T28" fmla="*/ 30163 w 64"/>
                <a:gd name="T29" fmla="*/ 13220 h 58"/>
                <a:gd name="T30" fmla="*/ 28277 w 64"/>
                <a:gd name="T31" fmla="*/ 18886 h 58"/>
                <a:gd name="T32" fmla="*/ 41473 w 64"/>
                <a:gd name="T33" fmla="*/ 26440 h 58"/>
                <a:gd name="T34" fmla="*/ 52784 w 64"/>
                <a:gd name="T35" fmla="*/ 26440 h 58"/>
                <a:gd name="T36" fmla="*/ 45244 w 64"/>
                <a:gd name="T37" fmla="*/ 35883 h 58"/>
                <a:gd name="T38" fmla="*/ 50899 w 64"/>
                <a:gd name="T39" fmla="*/ 43437 h 58"/>
                <a:gd name="T40" fmla="*/ 37703 w 64"/>
                <a:gd name="T41" fmla="*/ 54769 h 58"/>
                <a:gd name="T42" fmla="*/ 24507 w 64"/>
                <a:gd name="T43" fmla="*/ 52880 h 58"/>
                <a:gd name="T44" fmla="*/ 15081 w 64"/>
                <a:gd name="T45" fmla="*/ 41549 h 58"/>
                <a:gd name="T46" fmla="*/ 7541 w 64"/>
                <a:gd name="T47" fmla="*/ 41549 h 58"/>
                <a:gd name="T48" fmla="*/ 0 w 64"/>
                <a:gd name="T49" fmla="*/ 52880 h 58"/>
                <a:gd name="T50" fmla="*/ 3770 w 64"/>
                <a:gd name="T51" fmla="*/ 66100 h 58"/>
                <a:gd name="T52" fmla="*/ 15081 w 64"/>
                <a:gd name="T53" fmla="*/ 71766 h 58"/>
                <a:gd name="T54" fmla="*/ 24507 w 64"/>
                <a:gd name="T55" fmla="*/ 73654 h 58"/>
                <a:gd name="T56" fmla="*/ 37703 w 64"/>
                <a:gd name="T57" fmla="*/ 83097 h 58"/>
                <a:gd name="T58" fmla="*/ 41473 w 64"/>
                <a:gd name="T59" fmla="*/ 92540 h 58"/>
                <a:gd name="T60" fmla="*/ 50899 w 64"/>
                <a:gd name="T61" fmla="*/ 96317 h 58"/>
                <a:gd name="T62" fmla="*/ 52784 w 64"/>
                <a:gd name="T63" fmla="*/ 107648 h 58"/>
                <a:gd name="T64" fmla="*/ 62210 w 64"/>
                <a:gd name="T65" fmla="*/ 107648 h 58"/>
                <a:gd name="T66" fmla="*/ 67866 w 64"/>
                <a:gd name="T67" fmla="*/ 109537 h 58"/>
                <a:gd name="T68" fmla="*/ 77291 w 64"/>
                <a:gd name="T69" fmla="*/ 101983 h 58"/>
                <a:gd name="T70" fmla="*/ 75406 w 64"/>
                <a:gd name="T71" fmla="*/ 92540 h 58"/>
                <a:gd name="T72" fmla="*/ 82947 w 64"/>
                <a:gd name="T73" fmla="*/ 96317 h 58"/>
                <a:gd name="T74" fmla="*/ 98028 w 64"/>
                <a:gd name="T75" fmla="*/ 96317 h 58"/>
                <a:gd name="T76" fmla="*/ 109339 w 64"/>
                <a:gd name="T77" fmla="*/ 88763 h 58"/>
                <a:gd name="T78" fmla="*/ 107454 w 64"/>
                <a:gd name="T79" fmla="*/ 73654 h 58"/>
                <a:gd name="T80" fmla="*/ 118765 w 64"/>
                <a:gd name="T81" fmla="*/ 64211 h 58"/>
                <a:gd name="T82" fmla="*/ 116880 w 64"/>
                <a:gd name="T83" fmla="*/ 56657 h 58"/>
                <a:gd name="T84" fmla="*/ 103684 w 64"/>
                <a:gd name="T85" fmla="*/ 56657 h 58"/>
                <a:gd name="T86" fmla="*/ 107454 w 64"/>
                <a:gd name="T87" fmla="*/ 49103 h 58"/>
                <a:gd name="T88" fmla="*/ 103684 w 64"/>
                <a:gd name="T89" fmla="*/ 39660 h 58"/>
                <a:gd name="T90" fmla="*/ 94258 w 64"/>
                <a:gd name="T91" fmla="*/ 35883 h 58"/>
                <a:gd name="T92" fmla="*/ 82947 w 64"/>
                <a:gd name="T93" fmla="*/ 41549 h 5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4"/>
                <a:gd name="T142" fmla="*/ 0 h 58"/>
                <a:gd name="T143" fmla="*/ 64 w 64"/>
                <a:gd name="T144" fmla="*/ 58 h 5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4" h="58">
                  <a:moveTo>
                    <a:pt x="44" y="22"/>
                  </a:moveTo>
                  <a:cubicBezTo>
                    <a:pt x="42" y="21"/>
                    <a:pt x="45" y="18"/>
                    <a:pt x="47" y="17"/>
                  </a:cubicBezTo>
                  <a:cubicBezTo>
                    <a:pt x="50" y="14"/>
                    <a:pt x="55" y="15"/>
                    <a:pt x="58" y="12"/>
                  </a:cubicBezTo>
                  <a:cubicBezTo>
                    <a:pt x="59" y="11"/>
                    <a:pt x="56" y="9"/>
                    <a:pt x="56" y="8"/>
                  </a:cubicBezTo>
                  <a:cubicBezTo>
                    <a:pt x="58" y="6"/>
                    <a:pt x="62" y="5"/>
                    <a:pt x="62" y="3"/>
                  </a:cubicBezTo>
                  <a:cubicBezTo>
                    <a:pt x="63" y="1"/>
                    <a:pt x="60" y="0"/>
                    <a:pt x="59" y="0"/>
                  </a:cubicBezTo>
                  <a:cubicBezTo>
                    <a:pt x="55" y="1"/>
                    <a:pt x="51" y="3"/>
                    <a:pt x="47" y="3"/>
                  </a:cubicBezTo>
                  <a:cubicBezTo>
                    <a:pt x="44" y="4"/>
                    <a:pt x="42" y="6"/>
                    <a:pt x="39" y="5"/>
                  </a:cubicBezTo>
                  <a:cubicBezTo>
                    <a:pt x="37" y="5"/>
                    <a:pt x="35" y="3"/>
                    <a:pt x="33" y="3"/>
                  </a:cubicBezTo>
                  <a:cubicBezTo>
                    <a:pt x="32" y="2"/>
                    <a:pt x="31" y="4"/>
                    <a:pt x="29" y="4"/>
                  </a:cubicBezTo>
                  <a:cubicBezTo>
                    <a:pt x="28" y="4"/>
                    <a:pt x="27" y="2"/>
                    <a:pt x="26" y="2"/>
                  </a:cubicBezTo>
                  <a:cubicBezTo>
                    <a:pt x="24" y="3"/>
                    <a:pt x="20" y="3"/>
                    <a:pt x="20" y="5"/>
                  </a:cubicBezTo>
                  <a:cubicBezTo>
                    <a:pt x="20" y="7"/>
                    <a:pt x="24" y="6"/>
                    <a:pt x="25" y="8"/>
                  </a:cubicBezTo>
                  <a:cubicBezTo>
                    <a:pt x="26" y="8"/>
                    <a:pt x="25" y="10"/>
                    <a:pt x="24" y="10"/>
                  </a:cubicBezTo>
                  <a:cubicBezTo>
                    <a:pt x="21" y="10"/>
                    <a:pt x="20" y="7"/>
                    <a:pt x="16" y="7"/>
                  </a:cubicBezTo>
                  <a:cubicBezTo>
                    <a:pt x="15" y="7"/>
                    <a:pt x="14" y="9"/>
                    <a:pt x="15" y="10"/>
                  </a:cubicBezTo>
                  <a:cubicBezTo>
                    <a:pt x="17" y="12"/>
                    <a:pt x="19" y="13"/>
                    <a:pt x="22" y="14"/>
                  </a:cubicBezTo>
                  <a:cubicBezTo>
                    <a:pt x="24" y="15"/>
                    <a:pt x="27" y="12"/>
                    <a:pt x="28" y="14"/>
                  </a:cubicBezTo>
                  <a:cubicBezTo>
                    <a:pt x="28" y="16"/>
                    <a:pt x="24" y="17"/>
                    <a:pt x="24" y="19"/>
                  </a:cubicBezTo>
                  <a:cubicBezTo>
                    <a:pt x="23" y="21"/>
                    <a:pt x="28" y="22"/>
                    <a:pt x="27" y="23"/>
                  </a:cubicBezTo>
                  <a:cubicBezTo>
                    <a:pt x="26" y="26"/>
                    <a:pt x="23" y="28"/>
                    <a:pt x="20" y="29"/>
                  </a:cubicBezTo>
                  <a:cubicBezTo>
                    <a:pt x="18" y="30"/>
                    <a:pt x="15" y="30"/>
                    <a:pt x="13" y="28"/>
                  </a:cubicBezTo>
                  <a:cubicBezTo>
                    <a:pt x="11" y="27"/>
                    <a:pt x="10" y="23"/>
                    <a:pt x="8" y="22"/>
                  </a:cubicBezTo>
                  <a:cubicBezTo>
                    <a:pt x="7" y="21"/>
                    <a:pt x="5" y="21"/>
                    <a:pt x="4" y="22"/>
                  </a:cubicBezTo>
                  <a:cubicBezTo>
                    <a:pt x="2" y="23"/>
                    <a:pt x="0" y="26"/>
                    <a:pt x="0" y="28"/>
                  </a:cubicBezTo>
                  <a:cubicBezTo>
                    <a:pt x="0" y="31"/>
                    <a:pt x="1" y="33"/>
                    <a:pt x="2" y="35"/>
                  </a:cubicBezTo>
                  <a:cubicBezTo>
                    <a:pt x="4" y="36"/>
                    <a:pt x="6" y="38"/>
                    <a:pt x="8" y="38"/>
                  </a:cubicBezTo>
                  <a:cubicBezTo>
                    <a:pt x="9" y="39"/>
                    <a:pt x="12" y="38"/>
                    <a:pt x="13" y="39"/>
                  </a:cubicBezTo>
                  <a:cubicBezTo>
                    <a:pt x="16" y="40"/>
                    <a:pt x="18" y="42"/>
                    <a:pt x="20" y="44"/>
                  </a:cubicBezTo>
                  <a:cubicBezTo>
                    <a:pt x="21" y="45"/>
                    <a:pt x="21" y="48"/>
                    <a:pt x="22" y="49"/>
                  </a:cubicBezTo>
                  <a:cubicBezTo>
                    <a:pt x="24" y="51"/>
                    <a:pt x="26" y="50"/>
                    <a:pt x="27" y="51"/>
                  </a:cubicBezTo>
                  <a:cubicBezTo>
                    <a:pt x="28" y="53"/>
                    <a:pt x="27" y="56"/>
                    <a:pt x="28" y="57"/>
                  </a:cubicBezTo>
                  <a:cubicBezTo>
                    <a:pt x="29" y="58"/>
                    <a:pt x="31" y="57"/>
                    <a:pt x="33" y="57"/>
                  </a:cubicBezTo>
                  <a:cubicBezTo>
                    <a:pt x="34" y="57"/>
                    <a:pt x="35" y="58"/>
                    <a:pt x="36" y="58"/>
                  </a:cubicBezTo>
                  <a:cubicBezTo>
                    <a:pt x="38" y="57"/>
                    <a:pt x="40" y="56"/>
                    <a:pt x="41" y="54"/>
                  </a:cubicBezTo>
                  <a:cubicBezTo>
                    <a:pt x="42" y="52"/>
                    <a:pt x="39" y="50"/>
                    <a:pt x="40" y="49"/>
                  </a:cubicBezTo>
                  <a:cubicBezTo>
                    <a:pt x="41" y="47"/>
                    <a:pt x="42" y="51"/>
                    <a:pt x="44" y="51"/>
                  </a:cubicBezTo>
                  <a:cubicBezTo>
                    <a:pt x="46" y="52"/>
                    <a:pt x="49" y="52"/>
                    <a:pt x="52" y="51"/>
                  </a:cubicBezTo>
                  <a:cubicBezTo>
                    <a:pt x="54" y="51"/>
                    <a:pt x="57" y="50"/>
                    <a:pt x="58" y="47"/>
                  </a:cubicBezTo>
                  <a:cubicBezTo>
                    <a:pt x="59" y="45"/>
                    <a:pt x="56" y="42"/>
                    <a:pt x="57" y="39"/>
                  </a:cubicBezTo>
                  <a:cubicBezTo>
                    <a:pt x="58" y="37"/>
                    <a:pt x="62" y="36"/>
                    <a:pt x="63" y="34"/>
                  </a:cubicBezTo>
                  <a:cubicBezTo>
                    <a:pt x="64" y="33"/>
                    <a:pt x="64" y="30"/>
                    <a:pt x="62" y="30"/>
                  </a:cubicBezTo>
                  <a:cubicBezTo>
                    <a:pt x="60" y="28"/>
                    <a:pt x="57" y="31"/>
                    <a:pt x="55" y="30"/>
                  </a:cubicBezTo>
                  <a:cubicBezTo>
                    <a:pt x="54" y="29"/>
                    <a:pt x="57" y="27"/>
                    <a:pt x="57" y="26"/>
                  </a:cubicBezTo>
                  <a:cubicBezTo>
                    <a:pt x="57" y="24"/>
                    <a:pt x="56" y="22"/>
                    <a:pt x="55" y="21"/>
                  </a:cubicBezTo>
                  <a:cubicBezTo>
                    <a:pt x="54" y="20"/>
                    <a:pt x="51" y="19"/>
                    <a:pt x="50" y="19"/>
                  </a:cubicBezTo>
                  <a:cubicBezTo>
                    <a:pt x="47" y="19"/>
                    <a:pt x="46" y="24"/>
                    <a:pt x="44" y="2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69" name="Freeform 1070"/>
            <p:cNvSpPr>
              <a:spLocks noChangeAspect="1"/>
            </p:cNvSpPr>
            <p:nvPr/>
          </p:nvSpPr>
          <p:spPr bwMode="auto">
            <a:xfrm>
              <a:off x="2481263" y="1808163"/>
              <a:ext cx="39687" cy="17462"/>
            </a:xfrm>
            <a:custGeom>
              <a:avLst/>
              <a:gdLst>
                <a:gd name="T0" fmla="*/ 5670 w 21"/>
                <a:gd name="T1" fmla="*/ 13582 h 9"/>
                <a:gd name="T2" fmla="*/ 1890 w 21"/>
                <a:gd name="T3" fmla="*/ 15522 h 9"/>
                <a:gd name="T4" fmla="*/ 11339 w 21"/>
                <a:gd name="T5" fmla="*/ 17462 h 9"/>
                <a:gd name="T6" fmla="*/ 24568 w 21"/>
                <a:gd name="T7" fmla="*/ 13582 h 9"/>
                <a:gd name="T8" fmla="*/ 34017 w 21"/>
                <a:gd name="T9" fmla="*/ 9701 h 9"/>
                <a:gd name="T10" fmla="*/ 35907 w 21"/>
                <a:gd name="T11" fmla="*/ 3880 h 9"/>
                <a:gd name="T12" fmla="*/ 26458 w 21"/>
                <a:gd name="T13" fmla="*/ 5821 h 9"/>
                <a:gd name="T14" fmla="*/ 13229 w 21"/>
                <a:gd name="T15" fmla="*/ 9701 h 9"/>
                <a:gd name="T16" fmla="*/ 5670 w 21"/>
                <a:gd name="T17" fmla="*/ 13582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9"/>
                <a:gd name="T29" fmla="*/ 21 w 2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9">
                  <a:moveTo>
                    <a:pt x="3" y="7"/>
                  </a:moveTo>
                  <a:cubicBezTo>
                    <a:pt x="2" y="7"/>
                    <a:pt x="0" y="8"/>
                    <a:pt x="1" y="8"/>
                  </a:cubicBezTo>
                  <a:cubicBezTo>
                    <a:pt x="3" y="9"/>
                    <a:pt x="4" y="9"/>
                    <a:pt x="6" y="9"/>
                  </a:cubicBezTo>
                  <a:cubicBezTo>
                    <a:pt x="8" y="8"/>
                    <a:pt x="11" y="8"/>
                    <a:pt x="13" y="7"/>
                  </a:cubicBezTo>
                  <a:cubicBezTo>
                    <a:pt x="15" y="7"/>
                    <a:pt x="16" y="6"/>
                    <a:pt x="18" y="5"/>
                  </a:cubicBezTo>
                  <a:cubicBezTo>
                    <a:pt x="19" y="4"/>
                    <a:pt x="21" y="2"/>
                    <a:pt x="19" y="2"/>
                  </a:cubicBezTo>
                  <a:cubicBezTo>
                    <a:pt x="18" y="0"/>
                    <a:pt x="16" y="2"/>
                    <a:pt x="14" y="3"/>
                  </a:cubicBezTo>
                  <a:cubicBezTo>
                    <a:pt x="11" y="4"/>
                    <a:pt x="9" y="4"/>
                    <a:pt x="7" y="5"/>
                  </a:cubicBezTo>
                  <a:cubicBezTo>
                    <a:pt x="6" y="6"/>
                    <a:pt x="4" y="6"/>
                    <a:pt x="3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0" name="Freeform 1071"/>
            <p:cNvSpPr>
              <a:spLocks noChangeAspect="1"/>
            </p:cNvSpPr>
            <p:nvPr/>
          </p:nvSpPr>
          <p:spPr bwMode="auto">
            <a:xfrm>
              <a:off x="2520950" y="1847850"/>
              <a:ext cx="14288" cy="15875"/>
            </a:xfrm>
            <a:custGeom>
              <a:avLst/>
              <a:gdLst>
                <a:gd name="T0" fmla="*/ 10206 w 7"/>
                <a:gd name="T1" fmla="*/ 1764 h 9"/>
                <a:gd name="T2" fmla="*/ 14288 w 7"/>
                <a:gd name="T3" fmla="*/ 7056 h 9"/>
                <a:gd name="T4" fmla="*/ 10206 w 7"/>
                <a:gd name="T5" fmla="*/ 14111 h 9"/>
                <a:gd name="T6" fmla="*/ 2041 w 7"/>
                <a:gd name="T7" fmla="*/ 14111 h 9"/>
                <a:gd name="T8" fmla="*/ 2041 w 7"/>
                <a:gd name="T9" fmla="*/ 5292 h 9"/>
                <a:gd name="T10" fmla="*/ 10206 w 7"/>
                <a:gd name="T11" fmla="*/ 1764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9"/>
                <a:gd name="T20" fmla="*/ 7 w 7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9">
                  <a:moveTo>
                    <a:pt x="5" y="1"/>
                  </a:moveTo>
                  <a:cubicBezTo>
                    <a:pt x="6" y="1"/>
                    <a:pt x="7" y="3"/>
                    <a:pt x="7" y="4"/>
                  </a:cubicBezTo>
                  <a:cubicBezTo>
                    <a:pt x="7" y="6"/>
                    <a:pt x="6" y="7"/>
                    <a:pt x="5" y="8"/>
                  </a:cubicBezTo>
                  <a:cubicBezTo>
                    <a:pt x="4" y="8"/>
                    <a:pt x="2" y="9"/>
                    <a:pt x="1" y="8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2" y="1"/>
                    <a:pt x="3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1" name="Freeform 1072"/>
            <p:cNvSpPr>
              <a:spLocks noChangeAspect="1"/>
            </p:cNvSpPr>
            <p:nvPr/>
          </p:nvSpPr>
          <p:spPr bwMode="auto">
            <a:xfrm>
              <a:off x="2551113" y="1746250"/>
              <a:ext cx="71437" cy="47625"/>
            </a:xfrm>
            <a:custGeom>
              <a:avLst/>
              <a:gdLst>
                <a:gd name="T0" fmla="*/ 69506 w 37"/>
                <a:gd name="T1" fmla="*/ 24765 h 25"/>
                <a:gd name="T2" fmla="*/ 65645 w 37"/>
                <a:gd name="T3" fmla="*/ 43815 h 25"/>
                <a:gd name="T4" fmla="*/ 59853 w 37"/>
                <a:gd name="T5" fmla="*/ 47625 h 25"/>
                <a:gd name="T6" fmla="*/ 40545 w 37"/>
                <a:gd name="T7" fmla="*/ 45720 h 25"/>
                <a:gd name="T8" fmla="*/ 30892 w 37"/>
                <a:gd name="T9" fmla="*/ 45720 h 25"/>
                <a:gd name="T10" fmla="*/ 27030 w 37"/>
                <a:gd name="T11" fmla="*/ 40005 h 25"/>
                <a:gd name="T12" fmla="*/ 21238 w 37"/>
                <a:gd name="T13" fmla="*/ 41910 h 25"/>
                <a:gd name="T14" fmla="*/ 13515 w 37"/>
                <a:gd name="T15" fmla="*/ 38100 h 25"/>
                <a:gd name="T16" fmla="*/ 13515 w 37"/>
                <a:gd name="T17" fmla="*/ 32385 h 25"/>
                <a:gd name="T18" fmla="*/ 7723 w 37"/>
                <a:gd name="T19" fmla="*/ 32385 h 25"/>
                <a:gd name="T20" fmla="*/ 5792 w 37"/>
                <a:gd name="T21" fmla="*/ 28575 h 25"/>
                <a:gd name="T22" fmla="*/ 0 w 37"/>
                <a:gd name="T23" fmla="*/ 28575 h 25"/>
                <a:gd name="T24" fmla="*/ 5792 w 37"/>
                <a:gd name="T25" fmla="*/ 20955 h 25"/>
                <a:gd name="T26" fmla="*/ 19307 w 37"/>
                <a:gd name="T27" fmla="*/ 13335 h 25"/>
                <a:gd name="T28" fmla="*/ 34753 w 37"/>
                <a:gd name="T29" fmla="*/ 1905 h 25"/>
                <a:gd name="T30" fmla="*/ 46338 w 37"/>
                <a:gd name="T31" fmla="*/ 0 h 25"/>
                <a:gd name="T32" fmla="*/ 61783 w 37"/>
                <a:gd name="T33" fmla="*/ 5715 h 25"/>
                <a:gd name="T34" fmla="*/ 71437 w 37"/>
                <a:gd name="T35" fmla="*/ 15240 h 25"/>
                <a:gd name="T36" fmla="*/ 69506 w 37"/>
                <a:gd name="T37" fmla="*/ 24765 h 2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7"/>
                <a:gd name="T58" fmla="*/ 0 h 25"/>
                <a:gd name="T59" fmla="*/ 37 w 37"/>
                <a:gd name="T60" fmla="*/ 25 h 2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7" h="25">
                  <a:moveTo>
                    <a:pt x="36" y="13"/>
                  </a:moveTo>
                  <a:cubicBezTo>
                    <a:pt x="35" y="16"/>
                    <a:pt x="35" y="20"/>
                    <a:pt x="34" y="23"/>
                  </a:cubicBezTo>
                  <a:cubicBezTo>
                    <a:pt x="34" y="24"/>
                    <a:pt x="32" y="24"/>
                    <a:pt x="31" y="25"/>
                  </a:cubicBezTo>
                  <a:cubicBezTo>
                    <a:pt x="28" y="25"/>
                    <a:pt x="25" y="25"/>
                    <a:pt x="21" y="24"/>
                  </a:cubicBezTo>
                  <a:cubicBezTo>
                    <a:pt x="20" y="24"/>
                    <a:pt x="18" y="24"/>
                    <a:pt x="16" y="24"/>
                  </a:cubicBezTo>
                  <a:cubicBezTo>
                    <a:pt x="15" y="23"/>
                    <a:pt x="15" y="21"/>
                    <a:pt x="14" y="21"/>
                  </a:cubicBezTo>
                  <a:cubicBezTo>
                    <a:pt x="13" y="21"/>
                    <a:pt x="12" y="22"/>
                    <a:pt x="11" y="22"/>
                  </a:cubicBezTo>
                  <a:cubicBezTo>
                    <a:pt x="9" y="22"/>
                    <a:pt x="8" y="21"/>
                    <a:pt x="7" y="20"/>
                  </a:cubicBezTo>
                  <a:cubicBezTo>
                    <a:pt x="6" y="19"/>
                    <a:pt x="8" y="17"/>
                    <a:pt x="7" y="17"/>
                  </a:cubicBezTo>
                  <a:cubicBezTo>
                    <a:pt x="6" y="16"/>
                    <a:pt x="5" y="17"/>
                    <a:pt x="4" y="17"/>
                  </a:cubicBezTo>
                  <a:cubicBezTo>
                    <a:pt x="3" y="17"/>
                    <a:pt x="3" y="15"/>
                    <a:pt x="3" y="15"/>
                  </a:cubicBezTo>
                  <a:cubicBezTo>
                    <a:pt x="2" y="15"/>
                    <a:pt x="0" y="16"/>
                    <a:pt x="0" y="15"/>
                  </a:cubicBezTo>
                  <a:cubicBezTo>
                    <a:pt x="0" y="13"/>
                    <a:pt x="1" y="12"/>
                    <a:pt x="3" y="11"/>
                  </a:cubicBezTo>
                  <a:cubicBezTo>
                    <a:pt x="5" y="9"/>
                    <a:pt x="8" y="8"/>
                    <a:pt x="10" y="7"/>
                  </a:cubicBezTo>
                  <a:cubicBezTo>
                    <a:pt x="13" y="5"/>
                    <a:pt x="15" y="2"/>
                    <a:pt x="18" y="1"/>
                  </a:cubicBezTo>
                  <a:cubicBezTo>
                    <a:pt x="20" y="0"/>
                    <a:pt x="22" y="0"/>
                    <a:pt x="24" y="0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4" y="4"/>
                    <a:pt x="36" y="6"/>
                    <a:pt x="37" y="8"/>
                  </a:cubicBezTo>
                  <a:cubicBezTo>
                    <a:pt x="37" y="10"/>
                    <a:pt x="36" y="11"/>
                    <a:pt x="36" y="1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2" name="Freeform 1073"/>
            <p:cNvSpPr>
              <a:spLocks noChangeAspect="1"/>
            </p:cNvSpPr>
            <p:nvPr/>
          </p:nvSpPr>
          <p:spPr bwMode="auto">
            <a:xfrm>
              <a:off x="2597150" y="1730375"/>
              <a:ext cx="11113" cy="14288"/>
            </a:xfrm>
            <a:custGeom>
              <a:avLst/>
              <a:gdLst>
                <a:gd name="T0" fmla="*/ 1852 w 6"/>
                <a:gd name="T1" fmla="*/ 2041 h 7"/>
                <a:gd name="T2" fmla="*/ 1852 w 6"/>
                <a:gd name="T3" fmla="*/ 10206 h 7"/>
                <a:gd name="T4" fmla="*/ 9261 w 6"/>
                <a:gd name="T5" fmla="*/ 12247 h 7"/>
                <a:gd name="T6" fmla="*/ 9261 w 6"/>
                <a:gd name="T7" fmla="*/ 2041 h 7"/>
                <a:gd name="T8" fmla="*/ 1852 w 6"/>
                <a:gd name="T9" fmla="*/ 2041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1" y="1"/>
                  </a:moveTo>
                  <a:cubicBezTo>
                    <a:pt x="0" y="2"/>
                    <a:pt x="0" y="4"/>
                    <a:pt x="1" y="5"/>
                  </a:cubicBezTo>
                  <a:cubicBezTo>
                    <a:pt x="2" y="6"/>
                    <a:pt x="4" y="7"/>
                    <a:pt x="5" y="6"/>
                  </a:cubicBezTo>
                  <a:cubicBezTo>
                    <a:pt x="6" y="5"/>
                    <a:pt x="6" y="2"/>
                    <a:pt x="5" y="1"/>
                  </a:cubicBezTo>
                  <a:cubicBezTo>
                    <a:pt x="4" y="0"/>
                    <a:pt x="2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3" name="Freeform 1074"/>
            <p:cNvSpPr>
              <a:spLocks noChangeAspect="1"/>
            </p:cNvSpPr>
            <p:nvPr/>
          </p:nvSpPr>
          <p:spPr bwMode="auto">
            <a:xfrm>
              <a:off x="2546350" y="1744663"/>
              <a:ext cx="23813" cy="15875"/>
            </a:xfrm>
            <a:custGeom>
              <a:avLst/>
              <a:gdLst>
                <a:gd name="T0" fmla="*/ 23813 w 13"/>
                <a:gd name="T1" fmla="*/ 3528 h 9"/>
                <a:gd name="T2" fmla="*/ 20149 w 13"/>
                <a:gd name="T3" fmla="*/ 7056 h 9"/>
                <a:gd name="T4" fmla="*/ 14654 w 13"/>
                <a:gd name="T5" fmla="*/ 3528 h 9"/>
                <a:gd name="T6" fmla="*/ 9159 w 13"/>
                <a:gd name="T7" fmla="*/ 12347 h 9"/>
                <a:gd name="T8" fmla="*/ 1832 w 13"/>
                <a:gd name="T9" fmla="*/ 14111 h 9"/>
                <a:gd name="T10" fmla="*/ 3664 w 13"/>
                <a:gd name="T11" fmla="*/ 5292 h 9"/>
                <a:gd name="T12" fmla="*/ 10991 w 13"/>
                <a:gd name="T13" fmla="*/ 3528 h 9"/>
                <a:gd name="T14" fmla="*/ 18318 w 13"/>
                <a:gd name="T15" fmla="*/ 0 h 9"/>
                <a:gd name="T16" fmla="*/ 23813 w 13"/>
                <a:gd name="T17" fmla="*/ 3528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9"/>
                <a:gd name="T29" fmla="*/ 13 w 13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9">
                  <a:moveTo>
                    <a:pt x="13" y="2"/>
                  </a:moveTo>
                  <a:cubicBezTo>
                    <a:pt x="13" y="3"/>
                    <a:pt x="12" y="4"/>
                    <a:pt x="11" y="4"/>
                  </a:cubicBezTo>
                  <a:cubicBezTo>
                    <a:pt x="10" y="4"/>
                    <a:pt x="9" y="2"/>
                    <a:pt x="8" y="2"/>
                  </a:cubicBezTo>
                  <a:cubicBezTo>
                    <a:pt x="6" y="3"/>
                    <a:pt x="7" y="6"/>
                    <a:pt x="5" y="7"/>
                  </a:cubicBezTo>
                  <a:cubicBezTo>
                    <a:pt x="4" y="8"/>
                    <a:pt x="2" y="9"/>
                    <a:pt x="1" y="8"/>
                  </a:cubicBezTo>
                  <a:cubicBezTo>
                    <a:pt x="0" y="7"/>
                    <a:pt x="1" y="5"/>
                    <a:pt x="2" y="3"/>
                  </a:cubicBezTo>
                  <a:cubicBezTo>
                    <a:pt x="3" y="2"/>
                    <a:pt x="5" y="3"/>
                    <a:pt x="6" y="2"/>
                  </a:cubicBezTo>
                  <a:cubicBezTo>
                    <a:pt x="7" y="2"/>
                    <a:pt x="8" y="0"/>
                    <a:pt x="10" y="0"/>
                  </a:cubicBezTo>
                  <a:cubicBezTo>
                    <a:pt x="11" y="0"/>
                    <a:pt x="12" y="1"/>
                    <a:pt x="13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4" name="Freeform 1075"/>
            <p:cNvSpPr>
              <a:spLocks noChangeAspect="1"/>
            </p:cNvSpPr>
            <p:nvPr/>
          </p:nvSpPr>
          <p:spPr bwMode="auto">
            <a:xfrm>
              <a:off x="2317750" y="1824038"/>
              <a:ext cx="58738" cy="42862"/>
            </a:xfrm>
            <a:custGeom>
              <a:avLst/>
              <a:gdLst>
                <a:gd name="T0" fmla="*/ 54948 w 31"/>
                <a:gd name="T1" fmla="*/ 7793 h 22"/>
                <a:gd name="T2" fmla="*/ 58738 w 31"/>
                <a:gd name="T3" fmla="*/ 13638 h 22"/>
                <a:gd name="T4" fmla="*/ 37895 w 31"/>
                <a:gd name="T5" fmla="*/ 33121 h 22"/>
                <a:gd name="T6" fmla="*/ 36001 w 31"/>
                <a:gd name="T7" fmla="*/ 40914 h 22"/>
                <a:gd name="T8" fmla="*/ 28422 w 31"/>
                <a:gd name="T9" fmla="*/ 31172 h 22"/>
                <a:gd name="T10" fmla="*/ 15158 w 31"/>
                <a:gd name="T11" fmla="*/ 19483 h 22"/>
                <a:gd name="T12" fmla="*/ 1895 w 31"/>
                <a:gd name="T13" fmla="*/ 13638 h 22"/>
                <a:gd name="T14" fmla="*/ 7579 w 31"/>
                <a:gd name="T15" fmla="*/ 7793 h 22"/>
                <a:gd name="T16" fmla="*/ 20843 w 31"/>
                <a:gd name="T17" fmla="*/ 5845 h 22"/>
                <a:gd name="T18" fmla="*/ 32211 w 31"/>
                <a:gd name="T19" fmla="*/ 5845 h 22"/>
                <a:gd name="T20" fmla="*/ 41685 w 31"/>
                <a:gd name="T21" fmla="*/ 0 h 22"/>
                <a:gd name="T22" fmla="*/ 54948 w 31"/>
                <a:gd name="T23" fmla="*/ 7793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1"/>
                <a:gd name="T37" fmla="*/ 0 h 22"/>
                <a:gd name="T38" fmla="*/ 31 w 31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1" h="22">
                  <a:moveTo>
                    <a:pt x="29" y="4"/>
                  </a:moveTo>
                  <a:cubicBezTo>
                    <a:pt x="30" y="4"/>
                    <a:pt x="31" y="6"/>
                    <a:pt x="31" y="7"/>
                  </a:cubicBezTo>
                  <a:cubicBezTo>
                    <a:pt x="28" y="11"/>
                    <a:pt x="23" y="14"/>
                    <a:pt x="20" y="17"/>
                  </a:cubicBezTo>
                  <a:cubicBezTo>
                    <a:pt x="20" y="18"/>
                    <a:pt x="21" y="22"/>
                    <a:pt x="19" y="21"/>
                  </a:cubicBezTo>
                  <a:cubicBezTo>
                    <a:pt x="17" y="21"/>
                    <a:pt x="16" y="18"/>
                    <a:pt x="15" y="16"/>
                  </a:cubicBezTo>
                  <a:cubicBezTo>
                    <a:pt x="13" y="14"/>
                    <a:pt x="11" y="11"/>
                    <a:pt x="8" y="10"/>
                  </a:cubicBezTo>
                  <a:cubicBezTo>
                    <a:pt x="6" y="8"/>
                    <a:pt x="3" y="9"/>
                    <a:pt x="1" y="7"/>
                  </a:cubicBezTo>
                  <a:cubicBezTo>
                    <a:pt x="0" y="6"/>
                    <a:pt x="3" y="5"/>
                    <a:pt x="4" y="4"/>
                  </a:cubicBezTo>
                  <a:cubicBezTo>
                    <a:pt x="6" y="3"/>
                    <a:pt x="9" y="3"/>
                    <a:pt x="11" y="3"/>
                  </a:cubicBezTo>
                  <a:cubicBezTo>
                    <a:pt x="13" y="2"/>
                    <a:pt x="15" y="3"/>
                    <a:pt x="17" y="3"/>
                  </a:cubicBezTo>
                  <a:cubicBezTo>
                    <a:pt x="19" y="3"/>
                    <a:pt x="20" y="0"/>
                    <a:pt x="22" y="0"/>
                  </a:cubicBezTo>
                  <a:cubicBezTo>
                    <a:pt x="25" y="1"/>
                    <a:pt x="27" y="2"/>
                    <a:pt x="29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5" name="Freeform 1076"/>
            <p:cNvSpPr>
              <a:spLocks noChangeAspect="1"/>
            </p:cNvSpPr>
            <p:nvPr/>
          </p:nvSpPr>
          <p:spPr bwMode="auto">
            <a:xfrm>
              <a:off x="2046288" y="1841500"/>
              <a:ext cx="369887" cy="207963"/>
            </a:xfrm>
            <a:custGeom>
              <a:avLst/>
              <a:gdLst>
                <a:gd name="T0" fmla="*/ 299342 w 194"/>
                <a:gd name="T1" fmla="*/ 59145 h 109"/>
                <a:gd name="T2" fmla="*/ 301248 w 194"/>
                <a:gd name="T3" fmla="*/ 95396 h 109"/>
                <a:gd name="T4" fmla="*/ 335568 w 194"/>
                <a:gd name="T5" fmla="*/ 120199 h 109"/>
                <a:gd name="T6" fmla="*/ 366074 w 194"/>
                <a:gd name="T7" fmla="*/ 137370 h 109"/>
                <a:gd name="T8" fmla="*/ 350821 w 194"/>
                <a:gd name="T9" fmla="*/ 152633 h 109"/>
                <a:gd name="T10" fmla="*/ 322221 w 194"/>
                <a:gd name="T11" fmla="*/ 154541 h 109"/>
                <a:gd name="T12" fmla="*/ 306968 w 194"/>
                <a:gd name="T13" fmla="*/ 158357 h 109"/>
                <a:gd name="T14" fmla="*/ 314595 w 194"/>
                <a:gd name="T15" fmla="*/ 175528 h 109"/>
                <a:gd name="T16" fmla="*/ 335568 w 194"/>
                <a:gd name="T17" fmla="*/ 173620 h 109"/>
                <a:gd name="T18" fmla="*/ 297435 w 194"/>
                <a:gd name="T19" fmla="*/ 194608 h 109"/>
                <a:gd name="T20" fmla="*/ 268835 w 194"/>
                <a:gd name="T21" fmla="*/ 190792 h 109"/>
                <a:gd name="T22" fmla="*/ 247862 w 194"/>
                <a:gd name="T23" fmla="*/ 179344 h 109"/>
                <a:gd name="T24" fmla="*/ 242143 w 194"/>
                <a:gd name="T25" fmla="*/ 167897 h 109"/>
                <a:gd name="T26" fmla="*/ 200197 w 194"/>
                <a:gd name="T27" fmla="*/ 188884 h 109"/>
                <a:gd name="T28" fmla="*/ 169690 w 194"/>
                <a:gd name="T29" fmla="*/ 200331 h 109"/>
                <a:gd name="T30" fmla="*/ 125838 w 194"/>
                <a:gd name="T31" fmla="*/ 206055 h 109"/>
                <a:gd name="T32" fmla="*/ 81985 w 194"/>
                <a:gd name="T33" fmla="*/ 188884 h 109"/>
                <a:gd name="T34" fmla="*/ 53386 w 194"/>
                <a:gd name="T35" fmla="*/ 175528 h 109"/>
                <a:gd name="T36" fmla="*/ 26693 w 194"/>
                <a:gd name="T37" fmla="*/ 164081 h 109"/>
                <a:gd name="T38" fmla="*/ 32413 w 194"/>
                <a:gd name="T39" fmla="*/ 139278 h 109"/>
                <a:gd name="T40" fmla="*/ 80079 w 194"/>
                <a:gd name="T41" fmla="*/ 131646 h 109"/>
                <a:gd name="T42" fmla="*/ 125838 w 194"/>
                <a:gd name="T43" fmla="*/ 135462 h 109"/>
                <a:gd name="T44" fmla="*/ 144904 w 194"/>
                <a:gd name="T45" fmla="*/ 127830 h 109"/>
                <a:gd name="T46" fmla="*/ 89612 w 194"/>
                <a:gd name="T47" fmla="*/ 112567 h 109"/>
                <a:gd name="T48" fmla="*/ 36226 w 194"/>
                <a:gd name="T49" fmla="*/ 116383 h 109"/>
                <a:gd name="T50" fmla="*/ 13346 w 194"/>
                <a:gd name="T51" fmla="*/ 103028 h 109"/>
                <a:gd name="T52" fmla="*/ 55292 w 194"/>
                <a:gd name="T53" fmla="*/ 89672 h 109"/>
                <a:gd name="T54" fmla="*/ 80079 w 194"/>
                <a:gd name="T55" fmla="*/ 82040 h 109"/>
                <a:gd name="T56" fmla="*/ 32413 w 194"/>
                <a:gd name="T57" fmla="*/ 89672 h 109"/>
                <a:gd name="T58" fmla="*/ 17160 w 194"/>
                <a:gd name="T59" fmla="*/ 89672 h 109"/>
                <a:gd name="T60" fmla="*/ 7627 w 194"/>
                <a:gd name="T61" fmla="*/ 78225 h 109"/>
                <a:gd name="T62" fmla="*/ 20973 w 194"/>
                <a:gd name="T63" fmla="*/ 59145 h 109"/>
                <a:gd name="T64" fmla="*/ 24786 w 194"/>
                <a:gd name="T65" fmla="*/ 40066 h 109"/>
                <a:gd name="T66" fmla="*/ 74359 w 194"/>
                <a:gd name="T67" fmla="*/ 13355 h 109"/>
                <a:gd name="T68" fmla="*/ 118211 w 194"/>
                <a:gd name="T69" fmla="*/ 1908 h 109"/>
                <a:gd name="T70" fmla="*/ 123931 w 194"/>
                <a:gd name="T71" fmla="*/ 22895 h 109"/>
                <a:gd name="T72" fmla="*/ 110585 w 194"/>
                <a:gd name="T73" fmla="*/ 36250 h 109"/>
                <a:gd name="T74" fmla="*/ 133464 w 194"/>
                <a:gd name="T75" fmla="*/ 30527 h 109"/>
                <a:gd name="T76" fmla="*/ 177317 w 194"/>
                <a:gd name="T77" fmla="*/ 26711 h 109"/>
                <a:gd name="T78" fmla="*/ 160157 w 194"/>
                <a:gd name="T79" fmla="*/ 49606 h 109"/>
                <a:gd name="T80" fmla="*/ 179224 w 194"/>
                <a:gd name="T81" fmla="*/ 49606 h 109"/>
                <a:gd name="T82" fmla="*/ 202103 w 194"/>
                <a:gd name="T83" fmla="*/ 38158 h 109"/>
                <a:gd name="T84" fmla="*/ 207823 w 194"/>
                <a:gd name="T85" fmla="*/ 17171 h 109"/>
                <a:gd name="T86" fmla="*/ 224983 w 194"/>
                <a:gd name="T87" fmla="*/ 57238 h 109"/>
                <a:gd name="T88" fmla="*/ 253582 w 194"/>
                <a:gd name="T89" fmla="*/ 68685 h 109"/>
                <a:gd name="T90" fmla="*/ 247862 w 194"/>
                <a:gd name="T91" fmla="*/ 22895 h 109"/>
                <a:gd name="T92" fmla="*/ 270742 w 194"/>
                <a:gd name="T93" fmla="*/ 9540 h 109"/>
                <a:gd name="T94" fmla="*/ 303155 w 194"/>
                <a:gd name="T95" fmla="*/ 22895 h 1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94"/>
                <a:gd name="T145" fmla="*/ 0 h 109"/>
                <a:gd name="T146" fmla="*/ 194 w 194"/>
                <a:gd name="T147" fmla="*/ 109 h 10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94" h="109">
                  <a:moveTo>
                    <a:pt x="159" y="12"/>
                  </a:moveTo>
                  <a:cubicBezTo>
                    <a:pt x="160" y="14"/>
                    <a:pt x="159" y="17"/>
                    <a:pt x="159" y="20"/>
                  </a:cubicBezTo>
                  <a:cubicBezTo>
                    <a:pt x="159" y="24"/>
                    <a:pt x="157" y="27"/>
                    <a:pt x="157" y="31"/>
                  </a:cubicBezTo>
                  <a:cubicBezTo>
                    <a:pt x="158" y="34"/>
                    <a:pt x="160" y="36"/>
                    <a:pt x="162" y="38"/>
                  </a:cubicBezTo>
                  <a:cubicBezTo>
                    <a:pt x="162" y="40"/>
                    <a:pt x="163" y="41"/>
                    <a:pt x="162" y="42"/>
                  </a:cubicBezTo>
                  <a:cubicBezTo>
                    <a:pt x="162" y="45"/>
                    <a:pt x="158" y="47"/>
                    <a:pt x="158" y="50"/>
                  </a:cubicBezTo>
                  <a:cubicBezTo>
                    <a:pt x="158" y="54"/>
                    <a:pt x="161" y="56"/>
                    <a:pt x="164" y="59"/>
                  </a:cubicBezTo>
                  <a:cubicBezTo>
                    <a:pt x="166" y="61"/>
                    <a:pt x="169" y="62"/>
                    <a:pt x="172" y="63"/>
                  </a:cubicBezTo>
                  <a:cubicBezTo>
                    <a:pt x="173" y="64"/>
                    <a:pt x="175" y="62"/>
                    <a:pt x="176" y="63"/>
                  </a:cubicBezTo>
                  <a:cubicBezTo>
                    <a:pt x="179" y="64"/>
                    <a:pt x="181" y="67"/>
                    <a:pt x="184" y="69"/>
                  </a:cubicBezTo>
                  <a:cubicBezTo>
                    <a:pt x="185" y="70"/>
                    <a:pt x="185" y="72"/>
                    <a:pt x="186" y="72"/>
                  </a:cubicBezTo>
                  <a:cubicBezTo>
                    <a:pt x="188" y="73"/>
                    <a:pt x="191" y="71"/>
                    <a:pt x="192" y="72"/>
                  </a:cubicBezTo>
                  <a:cubicBezTo>
                    <a:pt x="194" y="73"/>
                    <a:pt x="193" y="76"/>
                    <a:pt x="192" y="78"/>
                  </a:cubicBezTo>
                  <a:cubicBezTo>
                    <a:pt x="191" y="80"/>
                    <a:pt x="190" y="83"/>
                    <a:pt x="188" y="83"/>
                  </a:cubicBezTo>
                  <a:cubicBezTo>
                    <a:pt x="186" y="84"/>
                    <a:pt x="185" y="81"/>
                    <a:pt x="184" y="80"/>
                  </a:cubicBezTo>
                  <a:cubicBezTo>
                    <a:pt x="182" y="80"/>
                    <a:pt x="182" y="83"/>
                    <a:pt x="181" y="83"/>
                  </a:cubicBezTo>
                  <a:cubicBezTo>
                    <a:pt x="179" y="82"/>
                    <a:pt x="178" y="80"/>
                    <a:pt x="176" y="80"/>
                  </a:cubicBezTo>
                  <a:cubicBezTo>
                    <a:pt x="174" y="79"/>
                    <a:pt x="171" y="79"/>
                    <a:pt x="169" y="81"/>
                  </a:cubicBezTo>
                  <a:cubicBezTo>
                    <a:pt x="168" y="82"/>
                    <a:pt x="171" y="84"/>
                    <a:pt x="169" y="85"/>
                  </a:cubicBezTo>
                  <a:cubicBezTo>
                    <a:pt x="167" y="86"/>
                    <a:pt x="165" y="84"/>
                    <a:pt x="164" y="83"/>
                  </a:cubicBezTo>
                  <a:cubicBezTo>
                    <a:pt x="163" y="83"/>
                    <a:pt x="161" y="82"/>
                    <a:pt x="161" y="83"/>
                  </a:cubicBezTo>
                  <a:cubicBezTo>
                    <a:pt x="161" y="84"/>
                    <a:pt x="162" y="85"/>
                    <a:pt x="162" y="87"/>
                  </a:cubicBezTo>
                  <a:cubicBezTo>
                    <a:pt x="163" y="89"/>
                    <a:pt x="161" y="92"/>
                    <a:pt x="162" y="94"/>
                  </a:cubicBezTo>
                  <a:cubicBezTo>
                    <a:pt x="162" y="95"/>
                    <a:pt x="164" y="93"/>
                    <a:pt x="165" y="92"/>
                  </a:cubicBezTo>
                  <a:cubicBezTo>
                    <a:pt x="167" y="91"/>
                    <a:pt x="167" y="90"/>
                    <a:pt x="169" y="89"/>
                  </a:cubicBezTo>
                  <a:cubicBezTo>
                    <a:pt x="170" y="88"/>
                    <a:pt x="172" y="88"/>
                    <a:pt x="174" y="88"/>
                  </a:cubicBezTo>
                  <a:cubicBezTo>
                    <a:pt x="175" y="89"/>
                    <a:pt x="176" y="90"/>
                    <a:pt x="176" y="91"/>
                  </a:cubicBezTo>
                  <a:cubicBezTo>
                    <a:pt x="176" y="93"/>
                    <a:pt x="176" y="96"/>
                    <a:pt x="175" y="98"/>
                  </a:cubicBezTo>
                  <a:cubicBezTo>
                    <a:pt x="173" y="100"/>
                    <a:pt x="169" y="101"/>
                    <a:pt x="167" y="101"/>
                  </a:cubicBezTo>
                  <a:cubicBezTo>
                    <a:pt x="163" y="102"/>
                    <a:pt x="160" y="103"/>
                    <a:pt x="156" y="102"/>
                  </a:cubicBezTo>
                  <a:cubicBezTo>
                    <a:pt x="153" y="102"/>
                    <a:pt x="150" y="101"/>
                    <a:pt x="147" y="100"/>
                  </a:cubicBezTo>
                  <a:cubicBezTo>
                    <a:pt x="146" y="100"/>
                    <a:pt x="145" y="100"/>
                    <a:pt x="144" y="100"/>
                  </a:cubicBezTo>
                  <a:cubicBezTo>
                    <a:pt x="143" y="100"/>
                    <a:pt x="141" y="101"/>
                    <a:pt x="141" y="100"/>
                  </a:cubicBezTo>
                  <a:cubicBezTo>
                    <a:pt x="140" y="99"/>
                    <a:pt x="142" y="96"/>
                    <a:pt x="141" y="95"/>
                  </a:cubicBezTo>
                  <a:cubicBezTo>
                    <a:pt x="140" y="94"/>
                    <a:pt x="138" y="95"/>
                    <a:pt x="136" y="94"/>
                  </a:cubicBezTo>
                  <a:cubicBezTo>
                    <a:pt x="134" y="94"/>
                    <a:pt x="132" y="95"/>
                    <a:pt x="130" y="94"/>
                  </a:cubicBezTo>
                  <a:cubicBezTo>
                    <a:pt x="129" y="94"/>
                    <a:pt x="129" y="93"/>
                    <a:pt x="128" y="92"/>
                  </a:cubicBezTo>
                  <a:cubicBezTo>
                    <a:pt x="128" y="91"/>
                    <a:pt x="129" y="90"/>
                    <a:pt x="128" y="89"/>
                  </a:cubicBezTo>
                  <a:cubicBezTo>
                    <a:pt x="128" y="89"/>
                    <a:pt x="127" y="88"/>
                    <a:pt x="127" y="88"/>
                  </a:cubicBezTo>
                  <a:cubicBezTo>
                    <a:pt x="124" y="89"/>
                    <a:pt x="122" y="91"/>
                    <a:pt x="120" y="92"/>
                  </a:cubicBezTo>
                  <a:cubicBezTo>
                    <a:pt x="117" y="94"/>
                    <a:pt x="116" y="96"/>
                    <a:pt x="113" y="98"/>
                  </a:cubicBezTo>
                  <a:cubicBezTo>
                    <a:pt x="111" y="99"/>
                    <a:pt x="108" y="99"/>
                    <a:pt x="105" y="99"/>
                  </a:cubicBezTo>
                  <a:cubicBezTo>
                    <a:pt x="104" y="100"/>
                    <a:pt x="102" y="99"/>
                    <a:pt x="100" y="99"/>
                  </a:cubicBezTo>
                  <a:cubicBezTo>
                    <a:pt x="97" y="100"/>
                    <a:pt x="96" y="102"/>
                    <a:pt x="94" y="103"/>
                  </a:cubicBezTo>
                  <a:cubicBezTo>
                    <a:pt x="92" y="104"/>
                    <a:pt x="90" y="105"/>
                    <a:pt x="89" y="105"/>
                  </a:cubicBezTo>
                  <a:cubicBezTo>
                    <a:pt x="87" y="106"/>
                    <a:pt x="85" y="107"/>
                    <a:pt x="82" y="107"/>
                  </a:cubicBezTo>
                  <a:cubicBezTo>
                    <a:pt x="79" y="107"/>
                    <a:pt x="76" y="106"/>
                    <a:pt x="73" y="107"/>
                  </a:cubicBezTo>
                  <a:cubicBezTo>
                    <a:pt x="71" y="107"/>
                    <a:pt x="68" y="108"/>
                    <a:pt x="66" y="108"/>
                  </a:cubicBezTo>
                  <a:cubicBezTo>
                    <a:pt x="61" y="108"/>
                    <a:pt x="56" y="109"/>
                    <a:pt x="51" y="108"/>
                  </a:cubicBezTo>
                  <a:cubicBezTo>
                    <a:pt x="49" y="108"/>
                    <a:pt x="47" y="106"/>
                    <a:pt x="45" y="105"/>
                  </a:cubicBezTo>
                  <a:cubicBezTo>
                    <a:pt x="44" y="103"/>
                    <a:pt x="43" y="101"/>
                    <a:pt x="43" y="99"/>
                  </a:cubicBezTo>
                  <a:cubicBezTo>
                    <a:pt x="43" y="98"/>
                    <a:pt x="45" y="96"/>
                    <a:pt x="45" y="94"/>
                  </a:cubicBezTo>
                  <a:cubicBezTo>
                    <a:pt x="44" y="93"/>
                    <a:pt x="41" y="93"/>
                    <a:pt x="40" y="92"/>
                  </a:cubicBezTo>
                  <a:cubicBezTo>
                    <a:pt x="36" y="92"/>
                    <a:pt x="32" y="93"/>
                    <a:pt x="28" y="92"/>
                  </a:cubicBezTo>
                  <a:cubicBezTo>
                    <a:pt x="25" y="92"/>
                    <a:pt x="23" y="91"/>
                    <a:pt x="20" y="90"/>
                  </a:cubicBezTo>
                  <a:cubicBezTo>
                    <a:pt x="18" y="89"/>
                    <a:pt x="16" y="90"/>
                    <a:pt x="15" y="89"/>
                  </a:cubicBezTo>
                  <a:cubicBezTo>
                    <a:pt x="14" y="88"/>
                    <a:pt x="15" y="87"/>
                    <a:pt x="14" y="86"/>
                  </a:cubicBezTo>
                  <a:cubicBezTo>
                    <a:pt x="13" y="83"/>
                    <a:pt x="10" y="82"/>
                    <a:pt x="9" y="80"/>
                  </a:cubicBezTo>
                  <a:cubicBezTo>
                    <a:pt x="9" y="78"/>
                    <a:pt x="8" y="77"/>
                    <a:pt x="9" y="76"/>
                  </a:cubicBezTo>
                  <a:cubicBezTo>
                    <a:pt x="11" y="74"/>
                    <a:pt x="14" y="74"/>
                    <a:pt x="17" y="73"/>
                  </a:cubicBezTo>
                  <a:cubicBezTo>
                    <a:pt x="20" y="72"/>
                    <a:pt x="23" y="72"/>
                    <a:pt x="26" y="71"/>
                  </a:cubicBezTo>
                  <a:cubicBezTo>
                    <a:pt x="30" y="71"/>
                    <a:pt x="33" y="71"/>
                    <a:pt x="36" y="71"/>
                  </a:cubicBezTo>
                  <a:cubicBezTo>
                    <a:pt x="38" y="70"/>
                    <a:pt x="40" y="69"/>
                    <a:pt x="42" y="69"/>
                  </a:cubicBezTo>
                  <a:cubicBezTo>
                    <a:pt x="46" y="68"/>
                    <a:pt x="49" y="69"/>
                    <a:pt x="52" y="69"/>
                  </a:cubicBezTo>
                  <a:cubicBezTo>
                    <a:pt x="54" y="69"/>
                    <a:pt x="56" y="69"/>
                    <a:pt x="57" y="69"/>
                  </a:cubicBezTo>
                  <a:cubicBezTo>
                    <a:pt x="60" y="70"/>
                    <a:pt x="63" y="71"/>
                    <a:pt x="66" y="71"/>
                  </a:cubicBezTo>
                  <a:cubicBezTo>
                    <a:pt x="67" y="71"/>
                    <a:pt x="68" y="70"/>
                    <a:pt x="69" y="70"/>
                  </a:cubicBezTo>
                  <a:cubicBezTo>
                    <a:pt x="71" y="69"/>
                    <a:pt x="74" y="70"/>
                    <a:pt x="76" y="70"/>
                  </a:cubicBezTo>
                  <a:cubicBezTo>
                    <a:pt x="77" y="70"/>
                    <a:pt x="77" y="68"/>
                    <a:pt x="76" y="67"/>
                  </a:cubicBezTo>
                  <a:cubicBezTo>
                    <a:pt x="73" y="66"/>
                    <a:pt x="69" y="65"/>
                    <a:pt x="65" y="64"/>
                  </a:cubicBezTo>
                  <a:cubicBezTo>
                    <a:pt x="61" y="63"/>
                    <a:pt x="57" y="62"/>
                    <a:pt x="53" y="61"/>
                  </a:cubicBezTo>
                  <a:cubicBezTo>
                    <a:pt x="51" y="60"/>
                    <a:pt x="49" y="59"/>
                    <a:pt x="47" y="59"/>
                  </a:cubicBezTo>
                  <a:cubicBezTo>
                    <a:pt x="44" y="60"/>
                    <a:pt x="43" y="62"/>
                    <a:pt x="40" y="63"/>
                  </a:cubicBezTo>
                  <a:cubicBezTo>
                    <a:pt x="36" y="64"/>
                    <a:pt x="33" y="63"/>
                    <a:pt x="29" y="63"/>
                  </a:cubicBezTo>
                  <a:cubicBezTo>
                    <a:pt x="25" y="62"/>
                    <a:pt x="22" y="61"/>
                    <a:pt x="19" y="61"/>
                  </a:cubicBezTo>
                  <a:cubicBezTo>
                    <a:pt x="16" y="60"/>
                    <a:pt x="14" y="61"/>
                    <a:pt x="12" y="61"/>
                  </a:cubicBezTo>
                  <a:cubicBezTo>
                    <a:pt x="10" y="60"/>
                    <a:pt x="8" y="59"/>
                    <a:pt x="7" y="57"/>
                  </a:cubicBezTo>
                  <a:cubicBezTo>
                    <a:pt x="6" y="56"/>
                    <a:pt x="6" y="55"/>
                    <a:pt x="7" y="54"/>
                  </a:cubicBezTo>
                  <a:cubicBezTo>
                    <a:pt x="9" y="52"/>
                    <a:pt x="12" y="51"/>
                    <a:pt x="15" y="50"/>
                  </a:cubicBezTo>
                  <a:cubicBezTo>
                    <a:pt x="17" y="49"/>
                    <a:pt x="20" y="48"/>
                    <a:pt x="23" y="48"/>
                  </a:cubicBezTo>
                  <a:cubicBezTo>
                    <a:pt x="25" y="47"/>
                    <a:pt x="27" y="48"/>
                    <a:pt x="29" y="47"/>
                  </a:cubicBezTo>
                  <a:cubicBezTo>
                    <a:pt x="31" y="47"/>
                    <a:pt x="32" y="46"/>
                    <a:pt x="34" y="46"/>
                  </a:cubicBezTo>
                  <a:cubicBezTo>
                    <a:pt x="36" y="45"/>
                    <a:pt x="38" y="46"/>
                    <a:pt x="40" y="45"/>
                  </a:cubicBezTo>
                  <a:cubicBezTo>
                    <a:pt x="41" y="45"/>
                    <a:pt x="43" y="44"/>
                    <a:pt x="42" y="43"/>
                  </a:cubicBezTo>
                  <a:cubicBezTo>
                    <a:pt x="40" y="42"/>
                    <a:pt x="38" y="43"/>
                    <a:pt x="35" y="43"/>
                  </a:cubicBezTo>
                  <a:cubicBezTo>
                    <a:pt x="33" y="43"/>
                    <a:pt x="30" y="44"/>
                    <a:pt x="28" y="44"/>
                  </a:cubicBezTo>
                  <a:cubicBezTo>
                    <a:pt x="24" y="45"/>
                    <a:pt x="21" y="47"/>
                    <a:pt x="17" y="47"/>
                  </a:cubicBezTo>
                  <a:cubicBezTo>
                    <a:pt x="17" y="47"/>
                    <a:pt x="17" y="45"/>
                    <a:pt x="16" y="45"/>
                  </a:cubicBezTo>
                  <a:cubicBezTo>
                    <a:pt x="14" y="45"/>
                    <a:pt x="14" y="47"/>
                    <a:pt x="13" y="47"/>
                  </a:cubicBezTo>
                  <a:cubicBezTo>
                    <a:pt x="11" y="48"/>
                    <a:pt x="9" y="48"/>
                    <a:pt x="9" y="47"/>
                  </a:cubicBezTo>
                  <a:cubicBezTo>
                    <a:pt x="9" y="45"/>
                    <a:pt x="13" y="45"/>
                    <a:pt x="13" y="42"/>
                  </a:cubicBezTo>
                  <a:cubicBezTo>
                    <a:pt x="14" y="42"/>
                    <a:pt x="12" y="41"/>
                    <a:pt x="11" y="41"/>
                  </a:cubicBezTo>
                  <a:cubicBezTo>
                    <a:pt x="9" y="40"/>
                    <a:pt x="6" y="41"/>
                    <a:pt x="4" y="41"/>
                  </a:cubicBezTo>
                  <a:cubicBezTo>
                    <a:pt x="3" y="41"/>
                    <a:pt x="1" y="42"/>
                    <a:pt x="1" y="41"/>
                  </a:cubicBezTo>
                  <a:cubicBezTo>
                    <a:pt x="0" y="39"/>
                    <a:pt x="0" y="37"/>
                    <a:pt x="1" y="36"/>
                  </a:cubicBezTo>
                  <a:cubicBezTo>
                    <a:pt x="4" y="33"/>
                    <a:pt x="8" y="33"/>
                    <a:pt x="11" y="31"/>
                  </a:cubicBezTo>
                  <a:cubicBezTo>
                    <a:pt x="12" y="30"/>
                    <a:pt x="15" y="28"/>
                    <a:pt x="16" y="26"/>
                  </a:cubicBezTo>
                  <a:cubicBezTo>
                    <a:pt x="16" y="25"/>
                    <a:pt x="15" y="24"/>
                    <a:pt x="14" y="24"/>
                  </a:cubicBezTo>
                  <a:cubicBezTo>
                    <a:pt x="14" y="23"/>
                    <a:pt x="12" y="22"/>
                    <a:pt x="13" y="21"/>
                  </a:cubicBezTo>
                  <a:cubicBezTo>
                    <a:pt x="14" y="18"/>
                    <a:pt x="17" y="17"/>
                    <a:pt x="19" y="15"/>
                  </a:cubicBezTo>
                  <a:cubicBezTo>
                    <a:pt x="21" y="14"/>
                    <a:pt x="23" y="14"/>
                    <a:pt x="25" y="13"/>
                  </a:cubicBezTo>
                  <a:cubicBezTo>
                    <a:pt x="29" y="11"/>
                    <a:pt x="34" y="9"/>
                    <a:pt x="39" y="7"/>
                  </a:cubicBezTo>
                  <a:cubicBezTo>
                    <a:pt x="41" y="6"/>
                    <a:pt x="43" y="6"/>
                    <a:pt x="46" y="5"/>
                  </a:cubicBezTo>
                  <a:cubicBezTo>
                    <a:pt x="49" y="4"/>
                    <a:pt x="52" y="2"/>
                    <a:pt x="55" y="1"/>
                  </a:cubicBezTo>
                  <a:cubicBezTo>
                    <a:pt x="57" y="0"/>
                    <a:pt x="60" y="0"/>
                    <a:pt x="62" y="1"/>
                  </a:cubicBezTo>
                  <a:cubicBezTo>
                    <a:pt x="64" y="1"/>
                    <a:pt x="66" y="1"/>
                    <a:pt x="67" y="3"/>
                  </a:cubicBezTo>
                  <a:cubicBezTo>
                    <a:pt x="67" y="5"/>
                    <a:pt x="65" y="7"/>
                    <a:pt x="65" y="10"/>
                  </a:cubicBezTo>
                  <a:cubicBezTo>
                    <a:pt x="64" y="10"/>
                    <a:pt x="66" y="12"/>
                    <a:pt x="65" y="12"/>
                  </a:cubicBezTo>
                  <a:cubicBezTo>
                    <a:pt x="64" y="13"/>
                    <a:pt x="62" y="13"/>
                    <a:pt x="61" y="14"/>
                  </a:cubicBezTo>
                  <a:cubicBezTo>
                    <a:pt x="59" y="15"/>
                    <a:pt x="56" y="16"/>
                    <a:pt x="55" y="19"/>
                  </a:cubicBezTo>
                  <a:cubicBezTo>
                    <a:pt x="55" y="20"/>
                    <a:pt x="57" y="19"/>
                    <a:pt x="58" y="19"/>
                  </a:cubicBezTo>
                  <a:cubicBezTo>
                    <a:pt x="60" y="19"/>
                    <a:pt x="62" y="17"/>
                    <a:pt x="64" y="17"/>
                  </a:cubicBezTo>
                  <a:cubicBezTo>
                    <a:pt x="66" y="17"/>
                    <a:pt x="69" y="19"/>
                    <a:pt x="71" y="19"/>
                  </a:cubicBezTo>
                  <a:cubicBezTo>
                    <a:pt x="72" y="18"/>
                    <a:pt x="70" y="17"/>
                    <a:pt x="70" y="16"/>
                  </a:cubicBezTo>
                  <a:cubicBezTo>
                    <a:pt x="72" y="13"/>
                    <a:pt x="73" y="9"/>
                    <a:pt x="76" y="8"/>
                  </a:cubicBezTo>
                  <a:cubicBezTo>
                    <a:pt x="79" y="7"/>
                    <a:pt x="82" y="10"/>
                    <a:pt x="85" y="11"/>
                  </a:cubicBezTo>
                  <a:cubicBezTo>
                    <a:pt x="88" y="12"/>
                    <a:pt x="91" y="12"/>
                    <a:pt x="93" y="14"/>
                  </a:cubicBezTo>
                  <a:cubicBezTo>
                    <a:pt x="94" y="15"/>
                    <a:pt x="94" y="17"/>
                    <a:pt x="93" y="18"/>
                  </a:cubicBezTo>
                  <a:cubicBezTo>
                    <a:pt x="90" y="21"/>
                    <a:pt x="85" y="23"/>
                    <a:pt x="82" y="26"/>
                  </a:cubicBezTo>
                  <a:cubicBezTo>
                    <a:pt x="81" y="26"/>
                    <a:pt x="84" y="26"/>
                    <a:pt x="84" y="26"/>
                  </a:cubicBezTo>
                  <a:cubicBezTo>
                    <a:pt x="86" y="26"/>
                    <a:pt x="87" y="27"/>
                    <a:pt x="89" y="27"/>
                  </a:cubicBezTo>
                  <a:cubicBezTo>
                    <a:pt x="90" y="26"/>
                    <a:pt x="89" y="24"/>
                    <a:pt x="90" y="24"/>
                  </a:cubicBezTo>
                  <a:cubicBezTo>
                    <a:pt x="91" y="24"/>
                    <a:pt x="92" y="26"/>
                    <a:pt x="94" y="26"/>
                  </a:cubicBezTo>
                  <a:cubicBezTo>
                    <a:pt x="95" y="25"/>
                    <a:pt x="95" y="22"/>
                    <a:pt x="96" y="21"/>
                  </a:cubicBezTo>
                  <a:cubicBezTo>
                    <a:pt x="98" y="19"/>
                    <a:pt x="99" y="18"/>
                    <a:pt x="101" y="18"/>
                  </a:cubicBezTo>
                  <a:cubicBezTo>
                    <a:pt x="103" y="18"/>
                    <a:pt x="104" y="21"/>
                    <a:pt x="106" y="20"/>
                  </a:cubicBezTo>
                  <a:cubicBezTo>
                    <a:pt x="108" y="19"/>
                    <a:pt x="108" y="17"/>
                    <a:pt x="108" y="15"/>
                  </a:cubicBezTo>
                  <a:cubicBezTo>
                    <a:pt x="108" y="13"/>
                    <a:pt x="104" y="12"/>
                    <a:pt x="105" y="10"/>
                  </a:cubicBezTo>
                  <a:cubicBezTo>
                    <a:pt x="105" y="9"/>
                    <a:pt x="107" y="9"/>
                    <a:pt x="109" y="9"/>
                  </a:cubicBezTo>
                  <a:cubicBezTo>
                    <a:pt x="112" y="10"/>
                    <a:pt x="115" y="11"/>
                    <a:pt x="117" y="13"/>
                  </a:cubicBezTo>
                  <a:cubicBezTo>
                    <a:pt x="119" y="16"/>
                    <a:pt x="122" y="19"/>
                    <a:pt x="122" y="22"/>
                  </a:cubicBezTo>
                  <a:cubicBezTo>
                    <a:pt x="122" y="25"/>
                    <a:pt x="118" y="27"/>
                    <a:pt x="118" y="30"/>
                  </a:cubicBezTo>
                  <a:cubicBezTo>
                    <a:pt x="118" y="33"/>
                    <a:pt x="121" y="36"/>
                    <a:pt x="123" y="38"/>
                  </a:cubicBezTo>
                  <a:cubicBezTo>
                    <a:pt x="124" y="39"/>
                    <a:pt x="125" y="40"/>
                    <a:pt x="127" y="40"/>
                  </a:cubicBezTo>
                  <a:cubicBezTo>
                    <a:pt x="129" y="40"/>
                    <a:pt x="132" y="38"/>
                    <a:pt x="133" y="36"/>
                  </a:cubicBezTo>
                  <a:cubicBezTo>
                    <a:pt x="134" y="35"/>
                    <a:pt x="133" y="33"/>
                    <a:pt x="132" y="31"/>
                  </a:cubicBezTo>
                  <a:cubicBezTo>
                    <a:pt x="131" y="30"/>
                    <a:pt x="129" y="30"/>
                    <a:pt x="128" y="28"/>
                  </a:cubicBezTo>
                  <a:cubicBezTo>
                    <a:pt x="128" y="23"/>
                    <a:pt x="130" y="17"/>
                    <a:pt x="130" y="12"/>
                  </a:cubicBezTo>
                  <a:cubicBezTo>
                    <a:pt x="131" y="9"/>
                    <a:pt x="131" y="5"/>
                    <a:pt x="132" y="2"/>
                  </a:cubicBezTo>
                  <a:cubicBezTo>
                    <a:pt x="133" y="1"/>
                    <a:pt x="135" y="1"/>
                    <a:pt x="136" y="2"/>
                  </a:cubicBezTo>
                  <a:cubicBezTo>
                    <a:pt x="138" y="2"/>
                    <a:pt x="140" y="5"/>
                    <a:pt x="142" y="5"/>
                  </a:cubicBezTo>
                  <a:cubicBezTo>
                    <a:pt x="144" y="5"/>
                    <a:pt x="143" y="2"/>
                    <a:pt x="144" y="2"/>
                  </a:cubicBezTo>
                  <a:cubicBezTo>
                    <a:pt x="147" y="3"/>
                    <a:pt x="150" y="6"/>
                    <a:pt x="153" y="8"/>
                  </a:cubicBezTo>
                  <a:cubicBezTo>
                    <a:pt x="155" y="9"/>
                    <a:pt x="158" y="10"/>
                    <a:pt x="159" y="1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6" name="Freeform 1077"/>
            <p:cNvSpPr>
              <a:spLocks noChangeAspect="1"/>
            </p:cNvSpPr>
            <p:nvPr/>
          </p:nvSpPr>
          <p:spPr bwMode="auto">
            <a:xfrm>
              <a:off x="1908175" y="1792288"/>
              <a:ext cx="242888" cy="150812"/>
            </a:xfrm>
            <a:custGeom>
              <a:avLst/>
              <a:gdLst>
                <a:gd name="T0" fmla="*/ 242888 w 128"/>
                <a:gd name="T1" fmla="*/ 43907 h 79"/>
                <a:gd name="T2" fmla="*/ 239093 w 128"/>
                <a:gd name="T3" fmla="*/ 36271 h 79"/>
                <a:gd name="T4" fmla="*/ 223912 w 128"/>
                <a:gd name="T5" fmla="*/ 30544 h 79"/>
                <a:gd name="T6" fmla="*/ 210629 w 128"/>
                <a:gd name="T7" fmla="*/ 17181 h 79"/>
                <a:gd name="T8" fmla="*/ 195449 w 128"/>
                <a:gd name="T9" fmla="*/ 13363 h 79"/>
                <a:gd name="T10" fmla="*/ 184064 w 128"/>
                <a:gd name="T11" fmla="*/ 17181 h 79"/>
                <a:gd name="T12" fmla="*/ 174576 w 128"/>
                <a:gd name="T13" fmla="*/ 24817 h 79"/>
                <a:gd name="T14" fmla="*/ 168883 w 128"/>
                <a:gd name="T15" fmla="*/ 22908 h 79"/>
                <a:gd name="T16" fmla="*/ 168883 w 128"/>
                <a:gd name="T17" fmla="*/ 17181 h 79"/>
                <a:gd name="T18" fmla="*/ 163190 w 128"/>
                <a:gd name="T19" fmla="*/ 15272 h 79"/>
                <a:gd name="T20" fmla="*/ 159395 w 128"/>
                <a:gd name="T21" fmla="*/ 20999 h 79"/>
                <a:gd name="T22" fmla="*/ 155600 w 128"/>
                <a:gd name="T23" fmla="*/ 15272 h 79"/>
                <a:gd name="T24" fmla="*/ 138522 w 128"/>
                <a:gd name="T25" fmla="*/ 9545 h 79"/>
                <a:gd name="T26" fmla="*/ 127137 w 128"/>
                <a:gd name="T27" fmla="*/ 1909 h 79"/>
                <a:gd name="T28" fmla="*/ 110059 w 128"/>
                <a:gd name="T29" fmla="*/ 7636 h 79"/>
                <a:gd name="T30" fmla="*/ 83493 w 128"/>
                <a:gd name="T31" fmla="*/ 7636 h 79"/>
                <a:gd name="T32" fmla="*/ 58824 w 128"/>
                <a:gd name="T33" fmla="*/ 7636 h 79"/>
                <a:gd name="T34" fmla="*/ 55029 w 128"/>
                <a:gd name="T35" fmla="*/ 9545 h 79"/>
                <a:gd name="T36" fmla="*/ 60722 w 128"/>
                <a:gd name="T37" fmla="*/ 24817 h 79"/>
                <a:gd name="T38" fmla="*/ 62620 w 128"/>
                <a:gd name="T39" fmla="*/ 34362 h 79"/>
                <a:gd name="T40" fmla="*/ 60722 w 128"/>
                <a:gd name="T41" fmla="*/ 40089 h 79"/>
                <a:gd name="T42" fmla="*/ 55029 w 128"/>
                <a:gd name="T43" fmla="*/ 47725 h 79"/>
                <a:gd name="T44" fmla="*/ 39849 w 128"/>
                <a:gd name="T45" fmla="*/ 59179 h 79"/>
                <a:gd name="T46" fmla="*/ 36054 w 128"/>
                <a:gd name="T47" fmla="*/ 61088 h 79"/>
                <a:gd name="T48" fmla="*/ 41746 w 128"/>
                <a:gd name="T49" fmla="*/ 66815 h 79"/>
                <a:gd name="T50" fmla="*/ 36054 w 128"/>
                <a:gd name="T51" fmla="*/ 72542 h 79"/>
                <a:gd name="T52" fmla="*/ 30361 w 128"/>
                <a:gd name="T53" fmla="*/ 72542 h 79"/>
                <a:gd name="T54" fmla="*/ 26566 w 128"/>
                <a:gd name="T55" fmla="*/ 85906 h 79"/>
                <a:gd name="T56" fmla="*/ 20873 w 128"/>
                <a:gd name="T57" fmla="*/ 85906 h 79"/>
                <a:gd name="T58" fmla="*/ 9488 w 128"/>
                <a:gd name="T59" fmla="*/ 103087 h 79"/>
                <a:gd name="T60" fmla="*/ 5693 w 128"/>
                <a:gd name="T61" fmla="*/ 108814 h 79"/>
                <a:gd name="T62" fmla="*/ 0 w 128"/>
                <a:gd name="T63" fmla="*/ 112632 h 79"/>
                <a:gd name="T64" fmla="*/ 5693 w 128"/>
                <a:gd name="T65" fmla="*/ 114541 h 79"/>
                <a:gd name="T66" fmla="*/ 18976 w 128"/>
                <a:gd name="T67" fmla="*/ 112632 h 79"/>
                <a:gd name="T68" fmla="*/ 28463 w 128"/>
                <a:gd name="T69" fmla="*/ 116450 h 79"/>
                <a:gd name="T70" fmla="*/ 36054 w 128"/>
                <a:gd name="T71" fmla="*/ 122177 h 79"/>
                <a:gd name="T72" fmla="*/ 39849 w 128"/>
                <a:gd name="T73" fmla="*/ 131722 h 79"/>
                <a:gd name="T74" fmla="*/ 43644 w 128"/>
                <a:gd name="T75" fmla="*/ 145085 h 79"/>
                <a:gd name="T76" fmla="*/ 55029 w 128"/>
                <a:gd name="T77" fmla="*/ 150812 h 79"/>
                <a:gd name="T78" fmla="*/ 60722 w 128"/>
                <a:gd name="T79" fmla="*/ 145085 h 79"/>
                <a:gd name="T80" fmla="*/ 77800 w 128"/>
                <a:gd name="T81" fmla="*/ 137449 h 79"/>
                <a:gd name="T82" fmla="*/ 79698 w 128"/>
                <a:gd name="T83" fmla="*/ 131722 h 79"/>
                <a:gd name="T84" fmla="*/ 83493 w 128"/>
                <a:gd name="T85" fmla="*/ 137449 h 79"/>
                <a:gd name="T86" fmla="*/ 94878 w 128"/>
                <a:gd name="T87" fmla="*/ 135540 h 79"/>
                <a:gd name="T88" fmla="*/ 104366 w 128"/>
                <a:gd name="T89" fmla="*/ 131722 h 79"/>
                <a:gd name="T90" fmla="*/ 111956 w 128"/>
                <a:gd name="T91" fmla="*/ 116450 h 79"/>
                <a:gd name="T92" fmla="*/ 111956 w 128"/>
                <a:gd name="T93" fmla="*/ 106905 h 79"/>
                <a:gd name="T94" fmla="*/ 123342 w 128"/>
                <a:gd name="T95" fmla="*/ 101178 h 79"/>
                <a:gd name="T96" fmla="*/ 138522 w 128"/>
                <a:gd name="T97" fmla="*/ 97360 h 79"/>
                <a:gd name="T98" fmla="*/ 149907 w 128"/>
                <a:gd name="T99" fmla="*/ 89724 h 79"/>
                <a:gd name="T100" fmla="*/ 151805 w 128"/>
                <a:gd name="T101" fmla="*/ 80179 h 79"/>
                <a:gd name="T102" fmla="*/ 174576 w 128"/>
                <a:gd name="T103" fmla="*/ 70633 h 79"/>
                <a:gd name="T104" fmla="*/ 193551 w 128"/>
                <a:gd name="T105" fmla="*/ 62997 h 79"/>
                <a:gd name="T106" fmla="*/ 208732 w 128"/>
                <a:gd name="T107" fmla="*/ 55361 h 79"/>
                <a:gd name="T108" fmla="*/ 220117 w 128"/>
                <a:gd name="T109" fmla="*/ 51543 h 79"/>
                <a:gd name="T110" fmla="*/ 235298 w 128"/>
                <a:gd name="T111" fmla="*/ 49634 h 79"/>
                <a:gd name="T112" fmla="*/ 242888 w 128"/>
                <a:gd name="T113" fmla="*/ 43907 h 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8"/>
                <a:gd name="T172" fmla="*/ 0 h 79"/>
                <a:gd name="T173" fmla="*/ 128 w 128"/>
                <a:gd name="T174" fmla="*/ 79 h 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8" h="79">
                  <a:moveTo>
                    <a:pt x="128" y="23"/>
                  </a:moveTo>
                  <a:cubicBezTo>
                    <a:pt x="128" y="21"/>
                    <a:pt x="127" y="20"/>
                    <a:pt x="126" y="19"/>
                  </a:cubicBezTo>
                  <a:cubicBezTo>
                    <a:pt x="124" y="18"/>
                    <a:pt x="121" y="18"/>
                    <a:pt x="118" y="16"/>
                  </a:cubicBezTo>
                  <a:cubicBezTo>
                    <a:pt x="116" y="14"/>
                    <a:pt x="114" y="10"/>
                    <a:pt x="111" y="9"/>
                  </a:cubicBezTo>
                  <a:cubicBezTo>
                    <a:pt x="109" y="7"/>
                    <a:pt x="106" y="7"/>
                    <a:pt x="103" y="7"/>
                  </a:cubicBezTo>
                  <a:cubicBezTo>
                    <a:pt x="101" y="7"/>
                    <a:pt x="99" y="8"/>
                    <a:pt x="97" y="9"/>
                  </a:cubicBezTo>
                  <a:cubicBezTo>
                    <a:pt x="95" y="10"/>
                    <a:pt x="94" y="12"/>
                    <a:pt x="92" y="13"/>
                  </a:cubicBezTo>
                  <a:cubicBezTo>
                    <a:pt x="91" y="13"/>
                    <a:pt x="89" y="13"/>
                    <a:pt x="89" y="12"/>
                  </a:cubicBezTo>
                  <a:cubicBezTo>
                    <a:pt x="88" y="11"/>
                    <a:pt x="90" y="10"/>
                    <a:pt x="89" y="9"/>
                  </a:cubicBezTo>
                  <a:cubicBezTo>
                    <a:pt x="89" y="8"/>
                    <a:pt x="87" y="8"/>
                    <a:pt x="86" y="8"/>
                  </a:cubicBezTo>
                  <a:cubicBezTo>
                    <a:pt x="85" y="8"/>
                    <a:pt x="85" y="11"/>
                    <a:pt x="84" y="11"/>
                  </a:cubicBezTo>
                  <a:cubicBezTo>
                    <a:pt x="83" y="11"/>
                    <a:pt x="83" y="9"/>
                    <a:pt x="82" y="8"/>
                  </a:cubicBezTo>
                  <a:cubicBezTo>
                    <a:pt x="79" y="7"/>
                    <a:pt x="76" y="7"/>
                    <a:pt x="73" y="5"/>
                  </a:cubicBezTo>
                  <a:cubicBezTo>
                    <a:pt x="71" y="4"/>
                    <a:pt x="70" y="1"/>
                    <a:pt x="67" y="1"/>
                  </a:cubicBezTo>
                  <a:cubicBezTo>
                    <a:pt x="64" y="0"/>
                    <a:pt x="61" y="3"/>
                    <a:pt x="58" y="4"/>
                  </a:cubicBezTo>
                  <a:cubicBezTo>
                    <a:pt x="54" y="4"/>
                    <a:pt x="49" y="4"/>
                    <a:pt x="44" y="4"/>
                  </a:cubicBezTo>
                  <a:cubicBezTo>
                    <a:pt x="40" y="4"/>
                    <a:pt x="35" y="4"/>
                    <a:pt x="31" y="4"/>
                  </a:cubicBezTo>
                  <a:cubicBezTo>
                    <a:pt x="30" y="4"/>
                    <a:pt x="29" y="4"/>
                    <a:pt x="29" y="5"/>
                  </a:cubicBezTo>
                  <a:cubicBezTo>
                    <a:pt x="29" y="8"/>
                    <a:pt x="31" y="10"/>
                    <a:pt x="32" y="13"/>
                  </a:cubicBezTo>
                  <a:cubicBezTo>
                    <a:pt x="32" y="15"/>
                    <a:pt x="33" y="16"/>
                    <a:pt x="33" y="18"/>
                  </a:cubicBezTo>
                  <a:cubicBezTo>
                    <a:pt x="33" y="19"/>
                    <a:pt x="33" y="20"/>
                    <a:pt x="32" y="21"/>
                  </a:cubicBezTo>
                  <a:cubicBezTo>
                    <a:pt x="31" y="22"/>
                    <a:pt x="30" y="23"/>
                    <a:pt x="29" y="25"/>
                  </a:cubicBezTo>
                  <a:cubicBezTo>
                    <a:pt x="27" y="27"/>
                    <a:pt x="24" y="29"/>
                    <a:pt x="21" y="31"/>
                  </a:cubicBezTo>
                  <a:cubicBezTo>
                    <a:pt x="21" y="31"/>
                    <a:pt x="19" y="31"/>
                    <a:pt x="19" y="32"/>
                  </a:cubicBezTo>
                  <a:cubicBezTo>
                    <a:pt x="19" y="33"/>
                    <a:pt x="22" y="33"/>
                    <a:pt x="22" y="35"/>
                  </a:cubicBezTo>
                  <a:cubicBezTo>
                    <a:pt x="22" y="36"/>
                    <a:pt x="20" y="37"/>
                    <a:pt x="19" y="38"/>
                  </a:cubicBezTo>
                  <a:cubicBezTo>
                    <a:pt x="18" y="39"/>
                    <a:pt x="17" y="37"/>
                    <a:pt x="16" y="38"/>
                  </a:cubicBezTo>
                  <a:cubicBezTo>
                    <a:pt x="15" y="40"/>
                    <a:pt x="16" y="43"/>
                    <a:pt x="14" y="45"/>
                  </a:cubicBezTo>
                  <a:cubicBezTo>
                    <a:pt x="13" y="46"/>
                    <a:pt x="12" y="45"/>
                    <a:pt x="11" y="45"/>
                  </a:cubicBezTo>
                  <a:cubicBezTo>
                    <a:pt x="8" y="48"/>
                    <a:pt x="7" y="51"/>
                    <a:pt x="5" y="54"/>
                  </a:cubicBezTo>
                  <a:cubicBezTo>
                    <a:pt x="4" y="56"/>
                    <a:pt x="4" y="57"/>
                    <a:pt x="3" y="57"/>
                  </a:cubicBezTo>
                  <a:cubicBezTo>
                    <a:pt x="2" y="58"/>
                    <a:pt x="0" y="58"/>
                    <a:pt x="0" y="59"/>
                  </a:cubicBezTo>
                  <a:cubicBezTo>
                    <a:pt x="0" y="60"/>
                    <a:pt x="2" y="60"/>
                    <a:pt x="3" y="60"/>
                  </a:cubicBezTo>
                  <a:cubicBezTo>
                    <a:pt x="5" y="60"/>
                    <a:pt x="7" y="58"/>
                    <a:pt x="10" y="59"/>
                  </a:cubicBezTo>
                  <a:cubicBezTo>
                    <a:pt x="12" y="59"/>
                    <a:pt x="13" y="60"/>
                    <a:pt x="15" y="61"/>
                  </a:cubicBezTo>
                  <a:cubicBezTo>
                    <a:pt x="16" y="62"/>
                    <a:pt x="18" y="63"/>
                    <a:pt x="19" y="64"/>
                  </a:cubicBezTo>
                  <a:cubicBezTo>
                    <a:pt x="20" y="66"/>
                    <a:pt x="21" y="67"/>
                    <a:pt x="21" y="69"/>
                  </a:cubicBezTo>
                  <a:cubicBezTo>
                    <a:pt x="22" y="71"/>
                    <a:pt x="21" y="74"/>
                    <a:pt x="23" y="76"/>
                  </a:cubicBezTo>
                  <a:cubicBezTo>
                    <a:pt x="24" y="78"/>
                    <a:pt x="27" y="79"/>
                    <a:pt x="29" y="79"/>
                  </a:cubicBezTo>
                  <a:cubicBezTo>
                    <a:pt x="30" y="79"/>
                    <a:pt x="30" y="77"/>
                    <a:pt x="32" y="76"/>
                  </a:cubicBezTo>
                  <a:cubicBezTo>
                    <a:pt x="34" y="74"/>
                    <a:pt x="38" y="74"/>
                    <a:pt x="41" y="72"/>
                  </a:cubicBezTo>
                  <a:cubicBezTo>
                    <a:pt x="41" y="71"/>
                    <a:pt x="41" y="69"/>
                    <a:pt x="42" y="69"/>
                  </a:cubicBezTo>
                  <a:cubicBezTo>
                    <a:pt x="43" y="69"/>
                    <a:pt x="43" y="72"/>
                    <a:pt x="44" y="72"/>
                  </a:cubicBezTo>
                  <a:cubicBezTo>
                    <a:pt x="46" y="72"/>
                    <a:pt x="48" y="72"/>
                    <a:pt x="50" y="71"/>
                  </a:cubicBezTo>
                  <a:cubicBezTo>
                    <a:pt x="52" y="71"/>
                    <a:pt x="54" y="71"/>
                    <a:pt x="55" y="69"/>
                  </a:cubicBezTo>
                  <a:cubicBezTo>
                    <a:pt x="57" y="67"/>
                    <a:pt x="59" y="64"/>
                    <a:pt x="59" y="61"/>
                  </a:cubicBezTo>
                  <a:cubicBezTo>
                    <a:pt x="60" y="59"/>
                    <a:pt x="59" y="58"/>
                    <a:pt x="59" y="56"/>
                  </a:cubicBezTo>
                  <a:cubicBezTo>
                    <a:pt x="61" y="55"/>
                    <a:pt x="63" y="54"/>
                    <a:pt x="65" y="53"/>
                  </a:cubicBezTo>
                  <a:cubicBezTo>
                    <a:pt x="67" y="52"/>
                    <a:pt x="71" y="53"/>
                    <a:pt x="73" y="51"/>
                  </a:cubicBezTo>
                  <a:cubicBezTo>
                    <a:pt x="75" y="50"/>
                    <a:pt x="77" y="48"/>
                    <a:pt x="79" y="47"/>
                  </a:cubicBezTo>
                  <a:cubicBezTo>
                    <a:pt x="80" y="45"/>
                    <a:pt x="79" y="43"/>
                    <a:pt x="80" y="42"/>
                  </a:cubicBezTo>
                  <a:cubicBezTo>
                    <a:pt x="84" y="40"/>
                    <a:pt x="88" y="39"/>
                    <a:pt x="92" y="37"/>
                  </a:cubicBezTo>
                  <a:cubicBezTo>
                    <a:pt x="95" y="36"/>
                    <a:pt x="98" y="35"/>
                    <a:pt x="102" y="33"/>
                  </a:cubicBezTo>
                  <a:cubicBezTo>
                    <a:pt x="105" y="32"/>
                    <a:pt x="107" y="30"/>
                    <a:pt x="110" y="29"/>
                  </a:cubicBezTo>
                  <a:cubicBezTo>
                    <a:pt x="112" y="28"/>
                    <a:pt x="114" y="27"/>
                    <a:pt x="116" y="27"/>
                  </a:cubicBezTo>
                  <a:cubicBezTo>
                    <a:pt x="119" y="26"/>
                    <a:pt x="122" y="27"/>
                    <a:pt x="124" y="26"/>
                  </a:cubicBezTo>
                  <a:cubicBezTo>
                    <a:pt x="126" y="25"/>
                    <a:pt x="127" y="24"/>
                    <a:pt x="128" y="2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7" name="Freeform 1078"/>
            <p:cNvSpPr>
              <a:spLocks noChangeAspect="1"/>
            </p:cNvSpPr>
            <p:nvPr/>
          </p:nvSpPr>
          <p:spPr bwMode="auto">
            <a:xfrm>
              <a:off x="2125663" y="1690688"/>
              <a:ext cx="260350" cy="114300"/>
            </a:xfrm>
            <a:custGeom>
              <a:avLst/>
              <a:gdLst>
                <a:gd name="T0" fmla="*/ 222343 w 137"/>
                <a:gd name="T1" fmla="*/ 45720 h 60"/>
                <a:gd name="T2" fmla="*/ 203339 w 137"/>
                <a:gd name="T3" fmla="*/ 49530 h 60"/>
                <a:gd name="T4" fmla="*/ 203339 w 137"/>
                <a:gd name="T5" fmla="*/ 32385 h 60"/>
                <a:gd name="T6" fmla="*/ 201439 w 137"/>
                <a:gd name="T7" fmla="*/ 19050 h 60"/>
                <a:gd name="T8" fmla="*/ 199538 w 137"/>
                <a:gd name="T9" fmla="*/ 0 h 60"/>
                <a:gd name="T10" fmla="*/ 171033 w 137"/>
                <a:gd name="T11" fmla="*/ 17145 h 60"/>
                <a:gd name="T12" fmla="*/ 171033 w 137"/>
                <a:gd name="T13" fmla="*/ 30480 h 60"/>
                <a:gd name="T14" fmla="*/ 165332 w 137"/>
                <a:gd name="T15" fmla="*/ 43815 h 60"/>
                <a:gd name="T16" fmla="*/ 182435 w 137"/>
                <a:gd name="T17" fmla="*/ 51435 h 60"/>
                <a:gd name="T18" fmla="*/ 169132 w 137"/>
                <a:gd name="T19" fmla="*/ 59055 h 60"/>
                <a:gd name="T20" fmla="*/ 146328 w 137"/>
                <a:gd name="T21" fmla="*/ 55245 h 60"/>
                <a:gd name="T22" fmla="*/ 138727 w 137"/>
                <a:gd name="T23" fmla="*/ 49530 h 60"/>
                <a:gd name="T24" fmla="*/ 119723 w 137"/>
                <a:gd name="T25" fmla="*/ 49530 h 60"/>
                <a:gd name="T26" fmla="*/ 114022 w 137"/>
                <a:gd name="T27" fmla="*/ 32385 h 60"/>
                <a:gd name="T28" fmla="*/ 98819 w 137"/>
                <a:gd name="T29" fmla="*/ 26670 h 60"/>
                <a:gd name="T30" fmla="*/ 89317 w 137"/>
                <a:gd name="T31" fmla="*/ 20955 h 60"/>
                <a:gd name="T32" fmla="*/ 74114 w 137"/>
                <a:gd name="T33" fmla="*/ 17145 h 60"/>
                <a:gd name="T34" fmla="*/ 51310 w 137"/>
                <a:gd name="T35" fmla="*/ 26670 h 60"/>
                <a:gd name="T36" fmla="*/ 66513 w 137"/>
                <a:gd name="T37" fmla="*/ 30480 h 60"/>
                <a:gd name="T38" fmla="*/ 45609 w 137"/>
                <a:gd name="T39" fmla="*/ 30480 h 60"/>
                <a:gd name="T40" fmla="*/ 26605 w 137"/>
                <a:gd name="T41" fmla="*/ 45720 h 60"/>
                <a:gd name="T42" fmla="*/ 58911 w 137"/>
                <a:gd name="T43" fmla="*/ 43815 h 60"/>
                <a:gd name="T44" fmla="*/ 45609 w 137"/>
                <a:gd name="T45" fmla="*/ 47625 h 60"/>
                <a:gd name="T46" fmla="*/ 22804 w 137"/>
                <a:gd name="T47" fmla="*/ 49530 h 60"/>
                <a:gd name="T48" fmla="*/ 13303 w 137"/>
                <a:gd name="T49" fmla="*/ 60960 h 60"/>
                <a:gd name="T50" fmla="*/ 47509 w 137"/>
                <a:gd name="T51" fmla="*/ 55245 h 60"/>
                <a:gd name="T52" fmla="*/ 45609 w 137"/>
                <a:gd name="T53" fmla="*/ 60960 h 60"/>
                <a:gd name="T54" fmla="*/ 11402 w 137"/>
                <a:gd name="T55" fmla="*/ 66675 h 60"/>
                <a:gd name="T56" fmla="*/ 1900 w 137"/>
                <a:gd name="T57" fmla="*/ 74295 h 60"/>
                <a:gd name="T58" fmla="*/ 28505 w 137"/>
                <a:gd name="T59" fmla="*/ 74295 h 60"/>
                <a:gd name="T60" fmla="*/ 43708 w 137"/>
                <a:gd name="T61" fmla="*/ 83820 h 60"/>
                <a:gd name="T62" fmla="*/ 53210 w 137"/>
                <a:gd name="T63" fmla="*/ 76200 h 60"/>
                <a:gd name="T64" fmla="*/ 68413 w 137"/>
                <a:gd name="T65" fmla="*/ 80010 h 60"/>
                <a:gd name="T66" fmla="*/ 74114 w 137"/>
                <a:gd name="T67" fmla="*/ 70485 h 60"/>
                <a:gd name="T68" fmla="*/ 79815 w 137"/>
                <a:gd name="T69" fmla="*/ 74295 h 60"/>
                <a:gd name="T70" fmla="*/ 98819 w 137"/>
                <a:gd name="T71" fmla="*/ 78105 h 60"/>
                <a:gd name="T72" fmla="*/ 110221 w 137"/>
                <a:gd name="T73" fmla="*/ 78105 h 60"/>
                <a:gd name="T74" fmla="*/ 129225 w 137"/>
                <a:gd name="T75" fmla="*/ 74295 h 60"/>
                <a:gd name="T76" fmla="*/ 121623 w 137"/>
                <a:gd name="T77" fmla="*/ 85725 h 60"/>
                <a:gd name="T78" fmla="*/ 95018 w 137"/>
                <a:gd name="T79" fmla="*/ 87630 h 60"/>
                <a:gd name="T80" fmla="*/ 81716 w 137"/>
                <a:gd name="T81" fmla="*/ 91440 h 60"/>
                <a:gd name="T82" fmla="*/ 62712 w 137"/>
                <a:gd name="T83" fmla="*/ 102870 h 60"/>
                <a:gd name="T84" fmla="*/ 98819 w 137"/>
                <a:gd name="T85" fmla="*/ 112395 h 60"/>
                <a:gd name="T86" fmla="*/ 131125 w 137"/>
                <a:gd name="T87" fmla="*/ 102870 h 60"/>
                <a:gd name="T88" fmla="*/ 163431 w 137"/>
                <a:gd name="T89" fmla="*/ 89535 h 60"/>
                <a:gd name="T90" fmla="*/ 190036 w 137"/>
                <a:gd name="T91" fmla="*/ 89535 h 60"/>
                <a:gd name="T92" fmla="*/ 207140 w 137"/>
                <a:gd name="T93" fmla="*/ 91440 h 60"/>
                <a:gd name="T94" fmla="*/ 235645 w 137"/>
                <a:gd name="T95" fmla="*/ 80010 h 60"/>
                <a:gd name="T96" fmla="*/ 250848 w 137"/>
                <a:gd name="T97" fmla="*/ 66675 h 60"/>
                <a:gd name="T98" fmla="*/ 250848 w 137"/>
                <a:gd name="T99" fmla="*/ 41910 h 60"/>
                <a:gd name="T100" fmla="*/ 229944 w 137"/>
                <a:gd name="T101" fmla="*/ 41910 h 6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37"/>
                <a:gd name="T154" fmla="*/ 0 h 60"/>
                <a:gd name="T155" fmla="*/ 137 w 137"/>
                <a:gd name="T156" fmla="*/ 60 h 6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37" h="60">
                  <a:moveTo>
                    <a:pt x="119" y="29"/>
                  </a:moveTo>
                  <a:cubicBezTo>
                    <a:pt x="117" y="30"/>
                    <a:pt x="118" y="25"/>
                    <a:pt x="117" y="24"/>
                  </a:cubicBezTo>
                  <a:cubicBezTo>
                    <a:pt x="116" y="23"/>
                    <a:pt x="114" y="22"/>
                    <a:pt x="113" y="23"/>
                  </a:cubicBezTo>
                  <a:cubicBezTo>
                    <a:pt x="111" y="23"/>
                    <a:pt x="109" y="27"/>
                    <a:pt x="107" y="26"/>
                  </a:cubicBezTo>
                  <a:cubicBezTo>
                    <a:pt x="106" y="24"/>
                    <a:pt x="110" y="22"/>
                    <a:pt x="110" y="20"/>
                  </a:cubicBezTo>
                  <a:cubicBezTo>
                    <a:pt x="110" y="18"/>
                    <a:pt x="107" y="19"/>
                    <a:pt x="107" y="17"/>
                  </a:cubicBezTo>
                  <a:cubicBezTo>
                    <a:pt x="106" y="16"/>
                    <a:pt x="108" y="15"/>
                    <a:pt x="108" y="14"/>
                  </a:cubicBezTo>
                  <a:cubicBezTo>
                    <a:pt x="108" y="13"/>
                    <a:pt x="106" y="12"/>
                    <a:pt x="106" y="10"/>
                  </a:cubicBezTo>
                  <a:cubicBezTo>
                    <a:pt x="106" y="8"/>
                    <a:pt x="108" y="6"/>
                    <a:pt x="108" y="3"/>
                  </a:cubicBezTo>
                  <a:cubicBezTo>
                    <a:pt x="108" y="2"/>
                    <a:pt x="107" y="0"/>
                    <a:pt x="105" y="0"/>
                  </a:cubicBezTo>
                  <a:cubicBezTo>
                    <a:pt x="103" y="0"/>
                    <a:pt x="101" y="3"/>
                    <a:pt x="98" y="4"/>
                  </a:cubicBezTo>
                  <a:cubicBezTo>
                    <a:pt x="96" y="6"/>
                    <a:pt x="93" y="7"/>
                    <a:pt x="90" y="9"/>
                  </a:cubicBezTo>
                  <a:cubicBezTo>
                    <a:pt x="88" y="10"/>
                    <a:pt x="86" y="12"/>
                    <a:pt x="86" y="14"/>
                  </a:cubicBezTo>
                  <a:cubicBezTo>
                    <a:pt x="86" y="16"/>
                    <a:pt x="89" y="15"/>
                    <a:pt x="90" y="16"/>
                  </a:cubicBezTo>
                  <a:cubicBezTo>
                    <a:pt x="92" y="17"/>
                    <a:pt x="95" y="18"/>
                    <a:pt x="94" y="20"/>
                  </a:cubicBezTo>
                  <a:cubicBezTo>
                    <a:pt x="93" y="22"/>
                    <a:pt x="88" y="20"/>
                    <a:pt x="87" y="23"/>
                  </a:cubicBezTo>
                  <a:cubicBezTo>
                    <a:pt x="86" y="24"/>
                    <a:pt x="90" y="24"/>
                    <a:pt x="91" y="24"/>
                  </a:cubicBezTo>
                  <a:cubicBezTo>
                    <a:pt x="93" y="25"/>
                    <a:pt x="95" y="25"/>
                    <a:pt x="96" y="27"/>
                  </a:cubicBezTo>
                  <a:cubicBezTo>
                    <a:pt x="97" y="28"/>
                    <a:pt x="96" y="30"/>
                    <a:pt x="95" y="31"/>
                  </a:cubicBezTo>
                  <a:cubicBezTo>
                    <a:pt x="93" y="32"/>
                    <a:pt x="91" y="31"/>
                    <a:pt x="89" y="31"/>
                  </a:cubicBezTo>
                  <a:cubicBezTo>
                    <a:pt x="87" y="31"/>
                    <a:pt x="85" y="31"/>
                    <a:pt x="83" y="31"/>
                  </a:cubicBezTo>
                  <a:cubicBezTo>
                    <a:pt x="81" y="30"/>
                    <a:pt x="79" y="29"/>
                    <a:pt x="77" y="29"/>
                  </a:cubicBezTo>
                  <a:cubicBezTo>
                    <a:pt x="75" y="29"/>
                    <a:pt x="74" y="32"/>
                    <a:pt x="72" y="31"/>
                  </a:cubicBezTo>
                  <a:cubicBezTo>
                    <a:pt x="71" y="30"/>
                    <a:pt x="75" y="28"/>
                    <a:pt x="73" y="26"/>
                  </a:cubicBezTo>
                  <a:cubicBezTo>
                    <a:pt x="72" y="25"/>
                    <a:pt x="70" y="26"/>
                    <a:pt x="68" y="26"/>
                  </a:cubicBezTo>
                  <a:cubicBezTo>
                    <a:pt x="66" y="26"/>
                    <a:pt x="63" y="28"/>
                    <a:pt x="63" y="26"/>
                  </a:cubicBezTo>
                  <a:cubicBezTo>
                    <a:pt x="63" y="25"/>
                    <a:pt x="68" y="25"/>
                    <a:pt x="67" y="23"/>
                  </a:cubicBezTo>
                  <a:cubicBezTo>
                    <a:pt x="67" y="20"/>
                    <a:pt x="63" y="19"/>
                    <a:pt x="60" y="17"/>
                  </a:cubicBezTo>
                  <a:cubicBezTo>
                    <a:pt x="59" y="16"/>
                    <a:pt x="59" y="14"/>
                    <a:pt x="57" y="14"/>
                  </a:cubicBezTo>
                  <a:cubicBezTo>
                    <a:pt x="56" y="13"/>
                    <a:pt x="54" y="14"/>
                    <a:pt x="52" y="14"/>
                  </a:cubicBezTo>
                  <a:cubicBezTo>
                    <a:pt x="50" y="15"/>
                    <a:pt x="47" y="17"/>
                    <a:pt x="46" y="15"/>
                  </a:cubicBezTo>
                  <a:cubicBezTo>
                    <a:pt x="44" y="15"/>
                    <a:pt x="47" y="13"/>
                    <a:pt x="47" y="11"/>
                  </a:cubicBezTo>
                  <a:cubicBezTo>
                    <a:pt x="47" y="11"/>
                    <a:pt x="48" y="9"/>
                    <a:pt x="47" y="9"/>
                  </a:cubicBezTo>
                  <a:cubicBezTo>
                    <a:pt x="44" y="9"/>
                    <a:pt x="42" y="9"/>
                    <a:pt x="39" y="9"/>
                  </a:cubicBezTo>
                  <a:cubicBezTo>
                    <a:pt x="37" y="10"/>
                    <a:pt x="34" y="10"/>
                    <a:pt x="32" y="11"/>
                  </a:cubicBezTo>
                  <a:cubicBezTo>
                    <a:pt x="30" y="12"/>
                    <a:pt x="27" y="12"/>
                    <a:pt x="27" y="14"/>
                  </a:cubicBezTo>
                  <a:cubicBezTo>
                    <a:pt x="27" y="16"/>
                    <a:pt x="30" y="15"/>
                    <a:pt x="32" y="16"/>
                  </a:cubicBezTo>
                  <a:cubicBezTo>
                    <a:pt x="33" y="16"/>
                    <a:pt x="36" y="15"/>
                    <a:pt x="35" y="16"/>
                  </a:cubicBezTo>
                  <a:cubicBezTo>
                    <a:pt x="35" y="17"/>
                    <a:pt x="33" y="18"/>
                    <a:pt x="32" y="18"/>
                  </a:cubicBezTo>
                  <a:cubicBezTo>
                    <a:pt x="29" y="18"/>
                    <a:pt x="27" y="15"/>
                    <a:pt x="24" y="16"/>
                  </a:cubicBezTo>
                  <a:cubicBezTo>
                    <a:pt x="21" y="16"/>
                    <a:pt x="18" y="18"/>
                    <a:pt x="16" y="20"/>
                  </a:cubicBezTo>
                  <a:cubicBezTo>
                    <a:pt x="15" y="21"/>
                    <a:pt x="12" y="24"/>
                    <a:pt x="14" y="24"/>
                  </a:cubicBezTo>
                  <a:cubicBezTo>
                    <a:pt x="17" y="26"/>
                    <a:pt x="20" y="23"/>
                    <a:pt x="23" y="23"/>
                  </a:cubicBezTo>
                  <a:cubicBezTo>
                    <a:pt x="26" y="23"/>
                    <a:pt x="29" y="22"/>
                    <a:pt x="31" y="23"/>
                  </a:cubicBezTo>
                  <a:cubicBezTo>
                    <a:pt x="32" y="23"/>
                    <a:pt x="33" y="25"/>
                    <a:pt x="32" y="25"/>
                  </a:cubicBezTo>
                  <a:cubicBezTo>
                    <a:pt x="30" y="26"/>
                    <a:pt x="27" y="25"/>
                    <a:pt x="24" y="25"/>
                  </a:cubicBezTo>
                  <a:cubicBezTo>
                    <a:pt x="22" y="25"/>
                    <a:pt x="20" y="26"/>
                    <a:pt x="18" y="26"/>
                  </a:cubicBezTo>
                  <a:cubicBezTo>
                    <a:pt x="16" y="27"/>
                    <a:pt x="13" y="26"/>
                    <a:pt x="12" y="26"/>
                  </a:cubicBezTo>
                  <a:cubicBezTo>
                    <a:pt x="10" y="27"/>
                    <a:pt x="8" y="28"/>
                    <a:pt x="7" y="30"/>
                  </a:cubicBezTo>
                  <a:cubicBezTo>
                    <a:pt x="7" y="30"/>
                    <a:pt x="7" y="32"/>
                    <a:pt x="7" y="32"/>
                  </a:cubicBezTo>
                  <a:cubicBezTo>
                    <a:pt x="10" y="32"/>
                    <a:pt x="13" y="32"/>
                    <a:pt x="16" y="32"/>
                  </a:cubicBezTo>
                  <a:cubicBezTo>
                    <a:pt x="19" y="31"/>
                    <a:pt x="22" y="29"/>
                    <a:pt x="25" y="29"/>
                  </a:cubicBezTo>
                  <a:cubicBezTo>
                    <a:pt x="26" y="29"/>
                    <a:pt x="29" y="29"/>
                    <a:pt x="29" y="30"/>
                  </a:cubicBezTo>
                  <a:cubicBezTo>
                    <a:pt x="28" y="32"/>
                    <a:pt x="25" y="31"/>
                    <a:pt x="24" y="32"/>
                  </a:cubicBezTo>
                  <a:cubicBezTo>
                    <a:pt x="21" y="33"/>
                    <a:pt x="17" y="35"/>
                    <a:pt x="14" y="35"/>
                  </a:cubicBezTo>
                  <a:cubicBezTo>
                    <a:pt x="11" y="36"/>
                    <a:pt x="9" y="35"/>
                    <a:pt x="6" y="35"/>
                  </a:cubicBezTo>
                  <a:cubicBezTo>
                    <a:pt x="4" y="35"/>
                    <a:pt x="3" y="35"/>
                    <a:pt x="1" y="36"/>
                  </a:cubicBezTo>
                  <a:cubicBezTo>
                    <a:pt x="0" y="37"/>
                    <a:pt x="0" y="39"/>
                    <a:pt x="1" y="39"/>
                  </a:cubicBezTo>
                  <a:cubicBezTo>
                    <a:pt x="3" y="41"/>
                    <a:pt x="6" y="42"/>
                    <a:pt x="9" y="42"/>
                  </a:cubicBezTo>
                  <a:cubicBezTo>
                    <a:pt x="11" y="42"/>
                    <a:pt x="13" y="39"/>
                    <a:pt x="15" y="39"/>
                  </a:cubicBezTo>
                  <a:cubicBezTo>
                    <a:pt x="16" y="40"/>
                    <a:pt x="16" y="43"/>
                    <a:pt x="18" y="44"/>
                  </a:cubicBezTo>
                  <a:cubicBezTo>
                    <a:pt x="19" y="45"/>
                    <a:pt x="21" y="45"/>
                    <a:pt x="23" y="44"/>
                  </a:cubicBezTo>
                  <a:cubicBezTo>
                    <a:pt x="24" y="43"/>
                    <a:pt x="22" y="41"/>
                    <a:pt x="23" y="40"/>
                  </a:cubicBezTo>
                  <a:cubicBezTo>
                    <a:pt x="24" y="39"/>
                    <a:pt x="27" y="39"/>
                    <a:pt x="28" y="40"/>
                  </a:cubicBezTo>
                  <a:cubicBezTo>
                    <a:pt x="29" y="42"/>
                    <a:pt x="25" y="45"/>
                    <a:pt x="27" y="45"/>
                  </a:cubicBezTo>
                  <a:cubicBezTo>
                    <a:pt x="30" y="46"/>
                    <a:pt x="34" y="44"/>
                    <a:pt x="36" y="42"/>
                  </a:cubicBezTo>
                  <a:cubicBezTo>
                    <a:pt x="37" y="41"/>
                    <a:pt x="36" y="39"/>
                    <a:pt x="37" y="37"/>
                  </a:cubicBezTo>
                  <a:cubicBezTo>
                    <a:pt x="37" y="36"/>
                    <a:pt x="38" y="37"/>
                    <a:pt x="39" y="37"/>
                  </a:cubicBezTo>
                  <a:cubicBezTo>
                    <a:pt x="41" y="37"/>
                    <a:pt x="42" y="35"/>
                    <a:pt x="44" y="36"/>
                  </a:cubicBezTo>
                  <a:cubicBezTo>
                    <a:pt x="45" y="36"/>
                    <a:pt x="42" y="38"/>
                    <a:pt x="42" y="39"/>
                  </a:cubicBezTo>
                  <a:cubicBezTo>
                    <a:pt x="41" y="39"/>
                    <a:pt x="39" y="41"/>
                    <a:pt x="40" y="42"/>
                  </a:cubicBezTo>
                  <a:cubicBezTo>
                    <a:pt x="44" y="43"/>
                    <a:pt x="48" y="42"/>
                    <a:pt x="52" y="41"/>
                  </a:cubicBezTo>
                  <a:cubicBezTo>
                    <a:pt x="54" y="41"/>
                    <a:pt x="54" y="39"/>
                    <a:pt x="56" y="39"/>
                  </a:cubicBezTo>
                  <a:cubicBezTo>
                    <a:pt x="57" y="39"/>
                    <a:pt x="57" y="41"/>
                    <a:pt x="58" y="41"/>
                  </a:cubicBezTo>
                  <a:cubicBezTo>
                    <a:pt x="59" y="41"/>
                    <a:pt x="60" y="41"/>
                    <a:pt x="61" y="41"/>
                  </a:cubicBezTo>
                  <a:cubicBezTo>
                    <a:pt x="64" y="40"/>
                    <a:pt x="66" y="39"/>
                    <a:pt x="68" y="39"/>
                  </a:cubicBezTo>
                  <a:cubicBezTo>
                    <a:pt x="69" y="39"/>
                    <a:pt x="72" y="39"/>
                    <a:pt x="71" y="40"/>
                  </a:cubicBezTo>
                  <a:cubicBezTo>
                    <a:pt x="70" y="42"/>
                    <a:pt x="67" y="44"/>
                    <a:pt x="64" y="45"/>
                  </a:cubicBezTo>
                  <a:cubicBezTo>
                    <a:pt x="62" y="46"/>
                    <a:pt x="60" y="44"/>
                    <a:pt x="57" y="45"/>
                  </a:cubicBezTo>
                  <a:cubicBezTo>
                    <a:pt x="55" y="45"/>
                    <a:pt x="52" y="45"/>
                    <a:pt x="50" y="46"/>
                  </a:cubicBezTo>
                  <a:cubicBezTo>
                    <a:pt x="48" y="47"/>
                    <a:pt x="47" y="48"/>
                    <a:pt x="45" y="48"/>
                  </a:cubicBezTo>
                  <a:cubicBezTo>
                    <a:pt x="44" y="48"/>
                    <a:pt x="43" y="48"/>
                    <a:pt x="43" y="48"/>
                  </a:cubicBezTo>
                  <a:cubicBezTo>
                    <a:pt x="39" y="49"/>
                    <a:pt x="36" y="50"/>
                    <a:pt x="33" y="52"/>
                  </a:cubicBezTo>
                  <a:cubicBezTo>
                    <a:pt x="33" y="52"/>
                    <a:pt x="33" y="54"/>
                    <a:pt x="33" y="54"/>
                  </a:cubicBezTo>
                  <a:cubicBezTo>
                    <a:pt x="35" y="57"/>
                    <a:pt x="38" y="59"/>
                    <a:pt x="40" y="59"/>
                  </a:cubicBezTo>
                  <a:cubicBezTo>
                    <a:pt x="44" y="60"/>
                    <a:pt x="48" y="60"/>
                    <a:pt x="52" y="59"/>
                  </a:cubicBezTo>
                  <a:cubicBezTo>
                    <a:pt x="55" y="59"/>
                    <a:pt x="57" y="56"/>
                    <a:pt x="61" y="55"/>
                  </a:cubicBezTo>
                  <a:cubicBezTo>
                    <a:pt x="63" y="54"/>
                    <a:pt x="66" y="55"/>
                    <a:pt x="69" y="54"/>
                  </a:cubicBezTo>
                  <a:cubicBezTo>
                    <a:pt x="71" y="53"/>
                    <a:pt x="71" y="49"/>
                    <a:pt x="73" y="48"/>
                  </a:cubicBezTo>
                  <a:cubicBezTo>
                    <a:pt x="78" y="47"/>
                    <a:pt x="82" y="48"/>
                    <a:pt x="86" y="47"/>
                  </a:cubicBezTo>
                  <a:cubicBezTo>
                    <a:pt x="90" y="46"/>
                    <a:pt x="92" y="42"/>
                    <a:pt x="95" y="42"/>
                  </a:cubicBezTo>
                  <a:cubicBezTo>
                    <a:pt x="97" y="42"/>
                    <a:pt x="98" y="47"/>
                    <a:pt x="100" y="47"/>
                  </a:cubicBezTo>
                  <a:cubicBezTo>
                    <a:pt x="102" y="47"/>
                    <a:pt x="103" y="43"/>
                    <a:pt x="106" y="43"/>
                  </a:cubicBezTo>
                  <a:cubicBezTo>
                    <a:pt x="108" y="43"/>
                    <a:pt x="107" y="48"/>
                    <a:pt x="109" y="48"/>
                  </a:cubicBezTo>
                  <a:cubicBezTo>
                    <a:pt x="112" y="48"/>
                    <a:pt x="114" y="44"/>
                    <a:pt x="116" y="43"/>
                  </a:cubicBezTo>
                  <a:cubicBezTo>
                    <a:pt x="119" y="42"/>
                    <a:pt x="122" y="43"/>
                    <a:pt x="124" y="42"/>
                  </a:cubicBezTo>
                  <a:cubicBezTo>
                    <a:pt x="126" y="41"/>
                    <a:pt x="125" y="38"/>
                    <a:pt x="126" y="37"/>
                  </a:cubicBezTo>
                  <a:cubicBezTo>
                    <a:pt x="127" y="35"/>
                    <a:pt x="131" y="37"/>
                    <a:pt x="132" y="35"/>
                  </a:cubicBezTo>
                  <a:cubicBezTo>
                    <a:pt x="133" y="32"/>
                    <a:pt x="135" y="29"/>
                    <a:pt x="136" y="25"/>
                  </a:cubicBezTo>
                  <a:cubicBezTo>
                    <a:pt x="137" y="24"/>
                    <a:pt x="133" y="23"/>
                    <a:pt x="132" y="22"/>
                  </a:cubicBezTo>
                  <a:cubicBezTo>
                    <a:pt x="129" y="21"/>
                    <a:pt x="127" y="18"/>
                    <a:pt x="125" y="18"/>
                  </a:cubicBezTo>
                  <a:cubicBezTo>
                    <a:pt x="123" y="18"/>
                    <a:pt x="122" y="20"/>
                    <a:pt x="121" y="22"/>
                  </a:cubicBezTo>
                  <a:cubicBezTo>
                    <a:pt x="120" y="24"/>
                    <a:pt x="122" y="28"/>
                    <a:pt x="119" y="2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8" name="Freeform 1079"/>
            <p:cNvSpPr>
              <a:spLocks noChangeAspect="1"/>
            </p:cNvSpPr>
            <p:nvPr/>
          </p:nvSpPr>
          <p:spPr bwMode="auto">
            <a:xfrm>
              <a:off x="2032000" y="1662113"/>
              <a:ext cx="166688" cy="79375"/>
            </a:xfrm>
            <a:custGeom>
              <a:avLst/>
              <a:gdLst>
                <a:gd name="T0" fmla="*/ 145852 w 88"/>
                <a:gd name="T1" fmla="*/ 0 h 42"/>
                <a:gd name="T2" fmla="*/ 164794 w 88"/>
                <a:gd name="T3" fmla="*/ 11339 h 42"/>
                <a:gd name="T4" fmla="*/ 162900 w 88"/>
                <a:gd name="T5" fmla="*/ 15119 h 42"/>
                <a:gd name="T6" fmla="*/ 151535 w 88"/>
                <a:gd name="T7" fmla="*/ 18899 h 42"/>
                <a:gd name="T8" fmla="*/ 145852 w 88"/>
                <a:gd name="T9" fmla="*/ 18899 h 42"/>
                <a:gd name="T10" fmla="*/ 149640 w 88"/>
                <a:gd name="T11" fmla="*/ 32128 h 42"/>
                <a:gd name="T12" fmla="*/ 140169 w 88"/>
                <a:gd name="T13" fmla="*/ 32128 h 42"/>
                <a:gd name="T14" fmla="*/ 143958 w 88"/>
                <a:gd name="T15" fmla="*/ 39688 h 42"/>
                <a:gd name="T16" fmla="*/ 125016 w 88"/>
                <a:gd name="T17" fmla="*/ 41577 h 42"/>
                <a:gd name="T18" fmla="*/ 117439 w 88"/>
                <a:gd name="T19" fmla="*/ 54807 h 42"/>
                <a:gd name="T20" fmla="*/ 106074 w 88"/>
                <a:gd name="T21" fmla="*/ 58586 h 42"/>
                <a:gd name="T22" fmla="*/ 98497 w 88"/>
                <a:gd name="T23" fmla="*/ 49137 h 42"/>
                <a:gd name="T24" fmla="*/ 104180 w 88"/>
                <a:gd name="T25" fmla="*/ 39688 h 42"/>
                <a:gd name="T26" fmla="*/ 107968 w 88"/>
                <a:gd name="T27" fmla="*/ 34018 h 42"/>
                <a:gd name="T28" fmla="*/ 98497 w 88"/>
                <a:gd name="T29" fmla="*/ 35908 h 42"/>
                <a:gd name="T30" fmla="*/ 89027 w 88"/>
                <a:gd name="T31" fmla="*/ 45357 h 42"/>
                <a:gd name="T32" fmla="*/ 81450 w 88"/>
                <a:gd name="T33" fmla="*/ 47247 h 42"/>
                <a:gd name="T34" fmla="*/ 89027 w 88"/>
                <a:gd name="T35" fmla="*/ 56696 h 42"/>
                <a:gd name="T36" fmla="*/ 75767 w 88"/>
                <a:gd name="T37" fmla="*/ 62366 h 42"/>
                <a:gd name="T38" fmla="*/ 71979 w 88"/>
                <a:gd name="T39" fmla="*/ 60476 h 42"/>
                <a:gd name="T40" fmla="*/ 70085 w 88"/>
                <a:gd name="T41" fmla="*/ 56696 h 42"/>
                <a:gd name="T42" fmla="*/ 68191 w 88"/>
                <a:gd name="T43" fmla="*/ 60476 h 42"/>
                <a:gd name="T44" fmla="*/ 58720 w 88"/>
                <a:gd name="T45" fmla="*/ 75595 h 42"/>
                <a:gd name="T46" fmla="*/ 45460 w 88"/>
                <a:gd name="T47" fmla="*/ 75595 h 42"/>
                <a:gd name="T48" fmla="*/ 45460 w 88"/>
                <a:gd name="T49" fmla="*/ 60476 h 42"/>
                <a:gd name="T50" fmla="*/ 41672 w 88"/>
                <a:gd name="T51" fmla="*/ 58586 h 42"/>
                <a:gd name="T52" fmla="*/ 35989 w 88"/>
                <a:gd name="T53" fmla="*/ 71815 h 42"/>
                <a:gd name="T54" fmla="*/ 30307 w 88"/>
                <a:gd name="T55" fmla="*/ 71815 h 42"/>
                <a:gd name="T56" fmla="*/ 18942 w 88"/>
                <a:gd name="T57" fmla="*/ 66146 h 42"/>
                <a:gd name="T58" fmla="*/ 7577 w 88"/>
                <a:gd name="T59" fmla="*/ 73705 h 42"/>
                <a:gd name="T60" fmla="*/ 0 w 88"/>
                <a:gd name="T61" fmla="*/ 68036 h 42"/>
                <a:gd name="T62" fmla="*/ 7577 w 88"/>
                <a:gd name="T63" fmla="*/ 56696 h 42"/>
                <a:gd name="T64" fmla="*/ 22730 w 88"/>
                <a:gd name="T65" fmla="*/ 51027 h 42"/>
                <a:gd name="T66" fmla="*/ 30307 w 88"/>
                <a:gd name="T67" fmla="*/ 52917 h 42"/>
                <a:gd name="T68" fmla="*/ 41672 w 88"/>
                <a:gd name="T69" fmla="*/ 39688 h 42"/>
                <a:gd name="T70" fmla="*/ 58720 w 88"/>
                <a:gd name="T71" fmla="*/ 32128 h 42"/>
                <a:gd name="T72" fmla="*/ 81450 w 88"/>
                <a:gd name="T73" fmla="*/ 17009 h 42"/>
                <a:gd name="T74" fmla="*/ 89027 w 88"/>
                <a:gd name="T75" fmla="*/ 9449 h 42"/>
                <a:gd name="T76" fmla="*/ 106074 w 88"/>
                <a:gd name="T77" fmla="*/ 7560 h 42"/>
                <a:gd name="T78" fmla="*/ 117439 w 88"/>
                <a:gd name="T79" fmla="*/ 7560 h 42"/>
                <a:gd name="T80" fmla="*/ 128804 w 88"/>
                <a:gd name="T81" fmla="*/ 13229 h 42"/>
                <a:gd name="T82" fmla="*/ 136381 w 88"/>
                <a:gd name="T83" fmla="*/ 11339 h 42"/>
                <a:gd name="T84" fmla="*/ 136381 w 88"/>
                <a:gd name="T85" fmla="*/ 3780 h 42"/>
                <a:gd name="T86" fmla="*/ 145852 w 88"/>
                <a:gd name="T87" fmla="*/ 0 h 4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88"/>
                <a:gd name="T133" fmla="*/ 0 h 42"/>
                <a:gd name="T134" fmla="*/ 88 w 88"/>
                <a:gd name="T135" fmla="*/ 42 h 4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88" h="42">
                  <a:moveTo>
                    <a:pt x="77" y="0"/>
                  </a:moveTo>
                  <a:cubicBezTo>
                    <a:pt x="81" y="1"/>
                    <a:pt x="85" y="3"/>
                    <a:pt x="87" y="6"/>
                  </a:cubicBezTo>
                  <a:cubicBezTo>
                    <a:pt x="88" y="6"/>
                    <a:pt x="87" y="8"/>
                    <a:pt x="86" y="8"/>
                  </a:cubicBezTo>
                  <a:cubicBezTo>
                    <a:pt x="84" y="9"/>
                    <a:pt x="82" y="10"/>
                    <a:pt x="80" y="10"/>
                  </a:cubicBezTo>
                  <a:cubicBezTo>
                    <a:pt x="79" y="11"/>
                    <a:pt x="77" y="9"/>
                    <a:pt x="77" y="10"/>
                  </a:cubicBezTo>
                  <a:cubicBezTo>
                    <a:pt x="77" y="13"/>
                    <a:pt x="80" y="15"/>
                    <a:pt x="79" y="17"/>
                  </a:cubicBezTo>
                  <a:cubicBezTo>
                    <a:pt x="79" y="19"/>
                    <a:pt x="75" y="16"/>
                    <a:pt x="74" y="17"/>
                  </a:cubicBezTo>
                  <a:cubicBezTo>
                    <a:pt x="73" y="18"/>
                    <a:pt x="77" y="20"/>
                    <a:pt x="76" y="21"/>
                  </a:cubicBezTo>
                  <a:cubicBezTo>
                    <a:pt x="74" y="23"/>
                    <a:pt x="69" y="21"/>
                    <a:pt x="66" y="22"/>
                  </a:cubicBezTo>
                  <a:cubicBezTo>
                    <a:pt x="64" y="24"/>
                    <a:pt x="64" y="27"/>
                    <a:pt x="62" y="29"/>
                  </a:cubicBezTo>
                  <a:cubicBezTo>
                    <a:pt x="60" y="30"/>
                    <a:pt x="58" y="31"/>
                    <a:pt x="56" y="31"/>
                  </a:cubicBezTo>
                  <a:cubicBezTo>
                    <a:pt x="54" y="30"/>
                    <a:pt x="53" y="28"/>
                    <a:pt x="52" y="26"/>
                  </a:cubicBezTo>
                  <a:cubicBezTo>
                    <a:pt x="52" y="24"/>
                    <a:pt x="54" y="23"/>
                    <a:pt x="55" y="21"/>
                  </a:cubicBezTo>
                  <a:cubicBezTo>
                    <a:pt x="56" y="20"/>
                    <a:pt x="58" y="18"/>
                    <a:pt x="57" y="18"/>
                  </a:cubicBezTo>
                  <a:cubicBezTo>
                    <a:pt x="56" y="17"/>
                    <a:pt x="54" y="18"/>
                    <a:pt x="52" y="19"/>
                  </a:cubicBezTo>
                  <a:cubicBezTo>
                    <a:pt x="50" y="21"/>
                    <a:pt x="49" y="23"/>
                    <a:pt x="47" y="24"/>
                  </a:cubicBezTo>
                  <a:cubicBezTo>
                    <a:pt x="46" y="25"/>
                    <a:pt x="43" y="24"/>
                    <a:pt x="43" y="25"/>
                  </a:cubicBezTo>
                  <a:cubicBezTo>
                    <a:pt x="43" y="27"/>
                    <a:pt x="47" y="28"/>
                    <a:pt x="47" y="30"/>
                  </a:cubicBezTo>
                  <a:cubicBezTo>
                    <a:pt x="46" y="32"/>
                    <a:pt x="42" y="33"/>
                    <a:pt x="40" y="33"/>
                  </a:cubicBezTo>
                  <a:cubicBezTo>
                    <a:pt x="39" y="34"/>
                    <a:pt x="39" y="32"/>
                    <a:pt x="38" y="32"/>
                  </a:cubicBezTo>
                  <a:cubicBezTo>
                    <a:pt x="38" y="31"/>
                    <a:pt x="38" y="29"/>
                    <a:pt x="37" y="30"/>
                  </a:cubicBezTo>
                  <a:cubicBezTo>
                    <a:pt x="36" y="30"/>
                    <a:pt x="36" y="32"/>
                    <a:pt x="36" y="32"/>
                  </a:cubicBezTo>
                  <a:cubicBezTo>
                    <a:pt x="34" y="35"/>
                    <a:pt x="34" y="38"/>
                    <a:pt x="31" y="40"/>
                  </a:cubicBezTo>
                  <a:cubicBezTo>
                    <a:pt x="29" y="41"/>
                    <a:pt x="25" y="42"/>
                    <a:pt x="24" y="40"/>
                  </a:cubicBezTo>
                  <a:cubicBezTo>
                    <a:pt x="22" y="38"/>
                    <a:pt x="25" y="35"/>
                    <a:pt x="24" y="32"/>
                  </a:cubicBezTo>
                  <a:cubicBezTo>
                    <a:pt x="24" y="31"/>
                    <a:pt x="22" y="31"/>
                    <a:pt x="22" y="31"/>
                  </a:cubicBezTo>
                  <a:cubicBezTo>
                    <a:pt x="20" y="33"/>
                    <a:pt x="21" y="36"/>
                    <a:pt x="19" y="38"/>
                  </a:cubicBezTo>
                  <a:cubicBezTo>
                    <a:pt x="18" y="39"/>
                    <a:pt x="17" y="39"/>
                    <a:pt x="16" y="38"/>
                  </a:cubicBezTo>
                  <a:cubicBezTo>
                    <a:pt x="13" y="38"/>
                    <a:pt x="12" y="35"/>
                    <a:pt x="10" y="35"/>
                  </a:cubicBezTo>
                  <a:cubicBezTo>
                    <a:pt x="7" y="35"/>
                    <a:pt x="6" y="39"/>
                    <a:pt x="4" y="39"/>
                  </a:cubicBezTo>
                  <a:cubicBezTo>
                    <a:pt x="2" y="40"/>
                    <a:pt x="0" y="38"/>
                    <a:pt x="0" y="36"/>
                  </a:cubicBezTo>
                  <a:cubicBezTo>
                    <a:pt x="0" y="34"/>
                    <a:pt x="2" y="31"/>
                    <a:pt x="4" y="30"/>
                  </a:cubicBezTo>
                  <a:cubicBezTo>
                    <a:pt x="7" y="28"/>
                    <a:pt x="9" y="27"/>
                    <a:pt x="12" y="27"/>
                  </a:cubicBezTo>
                  <a:cubicBezTo>
                    <a:pt x="13" y="27"/>
                    <a:pt x="15" y="29"/>
                    <a:pt x="16" y="28"/>
                  </a:cubicBezTo>
                  <a:cubicBezTo>
                    <a:pt x="19" y="27"/>
                    <a:pt x="20" y="23"/>
                    <a:pt x="22" y="21"/>
                  </a:cubicBezTo>
                  <a:cubicBezTo>
                    <a:pt x="25" y="19"/>
                    <a:pt x="28" y="19"/>
                    <a:pt x="31" y="17"/>
                  </a:cubicBezTo>
                  <a:cubicBezTo>
                    <a:pt x="35" y="15"/>
                    <a:pt x="39" y="12"/>
                    <a:pt x="43" y="9"/>
                  </a:cubicBezTo>
                  <a:cubicBezTo>
                    <a:pt x="44" y="8"/>
                    <a:pt x="45" y="6"/>
                    <a:pt x="47" y="5"/>
                  </a:cubicBezTo>
                  <a:cubicBezTo>
                    <a:pt x="50" y="4"/>
                    <a:pt x="53" y="4"/>
                    <a:pt x="56" y="4"/>
                  </a:cubicBezTo>
                  <a:cubicBezTo>
                    <a:pt x="58" y="3"/>
                    <a:pt x="60" y="3"/>
                    <a:pt x="62" y="4"/>
                  </a:cubicBezTo>
                  <a:cubicBezTo>
                    <a:pt x="64" y="4"/>
                    <a:pt x="66" y="7"/>
                    <a:pt x="68" y="7"/>
                  </a:cubicBezTo>
                  <a:cubicBezTo>
                    <a:pt x="70" y="8"/>
                    <a:pt x="71" y="7"/>
                    <a:pt x="72" y="6"/>
                  </a:cubicBezTo>
                  <a:cubicBezTo>
                    <a:pt x="73" y="5"/>
                    <a:pt x="71" y="3"/>
                    <a:pt x="72" y="2"/>
                  </a:cubicBezTo>
                  <a:cubicBezTo>
                    <a:pt x="73" y="0"/>
                    <a:pt x="75" y="0"/>
                    <a:pt x="77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79" name="Freeform 1080"/>
            <p:cNvSpPr>
              <a:spLocks noChangeAspect="1"/>
            </p:cNvSpPr>
            <p:nvPr/>
          </p:nvSpPr>
          <p:spPr bwMode="auto">
            <a:xfrm>
              <a:off x="2097088" y="1727200"/>
              <a:ext cx="39687" cy="28575"/>
            </a:xfrm>
            <a:custGeom>
              <a:avLst/>
              <a:gdLst>
                <a:gd name="T0" fmla="*/ 1890 w 21"/>
                <a:gd name="T1" fmla="*/ 17145 h 15"/>
                <a:gd name="T2" fmla="*/ 1890 w 21"/>
                <a:gd name="T3" fmla="*/ 20955 h 15"/>
                <a:gd name="T4" fmla="*/ 15119 w 21"/>
                <a:gd name="T5" fmla="*/ 28575 h 15"/>
                <a:gd name="T6" fmla="*/ 22678 w 21"/>
                <a:gd name="T7" fmla="*/ 19050 h 15"/>
                <a:gd name="T8" fmla="*/ 39687 w 21"/>
                <a:gd name="T9" fmla="*/ 5715 h 15"/>
                <a:gd name="T10" fmla="*/ 37797 w 21"/>
                <a:gd name="T11" fmla="*/ 1905 h 15"/>
                <a:gd name="T12" fmla="*/ 28348 w 21"/>
                <a:gd name="T13" fmla="*/ 5715 h 15"/>
                <a:gd name="T14" fmla="*/ 15119 w 21"/>
                <a:gd name="T15" fmla="*/ 9525 h 15"/>
                <a:gd name="T16" fmla="*/ 1890 w 21"/>
                <a:gd name="T17" fmla="*/ 17145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5"/>
                <a:gd name="T29" fmla="*/ 21 w 21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5">
                  <a:moveTo>
                    <a:pt x="1" y="9"/>
                  </a:moveTo>
                  <a:cubicBezTo>
                    <a:pt x="0" y="9"/>
                    <a:pt x="0" y="11"/>
                    <a:pt x="1" y="11"/>
                  </a:cubicBezTo>
                  <a:cubicBezTo>
                    <a:pt x="3" y="13"/>
                    <a:pt x="5" y="15"/>
                    <a:pt x="8" y="15"/>
                  </a:cubicBezTo>
                  <a:cubicBezTo>
                    <a:pt x="10" y="15"/>
                    <a:pt x="11" y="12"/>
                    <a:pt x="12" y="10"/>
                  </a:cubicBezTo>
                  <a:cubicBezTo>
                    <a:pt x="15" y="8"/>
                    <a:pt x="19" y="6"/>
                    <a:pt x="21" y="3"/>
                  </a:cubicBezTo>
                  <a:cubicBezTo>
                    <a:pt x="21" y="2"/>
                    <a:pt x="21" y="1"/>
                    <a:pt x="20" y="1"/>
                  </a:cubicBezTo>
                  <a:cubicBezTo>
                    <a:pt x="18" y="0"/>
                    <a:pt x="17" y="2"/>
                    <a:pt x="15" y="3"/>
                  </a:cubicBezTo>
                  <a:cubicBezTo>
                    <a:pt x="13" y="4"/>
                    <a:pt x="10" y="4"/>
                    <a:pt x="8" y="5"/>
                  </a:cubicBezTo>
                  <a:cubicBezTo>
                    <a:pt x="5" y="6"/>
                    <a:pt x="3" y="7"/>
                    <a:pt x="1" y="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0" name="Freeform 1081"/>
            <p:cNvSpPr>
              <a:spLocks noChangeAspect="1"/>
            </p:cNvSpPr>
            <p:nvPr/>
          </p:nvSpPr>
          <p:spPr bwMode="auto">
            <a:xfrm>
              <a:off x="2201863" y="1690688"/>
              <a:ext cx="30162" cy="9525"/>
            </a:xfrm>
            <a:custGeom>
              <a:avLst/>
              <a:gdLst>
                <a:gd name="T0" fmla="*/ 3770 w 16"/>
                <a:gd name="T1" fmla="*/ 0 h 5"/>
                <a:gd name="T2" fmla="*/ 1885 w 16"/>
                <a:gd name="T3" fmla="*/ 5715 h 5"/>
                <a:gd name="T4" fmla="*/ 24507 w 16"/>
                <a:gd name="T5" fmla="*/ 9525 h 5"/>
                <a:gd name="T6" fmla="*/ 30162 w 16"/>
                <a:gd name="T7" fmla="*/ 3810 h 5"/>
                <a:gd name="T8" fmla="*/ 20736 w 16"/>
                <a:gd name="T9" fmla="*/ 1905 h 5"/>
                <a:gd name="T10" fmla="*/ 11311 w 16"/>
                <a:gd name="T11" fmla="*/ 1905 h 5"/>
                <a:gd name="T12" fmla="*/ 3770 w 16"/>
                <a:gd name="T13" fmla="*/ 0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5"/>
                <a:gd name="T23" fmla="*/ 16 w 1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5">
                  <a:moveTo>
                    <a:pt x="2" y="0"/>
                  </a:moveTo>
                  <a:cubicBezTo>
                    <a:pt x="1" y="1"/>
                    <a:pt x="0" y="3"/>
                    <a:pt x="1" y="3"/>
                  </a:cubicBezTo>
                  <a:cubicBezTo>
                    <a:pt x="4" y="5"/>
                    <a:pt x="9" y="5"/>
                    <a:pt x="13" y="5"/>
                  </a:cubicBezTo>
                  <a:cubicBezTo>
                    <a:pt x="14" y="5"/>
                    <a:pt x="16" y="3"/>
                    <a:pt x="16" y="2"/>
                  </a:cubicBezTo>
                  <a:cubicBezTo>
                    <a:pt x="15" y="1"/>
                    <a:pt x="13" y="1"/>
                    <a:pt x="11" y="1"/>
                  </a:cubicBezTo>
                  <a:cubicBezTo>
                    <a:pt x="9" y="0"/>
                    <a:pt x="7" y="1"/>
                    <a:pt x="6" y="1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1" name="Freeform 1082"/>
            <p:cNvSpPr>
              <a:spLocks noChangeAspect="1"/>
            </p:cNvSpPr>
            <p:nvPr/>
          </p:nvSpPr>
          <p:spPr bwMode="auto">
            <a:xfrm>
              <a:off x="2214563" y="1639888"/>
              <a:ext cx="26987" cy="19050"/>
            </a:xfrm>
            <a:custGeom>
              <a:avLst/>
              <a:gdLst>
                <a:gd name="T0" fmla="*/ 0 w 14"/>
                <a:gd name="T1" fmla="*/ 3810 h 10"/>
                <a:gd name="T2" fmla="*/ 0 w 14"/>
                <a:gd name="T3" fmla="*/ 7620 h 10"/>
                <a:gd name="T4" fmla="*/ 11566 w 14"/>
                <a:gd name="T5" fmla="*/ 13335 h 10"/>
                <a:gd name="T6" fmla="*/ 15421 w 14"/>
                <a:gd name="T7" fmla="*/ 19050 h 10"/>
                <a:gd name="T8" fmla="*/ 25059 w 14"/>
                <a:gd name="T9" fmla="*/ 13335 h 10"/>
                <a:gd name="T10" fmla="*/ 21204 w 14"/>
                <a:gd name="T11" fmla="*/ 5715 h 10"/>
                <a:gd name="T12" fmla="*/ 17349 w 14"/>
                <a:gd name="T13" fmla="*/ 1905 h 10"/>
                <a:gd name="T14" fmla="*/ 5783 w 14"/>
                <a:gd name="T15" fmla="*/ 1905 h 10"/>
                <a:gd name="T16" fmla="*/ 0 w 14"/>
                <a:gd name="T17" fmla="*/ 381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0"/>
                <a:gd name="T29" fmla="*/ 14 w 14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0">
                  <a:moveTo>
                    <a:pt x="0" y="2"/>
                  </a:moveTo>
                  <a:cubicBezTo>
                    <a:pt x="0" y="3"/>
                    <a:pt x="0" y="4"/>
                    <a:pt x="0" y="4"/>
                  </a:cubicBezTo>
                  <a:cubicBezTo>
                    <a:pt x="2" y="6"/>
                    <a:pt x="4" y="6"/>
                    <a:pt x="6" y="7"/>
                  </a:cubicBezTo>
                  <a:cubicBezTo>
                    <a:pt x="7" y="8"/>
                    <a:pt x="7" y="10"/>
                    <a:pt x="8" y="10"/>
                  </a:cubicBezTo>
                  <a:cubicBezTo>
                    <a:pt x="10" y="9"/>
                    <a:pt x="13" y="9"/>
                    <a:pt x="13" y="7"/>
                  </a:cubicBezTo>
                  <a:cubicBezTo>
                    <a:pt x="14" y="6"/>
                    <a:pt x="12" y="4"/>
                    <a:pt x="11" y="3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7" y="0"/>
                    <a:pt x="5" y="1"/>
                    <a:pt x="3" y="1"/>
                  </a:cubicBezTo>
                  <a:cubicBezTo>
                    <a:pt x="2" y="1"/>
                    <a:pt x="1" y="1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2" name="Freeform 1083"/>
            <p:cNvSpPr>
              <a:spLocks noChangeAspect="1"/>
            </p:cNvSpPr>
            <p:nvPr/>
          </p:nvSpPr>
          <p:spPr bwMode="auto">
            <a:xfrm>
              <a:off x="2244725" y="1635125"/>
              <a:ext cx="80963" cy="39688"/>
            </a:xfrm>
            <a:custGeom>
              <a:avLst/>
              <a:gdLst>
                <a:gd name="T0" fmla="*/ 3855 w 42"/>
                <a:gd name="T1" fmla="*/ 11339 h 21"/>
                <a:gd name="T2" fmla="*/ 0 w 42"/>
                <a:gd name="T3" fmla="*/ 26459 h 21"/>
                <a:gd name="T4" fmla="*/ 9638 w 42"/>
                <a:gd name="T5" fmla="*/ 35908 h 21"/>
                <a:gd name="T6" fmla="*/ 19277 w 42"/>
                <a:gd name="T7" fmla="*/ 39688 h 21"/>
                <a:gd name="T8" fmla="*/ 36626 w 42"/>
                <a:gd name="T9" fmla="*/ 32128 h 21"/>
                <a:gd name="T10" fmla="*/ 46265 w 42"/>
                <a:gd name="T11" fmla="*/ 34018 h 21"/>
                <a:gd name="T12" fmla="*/ 53975 w 42"/>
                <a:gd name="T13" fmla="*/ 32128 h 21"/>
                <a:gd name="T14" fmla="*/ 65541 w 42"/>
                <a:gd name="T15" fmla="*/ 26459 h 21"/>
                <a:gd name="T16" fmla="*/ 65541 w 42"/>
                <a:gd name="T17" fmla="*/ 20789 h 21"/>
                <a:gd name="T18" fmla="*/ 53975 w 42"/>
                <a:gd name="T19" fmla="*/ 18899 h 21"/>
                <a:gd name="T20" fmla="*/ 46265 w 42"/>
                <a:gd name="T21" fmla="*/ 17009 h 21"/>
                <a:gd name="T22" fmla="*/ 57831 w 42"/>
                <a:gd name="T23" fmla="*/ 11339 h 21"/>
                <a:gd name="T24" fmla="*/ 73252 w 42"/>
                <a:gd name="T25" fmla="*/ 11339 h 21"/>
                <a:gd name="T26" fmla="*/ 79035 w 42"/>
                <a:gd name="T27" fmla="*/ 3780 h 21"/>
                <a:gd name="T28" fmla="*/ 71325 w 42"/>
                <a:gd name="T29" fmla="*/ 0 h 21"/>
                <a:gd name="T30" fmla="*/ 50120 w 42"/>
                <a:gd name="T31" fmla="*/ 1890 h 21"/>
                <a:gd name="T32" fmla="*/ 30843 w 42"/>
                <a:gd name="T33" fmla="*/ 5670 h 21"/>
                <a:gd name="T34" fmla="*/ 17349 w 42"/>
                <a:gd name="T35" fmla="*/ 9450 h 21"/>
                <a:gd name="T36" fmla="*/ 3855 w 42"/>
                <a:gd name="T37" fmla="*/ 11339 h 2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2"/>
                <a:gd name="T58" fmla="*/ 0 h 21"/>
                <a:gd name="T59" fmla="*/ 42 w 42"/>
                <a:gd name="T60" fmla="*/ 21 h 2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2" h="21">
                  <a:moveTo>
                    <a:pt x="2" y="6"/>
                  </a:moveTo>
                  <a:cubicBezTo>
                    <a:pt x="0" y="8"/>
                    <a:pt x="0" y="11"/>
                    <a:pt x="0" y="14"/>
                  </a:cubicBezTo>
                  <a:cubicBezTo>
                    <a:pt x="1" y="16"/>
                    <a:pt x="3" y="18"/>
                    <a:pt x="5" y="19"/>
                  </a:cubicBezTo>
                  <a:cubicBezTo>
                    <a:pt x="7" y="20"/>
                    <a:pt x="9" y="21"/>
                    <a:pt x="10" y="21"/>
                  </a:cubicBezTo>
                  <a:cubicBezTo>
                    <a:pt x="13" y="20"/>
                    <a:pt x="16" y="17"/>
                    <a:pt x="19" y="17"/>
                  </a:cubicBezTo>
                  <a:cubicBezTo>
                    <a:pt x="21" y="17"/>
                    <a:pt x="22" y="18"/>
                    <a:pt x="24" y="18"/>
                  </a:cubicBezTo>
                  <a:cubicBezTo>
                    <a:pt x="26" y="19"/>
                    <a:pt x="27" y="18"/>
                    <a:pt x="28" y="17"/>
                  </a:cubicBezTo>
                  <a:cubicBezTo>
                    <a:pt x="30" y="17"/>
                    <a:pt x="32" y="16"/>
                    <a:pt x="34" y="14"/>
                  </a:cubicBezTo>
                  <a:cubicBezTo>
                    <a:pt x="34" y="13"/>
                    <a:pt x="35" y="12"/>
                    <a:pt x="34" y="11"/>
                  </a:cubicBezTo>
                  <a:cubicBezTo>
                    <a:pt x="32" y="10"/>
                    <a:pt x="30" y="11"/>
                    <a:pt x="28" y="10"/>
                  </a:cubicBezTo>
                  <a:cubicBezTo>
                    <a:pt x="27" y="10"/>
                    <a:pt x="23" y="10"/>
                    <a:pt x="24" y="9"/>
                  </a:cubicBezTo>
                  <a:cubicBezTo>
                    <a:pt x="25" y="7"/>
                    <a:pt x="28" y="7"/>
                    <a:pt x="30" y="6"/>
                  </a:cubicBezTo>
                  <a:cubicBezTo>
                    <a:pt x="33" y="6"/>
                    <a:pt x="35" y="6"/>
                    <a:pt x="38" y="6"/>
                  </a:cubicBezTo>
                  <a:cubicBezTo>
                    <a:pt x="39" y="5"/>
                    <a:pt x="42" y="4"/>
                    <a:pt x="41" y="2"/>
                  </a:cubicBezTo>
                  <a:cubicBezTo>
                    <a:pt x="41" y="1"/>
                    <a:pt x="39" y="1"/>
                    <a:pt x="37" y="0"/>
                  </a:cubicBezTo>
                  <a:cubicBezTo>
                    <a:pt x="33" y="0"/>
                    <a:pt x="30" y="1"/>
                    <a:pt x="26" y="1"/>
                  </a:cubicBezTo>
                  <a:cubicBezTo>
                    <a:pt x="23" y="2"/>
                    <a:pt x="20" y="2"/>
                    <a:pt x="16" y="3"/>
                  </a:cubicBezTo>
                  <a:cubicBezTo>
                    <a:pt x="14" y="4"/>
                    <a:pt x="11" y="4"/>
                    <a:pt x="9" y="5"/>
                  </a:cubicBezTo>
                  <a:cubicBezTo>
                    <a:pt x="6" y="6"/>
                    <a:pt x="4" y="5"/>
                    <a:pt x="2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3" name="Freeform 1084"/>
            <p:cNvSpPr>
              <a:spLocks noChangeAspect="1"/>
            </p:cNvSpPr>
            <p:nvPr/>
          </p:nvSpPr>
          <p:spPr bwMode="auto">
            <a:xfrm>
              <a:off x="2254250" y="1604963"/>
              <a:ext cx="76200" cy="25400"/>
            </a:xfrm>
            <a:custGeom>
              <a:avLst/>
              <a:gdLst>
                <a:gd name="T0" fmla="*/ 66675 w 40"/>
                <a:gd name="T1" fmla="*/ 1954 h 13"/>
                <a:gd name="T2" fmla="*/ 74295 w 40"/>
                <a:gd name="T3" fmla="*/ 11723 h 13"/>
                <a:gd name="T4" fmla="*/ 74295 w 40"/>
                <a:gd name="T5" fmla="*/ 23446 h 13"/>
                <a:gd name="T6" fmla="*/ 66675 w 40"/>
                <a:gd name="T7" fmla="*/ 23446 h 13"/>
                <a:gd name="T8" fmla="*/ 57150 w 40"/>
                <a:gd name="T9" fmla="*/ 23446 h 13"/>
                <a:gd name="T10" fmla="*/ 45720 w 40"/>
                <a:gd name="T11" fmla="*/ 19538 h 13"/>
                <a:gd name="T12" fmla="*/ 40005 w 40"/>
                <a:gd name="T13" fmla="*/ 25400 h 13"/>
                <a:gd name="T14" fmla="*/ 32385 w 40"/>
                <a:gd name="T15" fmla="*/ 23446 h 13"/>
                <a:gd name="T16" fmla="*/ 24765 w 40"/>
                <a:gd name="T17" fmla="*/ 17585 h 13"/>
                <a:gd name="T18" fmla="*/ 11430 w 40"/>
                <a:gd name="T19" fmla="*/ 23446 h 13"/>
                <a:gd name="T20" fmla="*/ 1905 w 40"/>
                <a:gd name="T21" fmla="*/ 23446 h 13"/>
                <a:gd name="T22" fmla="*/ 3810 w 40"/>
                <a:gd name="T23" fmla="*/ 15631 h 13"/>
                <a:gd name="T24" fmla="*/ 28575 w 40"/>
                <a:gd name="T25" fmla="*/ 9769 h 13"/>
                <a:gd name="T26" fmla="*/ 40005 w 40"/>
                <a:gd name="T27" fmla="*/ 9769 h 13"/>
                <a:gd name="T28" fmla="*/ 53340 w 40"/>
                <a:gd name="T29" fmla="*/ 1954 h 13"/>
                <a:gd name="T30" fmla="*/ 66675 w 40"/>
                <a:gd name="T31" fmla="*/ 1954 h 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0"/>
                <a:gd name="T49" fmla="*/ 0 h 13"/>
                <a:gd name="T50" fmla="*/ 40 w 40"/>
                <a:gd name="T51" fmla="*/ 13 h 1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0" h="13">
                  <a:moveTo>
                    <a:pt x="35" y="1"/>
                  </a:moveTo>
                  <a:cubicBezTo>
                    <a:pt x="37" y="2"/>
                    <a:pt x="39" y="4"/>
                    <a:pt x="39" y="6"/>
                  </a:cubicBezTo>
                  <a:cubicBezTo>
                    <a:pt x="40" y="8"/>
                    <a:pt x="40" y="11"/>
                    <a:pt x="39" y="12"/>
                  </a:cubicBezTo>
                  <a:cubicBezTo>
                    <a:pt x="38" y="13"/>
                    <a:pt x="36" y="12"/>
                    <a:pt x="35" y="12"/>
                  </a:cubicBezTo>
                  <a:cubicBezTo>
                    <a:pt x="33" y="12"/>
                    <a:pt x="31" y="13"/>
                    <a:pt x="30" y="12"/>
                  </a:cubicBezTo>
                  <a:cubicBezTo>
                    <a:pt x="28" y="12"/>
                    <a:pt x="26" y="9"/>
                    <a:pt x="24" y="10"/>
                  </a:cubicBezTo>
                  <a:cubicBezTo>
                    <a:pt x="23" y="10"/>
                    <a:pt x="22" y="12"/>
                    <a:pt x="21" y="13"/>
                  </a:cubicBezTo>
                  <a:cubicBezTo>
                    <a:pt x="19" y="13"/>
                    <a:pt x="18" y="12"/>
                    <a:pt x="17" y="12"/>
                  </a:cubicBezTo>
                  <a:cubicBezTo>
                    <a:pt x="15" y="11"/>
                    <a:pt x="15" y="9"/>
                    <a:pt x="13" y="9"/>
                  </a:cubicBezTo>
                  <a:cubicBezTo>
                    <a:pt x="10" y="9"/>
                    <a:pt x="9" y="11"/>
                    <a:pt x="6" y="12"/>
                  </a:cubicBezTo>
                  <a:cubicBezTo>
                    <a:pt x="5" y="13"/>
                    <a:pt x="2" y="13"/>
                    <a:pt x="1" y="12"/>
                  </a:cubicBezTo>
                  <a:cubicBezTo>
                    <a:pt x="0" y="11"/>
                    <a:pt x="1" y="9"/>
                    <a:pt x="2" y="8"/>
                  </a:cubicBezTo>
                  <a:cubicBezTo>
                    <a:pt x="6" y="6"/>
                    <a:pt x="11" y="6"/>
                    <a:pt x="15" y="5"/>
                  </a:cubicBezTo>
                  <a:cubicBezTo>
                    <a:pt x="17" y="5"/>
                    <a:pt x="19" y="5"/>
                    <a:pt x="21" y="5"/>
                  </a:cubicBezTo>
                  <a:cubicBezTo>
                    <a:pt x="24" y="4"/>
                    <a:pt x="26" y="2"/>
                    <a:pt x="28" y="1"/>
                  </a:cubicBezTo>
                  <a:cubicBezTo>
                    <a:pt x="30" y="0"/>
                    <a:pt x="33" y="0"/>
                    <a:pt x="3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4" name="Freeform 1085"/>
            <p:cNvSpPr>
              <a:spLocks noChangeAspect="1"/>
            </p:cNvSpPr>
            <p:nvPr/>
          </p:nvSpPr>
          <p:spPr bwMode="auto">
            <a:xfrm>
              <a:off x="2382838" y="1754188"/>
              <a:ext cx="28575" cy="22225"/>
            </a:xfrm>
            <a:custGeom>
              <a:avLst/>
              <a:gdLst>
                <a:gd name="T0" fmla="*/ 13335 w 15"/>
                <a:gd name="T1" fmla="*/ 1852 h 12"/>
                <a:gd name="T2" fmla="*/ 22860 w 15"/>
                <a:gd name="T3" fmla="*/ 1852 h 12"/>
                <a:gd name="T4" fmla="*/ 26670 w 15"/>
                <a:gd name="T5" fmla="*/ 14817 h 12"/>
                <a:gd name="T6" fmla="*/ 17145 w 15"/>
                <a:gd name="T7" fmla="*/ 22225 h 12"/>
                <a:gd name="T8" fmla="*/ 7620 w 15"/>
                <a:gd name="T9" fmla="*/ 18521 h 12"/>
                <a:gd name="T10" fmla="*/ 0 w 15"/>
                <a:gd name="T11" fmla="*/ 14817 h 12"/>
                <a:gd name="T12" fmla="*/ 7620 w 15"/>
                <a:gd name="T13" fmla="*/ 3704 h 12"/>
                <a:gd name="T14" fmla="*/ 13335 w 15"/>
                <a:gd name="T15" fmla="*/ 1852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12"/>
                <a:gd name="T26" fmla="*/ 15 w 15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12">
                  <a:moveTo>
                    <a:pt x="7" y="1"/>
                  </a:moveTo>
                  <a:cubicBezTo>
                    <a:pt x="9" y="1"/>
                    <a:pt x="11" y="0"/>
                    <a:pt x="12" y="1"/>
                  </a:cubicBezTo>
                  <a:cubicBezTo>
                    <a:pt x="14" y="3"/>
                    <a:pt x="15" y="6"/>
                    <a:pt x="14" y="8"/>
                  </a:cubicBezTo>
                  <a:cubicBezTo>
                    <a:pt x="14" y="10"/>
                    <a:pt x="11" y="11"/>
                    <a:pt x="9" y="12"/>
                  </a:cubicBezTo>
                  <a:cubicBezTo>
                    <a:pt x="7" y="12"/>
                    <a:pt x="5" y="11"/>
                    <a:pt x="4" y="10"/>
                  </a:cubicBezTo>
                  <a:cubicBezTo>
                    <a:pt x="2" y="9"/>
                    <a:pt x="0" y="9"/>
                    <a:pt x="0" y="8"/>
                  </a:cubicBezTo>
                  <a:cubicBezTo>
                    <a:pt x="1" y="5"/>
                    <a:pt x="3" y="3"/>
                    <a:pt x="4" y="2"/>
                  </a:cubicBezTo>
                  <a:cubicBezTo>
                    <a:pt x="5" y="1"/>
                    <a:pt x="6" y="1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5" name="Freeform 1086"/>
            <p:cNvSpPr>
              <a:spLocks noChangeAspect="1"/>
            </p:cNvSpPr>
            <p:nvPr/>
          </p:nvSpPr>
          <p:spPr bwMode="auto">
            <a:xfrm>
              <a:off x="2393950" y="1651000"/>
              <a:ext cx="28575" cy="31750"/>
            </a:xfrm>
            <a:custGeom>
              <a:avLst/>
              <a:gdLst>
                <a:gd name="T0" fmla="*/ 5715 w 15"/>
                <a:gd name="T1" fmla="*/ 1868 h 17"/>
                <a:gd name="T2" fmla="*/ 19050 w 15"/>
                <a:gd name="T3" fmla="*/ 11206 h 17"/>
                <a:gd name="T4" fmla="*/ 28575 w 15"/>
                <a:gd name="T5" fmla="*/ 24279 h 17"/>
                <a:gd name="T6" fmla="*/ 19050 w 15"/>
                <a:gd name="T7" fmla="*/ 29882 h 17"/>
                <a:gd name="T8" fmla="*/ 9525 w 15"/>
                <a:gd name="T9" fmla="*/ 20544 h 17"/>
                <a:gd name="T10" fmla="*/ 0 w 15"/>
                <a:gd name="T11" fmla="*/ 5603 h 17"/>
                <a:gd name="T12" fmla="*/ 0 w 15"/>
                <a:gd name="T13" fmla="*/ 1868 h 17"/>
                <a:gd name="T14" fmla="*/ 5715 w 15"/>
                <a:gd name="T15" fmla="*/ 1868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17"/>
                <a:gd name="T26" fmla="*/ 15 w 15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17">
                  <a:moveTo>
                    <a:pt x="3" y="1"/>
                  </a:moveTo>
                  <a:cubicBezTo>
                    <a:pt x="6" y="2"/>
                    <a:pt x="8" y="4"/>
                    <a:pt x="10" y="6"/>
                  </a:cubicBezTo>
                  <a:cubicBezTo>
                    <a:pt x="12" y="8"/>
                    <a:pt x="15" y="10"/>
                    <a:pt x="15" y="13"/>
                  </a:cubicBezTo>
                  <a:cubicBezTo>
                    <a:pt x="15" y="15"/>
                    <a:pt x="11" y="17"/>
                    <a:pt x="10" y="16"/>
                  </a:cubicBezTo>
                  <a:cubicBezTo>
                    <a:pt x="7" y="16"/>
                    <a:pt x="6" y="13"/>
                    <a:pt x="5" y="11"/>
                  </a:cubicBezTo>
                  <a:cubicBezTo>
                    <a:pt x="3" y="8"/>
                    <a:pt x="1" y="6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3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6" name="Freeform 1087"/>
            <p:cNvSpPr>
              <a:spLocks noChangeAspect="1"/>
            </p:cNvSpPr>
            <p:nvPr/>
          </p:nvSpPr>
          <p:spPr bwMode="auto">
            <a:xfrm>
              <a:off x="2405063" y="1697038"/>
              <a:ext cx="36512" cy="19050"/>
            </a:xfrm>
            <a:custGeom>
              <a:avLst/>
              <a:gdLst>
                <a:gd name="T0" fmla="*/ 21139 w 19"/>
                <a:gd name="T1" fmla="*/ 3810 h 10"/>
                <a:gd name="T2" fmla="*/ 34590 w 19"/>
                <a:gd name="T3" fmla="*/ 15240 h 10"/>
                <a:gd name="T4" fmla="*/ 24982 w 19"/>
                <a:gd name="T5" fmla="*/ 19050 h 10"/>
                <a:gd name="T6" fmla="*/ 11530 w 19"/>
                <a:gd name="T7" fmla="*/ 15240 h 10"/>
                <a:gd name="T8" fmla="*/ 1922 w 19"/>
                <a:gd name="T9" fmla="*/ 3810 h 10"/>
                <a:gd name="T10" fmla="*/ 21139 w 19"/>
                <a:gd name="T11" fmla="*/ 381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0"/>
                <a:gd name="T20" fmla="*/ 19 w 19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0">
                  <a:moveTo>
                    <a:pt x="11" y="2"/>
                  </a:moveTo>
                  <a:cubicBezTo>
                    <a:pt x="14" y="3"/>
                    <a:pt x="18" y="5"/>
                    <a:pt x="18" y="8"/>
                  </a:cubicBezTo>
                  <a:cubicBezTo>
                    <a:pt x="19" y="10"/>
                    <a:pt x="15" y="10"/>
                    <a:pt x="13" y="10"/>
                  </a:cubicBezTo>
                  <a:cubicBezTo>
                    <a:pt x="11" y="10"/>
                    <a:pt x="8" y="10"/>
                    <a:pt x="6" y="8"/>
                  </a:cubicBezTo>
                  <a:cubicBezTo>
                    <a:pt x="4" y="7"/>
                    <a:pt x="0" y="4"/>
                    <a:pt x="1" y="2"/>
                  </a:cubicBezTo>
                  <a:cubicBezTo>
                    <a:pt x="4" y="0"/>
                    <a:pt x="8" y="1"/>
                    <a:pt x="1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7" name="Freeform 1088"/>
            <p:cNvSpPr>
              <a:spLocks noChangeAspect="1"/>
            </p:cNvSpPr>
            <p:nvPr/>
          </p:nvSpPr>
          <p:spPr bwMode="auto">
            <a:xfrm>
              <a:off x="2408238" y="1716088"/>
              <a:ext cx="41275" cy="11112"/>
            </a:xfrm>
            <a:custGeom>
              <a:avLst/>
              <a:gdLst>
                <a:gd name="T0" fmla="*/ 37344 w 21"/>
                <a:gd name="T1" fmla="*/ 0 h 6"/>
                <a:gd name="T2" fmla="*/ 41275 w 21"/>
                <a:gd name="T3" fmla="*/ 1852 h 6"/>
                <a:gd name="T4" fmla="*/ 31448 w 21"/>
                <a:gd name="T5" fmla="*/ 9260 h 6"/>
                <a:gd name="T6" fmla="*/ 11793 w 21"/>
                <a:gd name="T7" fmla="*/ 11112 h 6"/>
                <a:gd name="T8" fmla="*/ 1965 w 21"/>
                <a:gd name="T9" fmla="*/ 9260 h 6"/>
                <a:gd name="T10" fmla="*/ 1965 w 21"/>
                <a:gd name="T11" fmla="*/ 3704 h 6"/>
                <a:gd name="T12" fmla="*/ 23586 w 21"/>
                <a:gd name="T13" fmla="*/ 1852 h 6"/>
                <a:gd name="T14" fmla="*/ 37344 w 21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1"/>
                <a:gd name="T25" fmla="*/ 0 h 6"/>
                <a:gd name="T26" fmla="*/ 21 w 21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" h="6">
                  <a:moveTo>
                    <a:pt x="19" y="0"/>
                  </a:moveTo>
                  <a:cubicBezTo>
                    <a:pt x="20" y="0"/>
                    <a:pt x="21" y="1"/>
                    <a:pt x="21" y="1"/>
                  </a:cubicBezTo>
                  <a:cubicBezTo>
                    <a:pt x="20" y="3"/>
                    <a:pt x="18" y="4"/>
                    <a:pt x="16" y="5"/>
                  </a:cubicBezTo>
                  <a:cubicBezTo>
                    <a:pt x="13" y="6"/>
                    <a:pt x="9" y="6"/>
                    <a:pt x="6" y="6"/>
                  </a:cubicBezTo>
                  <a:cubicBezTo>
                    <a:pt x="4" y="6"/>
                    <a:pt x="2" y="6"/>
                    <a:pt x="1" y="5"/>
                  </a:cubicBezTo>
                  <a:cubicBezTo>
                    <a:pt x="0" y="4"/>
                    <a:pt x="0" y="2"/>
                    <a:pt x="1" y="2"/>
                  </a:cubicBezTo>
                  <a:cubicBezTo>
                    <a:pt x="4" y="0"/>
                    <a:pt x="8" y="2"/>
                    <a:pt x="12" y="1"/>
                  </a:cubicBezTo>
                  <a:cubicBezTo>
                    <a:pt x="14" y="1"/>
                    <a:pt x="17" y="0"/>
                    <a:pt x="1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8" name="Freeform 1089"/>
            <p:cNvSpPr>
              <a:spLocks noChangeAspect="1"/>
            </p:cNvSpPr>
            <p:nvPr/>
          </p:nvSpPr>
          <p:spPr bwMode="auto">
            <a:xfrm>
              <a:off x="2414588" y="1727200"/>
              <a:ext cx="36512" cy="11113"/>
            </a:xfrm>
            <a:custGeom>
              <a:avLst/>
              <a:gdLst>
                <a:gd name="T0" fmla="*/ 15373 w 19"/>
                <a:gd name="T1" fmla="*/ 3704 h 6"/>
                <a:gd name="T2" fmla="*/ 28825 w 19"/>
                <a:gd name="T3" fmla="*/ 0 h 6"/>
                <a:gd name="T4" fmla="*/ 34590 w 19"/>
                <a:gd name="T5" fmla="*/ 1852 h 6"/>
                <a:gd name="T6" fmla="*/ 19217 w 19"/>
                <a:gd name="T7" fmla="*/ 5557 h 6"/>
                <a:gd name="T8" fmla="*/ 7687 w 19"/>
                <a:gd name="T9" fmla="*/ 11113 h 6"/>
                <a:gd name="T10" fmla="*/ 1922 w 19"/>
                <a:gd name="T11" fmla="*/ 7409 h 6"/>
                <a:gd name="T12" fmla="*/ 15373 w 19"/>
                <a:gd name="T13" fmla="*/ 3704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"/>
                <a:gd name="T23" fmla="*/ 19 w 1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">
                  <a:moveTo>
                    <a:pt x="8" y="2"/>
                  </a:moveTo>
                  <a:cubicBezTo>
                    <a:pt x="10" y="2"/>
                    <a:pt x="13" y="0"/>
                    <a:pt x="15" y="0"/>
                  </a:cubicBezTo>
                  <a:cubicBezTo>
                    <a:pt x="16" y="0"/>
                    <a:pt x="19" y="0"/>
                    <a:pt x="18" y="1"/>
                  </a:cubicBezTo>
                  <a:cubicBezTo>
                    <a:pt x="16" y="2"/>
                    <a:pt x="13" y="2"/>
                    <a:pt x="10" y="3"/>
                  </a:cubicBezTo>
                  <a:cubicBezTo>
                    <a:pt x="8" y="4"/>
                    <a:pt x="6" y="6"/>
                    <a:pt x="4" y="6"/>
                  </a:cubicBezTo>
                  <a:cubicBezTo>
                    <a:pt x="3" y="6"/>
                    <a:pt x="0" y="4"/>
                    <a:pt x="1" y="4"/>
                  </a:cubicBezTo>
                  <a:cubicBezTo>
                    <a:pt x="3" y="2"/>
                    <a:pt x="6" y="3"/>
                    <a:pt x="8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89" name="Freeform 1090"/>
            <p:cNvSpPr>
              <a:spLocks noChangeAspect="1"/>
            </p:cNvSpPr>
            <p:nvPr/>
          </p:nvSpPr>
          <p:spPr bwMode="auto">
            <a:xfrm>
              <a:off x="2427288" y="1731963"/>
              <a:ext cx="26987" cy="14287"/>
            </a:xfrm>
            <a:custGeom>
              <a:avLst/>
              <a:gdLst>
                <a:gd name="T0" fmla="*/ 0 w 14"/>
                <a:gd name="T1" fmla="*/ 10205 h 7"/>
                <a:gd name="T2" fmla="*/ 7711 w 14"/>
                <a:gd name="T3" fmla="*/ 12246 h 7"/>
                <a:gd name="T4" fmla="*/ 17349 w 14"/>
                <a:gd name="T5" fmla="*/ 6123 h 7"/>
                <a:gd name="T6" fmla="*/ 26987 w 14"/>
                <a:gd name="T7" fmla="*/ 2041 h 7"/>
                <a:gd name="T8" fmla="*/ 23132 w 14"/>
                <a:gd name="T9" fmla="*/ 0 h 7"/>
                <a:gd name="T10" fmla="*/ 7711 w 14"/>
                <a:gd name="T11" fmla="*/ 4082 h 7"/>
                <a:gd name="T12" fmla="*/ 0 w 14"/>
                <a:gd name="T13" fmla="*/ 10205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7"/>
                <a:gd name="T23" fmla="*/ 14 w 14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7">
                  <a:moveTo>
                    <a:pt x="0" y="5"/>
                  </a:moveTo>
                  <a:cubicBezTo>
                    <a:pt x="0" y="7"/>
                    <a:pt x="3" y="6"/>
                    <a:pt x="4" y="6"/>
                  </a:cubicBezTo>
                  <a:cubicBezTo>
                    <a:pt x="6" y="5"/>
                    <a:pt x="7" y="4"/>
                    <a:pt x="9" y="3"/>
                  </a:cubicBezTo>
                  <a:cubicBezTo>
                    <a:pt x="11" y="2"/>
                    <a:pt x="13" y="2"/>
                    <a:pt x="14" y="1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9" y="0"/>
                    <a:pt x="6" y="1"/>
                    <a:pt x="4" y="2"/>
                  </a:cubicBezTo>
                  <a:cubicBezTo>
                    <a:pt x="2" y="3"/>
                    <a:pt x="0" y="4"/>
                    <a:pt x="0" y="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0" name="Freeform 1091"/>
            <p:cNvSpPr>
              <a:spLocks noChangeAspect="1"/>
            </p:cNvSpPr>
            <p:nvPr/>
          </p:nvSpPr>
          <p:spPr bwMode="auto">
            <a:xfrm>
              <a:off x="2435225" y="1700213"/>
              <a:ext cx="112713" cy="76200"/>
            </a:xfrm>
            <a:custGeom>
              <a:avLst/>
              <a:gdLst>
                <a:gd name="T0" fmla="*/ 42029 w 59"/>
                <a:gd name="T1" fmla="*/ 53340 h 40"/>
                <a:gd name="T2" fmla="*/ 38208 w 59"/>
                <a:gd name="T3" fmla="*/ 59055 h 40"/>
                <a:gd name="T4" fmla="*/ 43939 w 59"/>
                <a:gd name="T5" fmla="*/ 62865 h 40"/>
                <a:gd name="T6" fmla="*/ 38208 w 59"/>
                <a:gd name="T7" fmla="*/ 64770 h 40"/>
                <a:gd name="T8" fmla="*/ 40118 w 59"/>
                <a:gd name="T9" fmla="*/ 74295 h 40"/>
                <a:gd name="T10" fmla="*/ 49670 w 59"/>
                <a:gd name="T11" fmla="*/ 74295 h 40"/>
                <a:gd name="T12" fmla="*/ 57312 w 59"/>
                <a:gd name="T13" fmla="*/ 70485 h 40"/>
                <a:gd name="T14" fmla="*/ 63043 w 59"/>
                <a:gd name="T15" fmla="*/ 74295 h 40"/>
                <a:gd name="T16" fmla="*/ 72595 w 59"/>
                <a:gd name="T17" fmla="*/ 74295 h 40"/>
                <a:gd name="T18" fmla="*/ 87878 w 59"/>
                <a:gd name="T19" fmla="*/ 72390 h 40"/>
                <a:gd name="T20" fmla="*/ 87878 w 59"/>
                <a:gd name="T21" fmla="*/ 66675 h 40"/>
                <a:gd name="T22" fmla="*/ 95519 w 59"/>
                <a:gd name="T23" fmla="*/ 68580 h 40"/>
                <a:gd name="T24" fmla="*/ 91699 w 59"/>
                <a:gd name="T25" fmla="*/ 60960 h 40"/>
                <a:gd name="T26" fmla="*/ 91699 w 59"/>
                <a:gd name="T27" fmla="*/ 53340 h 40"/>
                <a:gd name="T28" fmla="*/ 97430 w 59"/>
                <a:gd name="T29" fmla="*/ 49530 h 40"/>
                <a:gd name="T30" fmla="*/ 105071 w 59"/>
                <a:gd name="T31" fmla="*/ 55245 h 40"/>
                <a:gd name="T32" fmla="*/ 108892 w 59"/>
                <a:gd name="T33" fmla="*/ 45720 h 40"/>
                <a:gd name="T34" fmla="*/ 103161 w 59"/>
                <a:gd name="T35" fmla="*/ 40005 h 40"/>
                <a:gd name="T36" fmla="*/ 108892 w 59"/>
                <a:gd name="T37" fmla="*/ 26670 h 40"/>
                <a:gd name="T38" fmla="*/ 110803 w 59"/>
                <a:gd name="T39" fmla="*/ 17145 h 40"/>
                <a:gd name="T40" fmla="*/ 112713 w 59"/>
                <a:gd name="T41" fmla="*/ 7620 h 40"/>
                <a:gd name="T42" fmla="*/ 103161 w 59"/>
                <a:gd name="T43" fmla="*/ 0 h 40"/>
                <a:gd name="T44" fmla="*/ 95519 w 59"/>
                <a:gd name="T45" fmla="*/ 1905 h 40"/>
                <a:gd name="T46" fmla="*/ 89788 w 59"/>
                <a:gd name="T47" fmla="*/ 9525 h 40"/>
                <a:gd name="T48" fmla="*/ 74505 w 59"/>
                <a:gd name="T49" fmla="*/ 1905 h 40"/>
                <a:gd name="T50" fmla="*/ 53491 w 59"/>
                <a:gd name="T51" fmla="*/ 3810 h 40"/>
                <a:gd name="T52" fmla="*/ 49670 w 59"/>
                <a:gd name="T53" fmla="*/ 11430 h 40"/>
                <a:gd name="T54" fmla="*/ 57312 w 59"/>
                <a:gd name="T55" fmla="*/ 13335 h 40"/>
                <a:gd name="T56" fmla="*/ 55401 w 59"/>
                <a:gd name="T57" fmla="*/ 19050 h 40"/>
                <a:gd name="T58" fmla="*/ 64953 w 59"/>
                <a:gd name="T59" fmla="*/ 19050 h 40"/>
                <a:gd name="T60" fmla="*/ 61132 w 59"/>
                <a:gd name="T61" fmla="*/ 26670 h 40"/>
                <a:gd name="T62" fmla="*/ 66864 w 59"/>
                <a:gd name="T63" fmla="*/ 34290 h 40"/>
                <a:gd name="T64" fmla="*/ 51581 w 59"/>
                <a:gd name="T65" fmla="*/ 28575 h 40"/>
                <a:gd name="T66" fmla="*/ 42029 w 59"/>
                <a:gd name="T67" fmla="*/ 13335 h 40"/>
                <a:gd name="T68" fmla="*/ 28656 w 59"/>
                <a:gd name="T69" fmla="*/ 9525 h 40"/>
                <a:gd name="T70" fmla="*/ 21014 w 59"/>
                <a:gd name="T71" fmla="*/ 19050 h 40"/>
                <a:gd name="T72" fmla="*/ 30566 w 59"/>
                <a:gd name="T73" fmla="*/ 22860 h 40"/>
                <a:gd name="T74" fmla="*/ 24835 w 59"/>
                <a:gd name="T75" fmla="*/ 28575 h 40"/>
                <a:gd name="T76" fmla="*/ 32477 w 59"/>
                <a:gd name="T77" fmla="*/ 28575 h 40"/>
                <a:gd name="T78" fmla="*/ 34387 w 59"/>
                <a:gd name="T79" fmla="*/ 38100 h 40"/>
                <a:gd name="T80" fmla="*/ 22925 w 59"/>
                <a:gd name="T81" fmla="*/ 36195 h 40"/>
                <a:gd name="T82" fmla="*/ 11462 w 59"/>
                <a:gd name="T83" fmla="*/ 43815 h 40"/>
                <a:gd name="T84" fmla="*/ 1910 w 59"/>
                <a:gd name="T85" fmla="*/ 45720 h 40"/>
                <a:gd name="T86" fmla="*/ 1910 w 59"/>
                <a:gd name="T87" fmla="*/ 53340 h 40"/>
                <a:gd name="T88" fmla="*/ 21014 w 59"/>
                <a:gd name="T89" fmla="*/ 49530 h 40"/>
                <a:gd name="T90" fmla="*/ 28656 w 59"/>
                <a:gd name="T91" fmla="*/ 45720 h 40"/>
                <a:gd name="T92" fmla="*/ 42029 w 59"/>
                <a:gd name="T93" fmla="*/ 45720 h 40"/>
                <a:gd name="T94" fmla="*/ 53491 w 59"/>
                <a:gd name="T95" fmla="*/ 41910 h 40"/>
                <a:gd name="T96" fmla="*/ 68774 w 59"/>
                <a:gd name="T97" fmla="*/ 41910 h 40"/>
                <a:gd name="T98" fmla="*/ 61132 w 59"/>
                <a:gd name="T99" fmla="*/ 45720 h 40"/>
                <a:gd name="T100" fmla="*/ 53491 w 59"/>
                <a:gd name="T101" fmla="*/ 51435 h 40"/>
                <a:gd name="T102" fmla="*/ 42029 w 59"/>
                <a:gd name="T103" fmla="*/ 53340 h 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"/>
                <a:gd name="T157" fmla="*/ 0 h 40"/>
                <a:gd name="T158" fmla="*/ 59 w 59"/>
                <a:gd name="T159" fmla="*/ 40 h 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" h="40">
                  <a:moveTo>
                    <a:pt x="22" y="28"/>
                  </a:moveTo>
                  <a:cubicBezTo>
                    <a:pt x="21" y="28"/>
                    <a:pt x="19" y="31"/>
                    <a:pt x="20" y="31"/>
                  </a:cubicBezTo>
                  <a:cubicBezTo>
                    <a:pt x="20" y="33"/>
                    <a:pt x="23" y="32"/>
                    <a:pt x="23" y="33"/>
                  </a:cubicBezTo>
                  <a:cubicBezTo>
                    <a:pt x="23" y="34"/>
                    <a:pt x="21" y="33"/>
                    <a:pt x="20" y="34"/>
                  </a:cubicBezTo>
                  <a:cubicBezTo>
                    <a:pt x="20" y="35"/>
                    <a:pt x="19" y="38"/>
                    <a:pt x="21" y="39"/>
                  </a:cubicBezTo>
                  <a:cubicBezTo>
                    <a:pt x="22" y="40"/>
                    <a:pt x="25" y="40"/>
                    <a:pt x="26" y="39"/>
                  </a:cubicBezTo>
                  <a:cubicBezTo>
                    <a:pt x="28" y="39"/>
                    <a:pt x="28" y="37"/>
                    <a:pt x="30" y="37"/>
                  </a:cubicBezTo>
                  <a:cubicBezTo>
                    <a:pt x="31" y="37"/>
                    <a:pt x="32" y="39"/>
                    <a:pt x="33" y="39"/>
                  </a:cubicBezTo>
                  <a:cubicBezTo>
                    <a:pt x="34" y="39"/>
                    <a:pt x="36" y="39"/>
                    <a:pt x="38" y="39"/>
                  </a:cubicBezTo>
                  <a:cubicBezTo>
                    <a:pt x="40" y="39"/>
                    <a:pt x="43" y="39"/>
                    <a:pt x="46" y="38"/>
                  </a:cubicBezTo>
                  <a:cubicBezTo>
                    <a:pt x="47" y="38"/>
                    <a:pt x="45" y="36"/>
                    <a:pt x="46" y="35"/>
                  </a:cubicBezTo>
                  <a:cubicBezTo>
                    <a:pt x="47" y="35"/>
                    <a:pt x="49" y="37"/>
                    <a:pt x="50" y="36"/>
                  </a:cubicBezTo>
                  <a:cubicBezTo>
                    <a:pt x="51" y="35"/>
                    <a:pt x="48" y="34"/>
                    <a:pt x="48" y="32"/>
                  </a:cubicBezTo>
                  <a:cubicBezTo>
                    <a:pt x="48" y="31"/>
                    <a:pt x="48" y="29"/>
                    <a:pt x="48" y="28"/>
                  </a:cubicBezTo>
                  <a:cubicBezTo>
                    <a:pt x="49" y="27"/>
                    <a:pt x="50" y="25"/>
                    <a:pt x="51" y="26"/>
                  </a:cubicBezTo>
                  <a:cubicBezTo>
                    <a:pt x="53" y="26"/>
                    <a:pt x="54" y="30"/>
                    <a:pt x="55" y="29"/>
                  </a:cubicBezTo>
                  <a:cubicBezTo>
                    <a:pt x="57" y="29"/>
                    <a:pt x="57" y="26"/>
                    <a:pt x="57" y="24"/>
                  </a:cubicBezTo>
                  <a:cubicBezTo>
                    <a:pt x="57" y="22"/>
                    <a:pt x="54" y="22"/>
                    <a:pt x="54" y="21"/>
                  </a:cubicBezTo>
                  <a:cubicBezTo>
                    <a:pt x="54" y="18"/>
                    <a:pt x="56" y="17"/>
                    <a:pt x="57" y="14"/>
                  </a:cubicBezTo>
                  <a:cubicBezTo>
                    <a:pt x="57" y="13"/>
                    <a:pt x="58" y="11"/>
                    <a:pt x="58" y="9"/>
                  </a:cubicBezTo>
                  <a:cubicBezTo>
                    <a:pt x="58" y="7"/>
                    <a:pt x="59" y="5"/>
                    <a:pt x="59" y="4"/>
                  </a:cubicBezTo>
                  <a:cubicBezTo>
                    <a:pt x="58" y="2"/>
                    <a:pt x="56" y="1"/>
                    <a:pt x="54" y="0"/>
                  </a:cubicBezTo>
                  <a:cubicBezTo>
                    <a:pt x="53" y="0"/>
                    <a:pt x="51" y="1"/>
                    <a:pt x="50" y="1"/>
                  </a:cubicBezTo>
                  <a:cubicBezTo>
                    <a:pt x="49" y="2"/>
                    <a:pt x="48" y="5"/>
                    <a:pt x="47" y="5"/>
                  </a:cubicBezTo>
                  <a:cubicBezTo>
                    <a:pt x="44" y="5"/>
                    <a:pt x="42" y="1"/>
                    <a:pt x="39" y="1"/>
                  </a:cubicBezTo>
                  <a:cubicBezTo>
                    <a:pt x="36" y="0"/>
                    <a:pt x="32" y="1"/>
                    <a:pt x="28" y="2"/>
                  </a:cubicBezTo>
                  <a:cubicBezTo>
                    <a:pt x="27" y="3"/>
                    <a:pt x="25" y="4"/>
                    <a:pt x="26" y="6"/>
                  </a:cubicBezTo>
                  <a:cubicBezTo>
                    <a:pt x="26" y="7"/>
                    <a:pt x="29" y="6"/>
                    <a:pt x="30" y="7"/>
                  </a:cubicBezTo>
                  <a:cubicBezTo>
                    <a:pt x="31" y="8"/>
                    <a:pt x="28" y="9"/>
                    <a:pt x="29" y="10"/>
                  </a:cubicBezTo>
                  <a:cubicBezTo>
                    <a:pt x="30" y="11"/>
                    <a:pt x="33" y="9"/>
                    <a:pt x="34" y="10"/>
                  </a:cubicBezTo>
                  <a:cubicBezTo>
                    <a:pt x="35" y="11"/>
                    <a:pt x="32" y="12"/>
                    <a:pt x="32" y="14"/>
                  </a:cubicBezTo>
                  <a:cubicBezTo>
                    <a:pt x="32" y="15"/>
                    <a:pt x="36" y="17"/>
                    <a:pt x="35" y="18"/>
                  </a:cubicBezTo>
                  <a:cubicBezTo>
                    <a:pt x="32" y="18"/>
                    <a:pt x="29" y="17"/>
                    <a:pt x="27" y="15"/>
                  </a:cubicBezTo>
                  <a:cubicBezTo>
                    <a:pt x="25" y="13"/>
                    <a:pt x="25" y="9"/>
                    <a:pt x="22" y="7"/>
                  </a:cubicBezTo>
                  <a:cubicBezTo>
                    <a:pt x="20" y="6"/>
                    <a:pt x="18" y="5"/>
                    <a:pt x="15" y="5"/>
                  </a:cubicBezTo>
                  <a:cubicBezTo>
                    <a:pt x="13" y="6"/>
                    <a:pt x="10" y="8"/>
                    <a:pt x="11" y="10"/>
                  </a:cubicBezTo>
                  <a:cubicBezTo>
                    <a:pt x="11" y="12"/>
                    <a:pt x="15" y="10"/>
                    <a:pt x="16" y="12"/>
                  </a:cubicBezTo>
                  <a:cubicBezTo>
                    <a:pt x="16" y="13"/>
                    <a:pt x="12" y="14"/>
                    <a:pt x="13" y="15"/>
                  </a:cubicBezTo>
                  <a:cubicBezTo>
                    <a:pt x="14" y="17"/>
                    <a:pt x="16" y="14"/>
                    <a:pt x="17" y="15"/>
                  </a:cubicBezTo>
                  <a:cubicBezTo>
                    <a:pt x="19" y="16"/>
                    <a:pt x="19" y="19"/>
                    <a:pt x="18" y="20"/>
                  </a:cubicBezTo>
                  <a:cubicBezTo>
                    <a:pt x="16" y="21"/>
                    <a:pt x="14" y="18"/>
                    <a:pt x="12" y="19"/>
                  </a:cubicBezTo>
                  <a:cubicBezTo>
                    <a:pt x="10" y="19"/>
                    <a:pt x="8" y="22"/>
                    <a:pt x="6" y="23"/>
                  </a:cubicBezTo>
                  <a:cubicBezTo>
                    <a:pt x="5" y="24"/>
                    <a:pt x="2" y="23"/>
                    <a:pt x="1" y="24"/>
                  </a:cubicBezTo>
                  <a:cubicBezTo>
                    <a:pt x="0" y="25"/>
                    <a:pt x="0" y="28"/>
                    <a:pt x="1" y="28"/>
                  </a:cubicBezTo>
                  <a:cubicBezTo>
                    <a:pt x="5" y="29"/>
                    <a:pt x="8" y="27"/>
                    <a:pt x="11" y="26"/>
                  </a:cubicBezTo>
                  <a:cubicBezTo>
                    <a:pt x="13" y="25"/>
                    <a:pt x="14" y="24"/>
                    <a:pt x="15" y="24"/>
                  </a:cubicBezTo>
                  <a:cubicBezTo>
                    <a:pt x="17" y="24"/>
                    <a:pt x="20" y="24"/>
                    <a:pt x="22" y="24"/>
                  </a:cubicBezTo>
                  <a:cubicBezTo>
                    <a:pt x="24" y="24"/>
                    <a:pt x="26" y="23"/>
                    <a:pt x="28" y="22"/>
                  </a:cubicBezTo>
                  <a:cubicBezTo>
                    <a:pt x="31" y="22"/>
                    <a:pt x="33" y="21"/>
                    <a:pt x="36" y="22"/>
                  </a:cubicBezTo>
                  <a:cubicBezTo>
                    <a:pt x="37" y="23"/>
                    <a:pt x="33" y="23"/>
                    <a:pt x="32" y="24"/>
                  </a:cubicBezTo>
                  <a:cubicBezTo>
                    <a:pt x="30" y="25"/>
                    <a:pt x="30" y="27"/>
                    <a:pt x="28" y="27"/>
                  </a:cubicBezTo>
                  <a:cubicBezTo>
                    <a:pt x="26" y="28"/>
                    <a:pt x="24" y="28"/>
                    <a:pt x="22" y="2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1" name="Freeform 1092"/>
            <p:cNvSpPr>
              <a:spLocks noChangeAspect="1"/>
            </p:cNvSpPr>
            <p:nvPr/>
          </p:nvSpPr>
          <p:spPr bwMode="auto">
            <a:xfrm>
              <a:off x="2471738" y="1697038"/>
              <a:ext cx="25400" cy="9525"/>
            </a:xfrm>
            <a:custGeom>
              <a:avLst/>
              <a:gdLst>
                <a:gd name="T0" fmla="*/ 0 w 13"/>
                <a:gd name="T1" fmla="*/ 7620 h 5"/>
                <a:gd name="T2" fmla="*/ 0 w 13"/>
                <a:gd name="T3" fmla="*/ 9525 h 5"/>
                <a:gd name="T4" fmla="*/ 9769 w 13"/>
                <a:gd name="T5" fmla="*/ 9525 h 5"/>
                <a:gd name="T6" fmla="*/ 23446 w 13"/>
                <a:gd name="T7" fmla="*/ 1905 h 5"/>
                <a:gd name="T8" fmla="*/ 19538 w 13"/>
                <a:gd name="T9" fmla="*/ 1905 h 5"/>
                <a:gd name="T10" fmla="*/ 9769 w 13"/>
                <a:gd name="T11" fmla="*/ 1905 h 5"/>
                <a:gd name="T12" fmla="*/ 5862 w 13"/>
                <a:gd name="T13" fmla="*/ 5715 h 5"/>
                <a:gd name="T14" fmla="*/ 0 w 13"/>
                <a:gd name="T15" fmla="*/ 762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5"/>
                <a:gd name="T26" fmla="*/ 13 w 13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5">
                  <a:moveTo>
                    <a:pt x="0" y="4"/>
                  </a:moveTo>
                  <a:cubicBezTo>
                    <a:pt x="0" y="4"/>
                    <a:pt x="0" y="5"/>
                    <a:pt x="0" y="5"/>
                  </a:cubicBezTo>
                  <a:cubicBezTo>
                    <a:pt x="2" y="5"/>
                    <a:pt x="3" y="5"/>
                    <a:pt x="5" y="5"/>
                  </a:cubicBezTo>
                  <a:cubicBezTo>
                    <a:pt x="7" y="4"/>
                    <a:pt x="10" y="3"/>
                    <a:pt x="12" y="1"/>
                  </a:cubicBezTo>
                  <a:cubicBezTo>
                    <a:pt x="13" y="1"/>
                    <a:pt x="11" y="1"/>
                    <a:pt x="10" y="1"/>
                  </a:cubicBezTo>
                  <a:cubicBezTo>
                    <a:pt x="9" y="1"/>
                    <a:pt x="7" y="0"/>
                    <a:pt x="5" y="1"/>
                  </a:cubicBezTo>
                  <a:cubicBezTo>
                    <a:pt x="4" y="1"/>
                    <a:pt x="4" y="3"/>
                    <a:pt x="3" y="3"/>
                  </a:cubicBezTo>
                  <a:cubicBezTo>
                    <a:pt x="2" y="4"/>
                    <a:pt x="1" y="3"/>
                    <a:pt x="0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2" name="Freeform 1093"/>
            <p:cNvSpPr>
              <a:spLocks noChangeAspect="1"/>
            </p:cNvSpPr>
            <p:nvPr/>
          </p:nvSpPr>
          <p:spPr bwMode="auto">
            <a:xfrm>
              <a:off x="2468563" y="1643063"/>
              <a:ext cx="30162" cy="11112"/>
            </a:xfrm>
            <a:custGeom>
              <a:avLst/>
              <a:gdLst>
                <a:gd name="T0" fmla="*/ 0 w 16"/>
                <a:gd name="T1" fmla="*/ 5556 h 6"/>
                <a:gd name="T2" fmla="*/ 9426 w 16"/>
                <a:gd name="T3" fmla="*/ 11112 h 6"/>
                <a:gd name="T4" fmla="*/ 20736 w 16"/>
                <a:gd name="T5" fmla="*/ 5556 h 6"/>
                <a:gd name="T6" fmla="*/ 28277 w 16"/>
                <a:gd name="T7" fmla="*/ 7408 h 6"/>
                <a:gd name="T8" fmla="*/ 18851 w 16"/>
                <a:gd name="T9" fmla="*/ 1852 h 6"/>
                <a:gd name="T10" fmla="*/ 9426 w 16"/>
                <a:gd name="T11" fmla="*/ 1852 h 6"/>
                <a:gd name="T12" fmla="*/ 0 w 16"/>
                <a:gd name="T13" fmla="*/ 5556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6"/>
                <a:gd name="T23" fmla="*/ 16 w 1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6">
                  <a:moveTo>
                    <a:pt x="0" y="3"/>
                  </a:moveTo>
                  <a:cubicBezTo>
                    <a:pt x="0" y="5"/>
                    <a:pt x="3" y="6"/>
                    <a:pt x="5" y="6"/>
                  </a:cubicBezTo>
                  <a:cubicBezTo>
                    <a:pt x="7" y="6"/>
                    <a:pt x="9" y="4"/>
                    <a:pt x="11" y="3"/>
                  </a:cubicBezTo>
                  <a:cubicBezTo>
                    <a:pt x="13" y="3"/>
                    <a:pt x="16" y="5"/>
                    <a:pt x="15" y="4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9" y="0"/>
                    <a:pt x="7" y="0"/>
                    <a:pt x="5" y="1"/>
                  </a:cubicBezTo>
                  <a:cubicBezTo>
                    <a:pt x="3" y="1"/>
                    <a:pt x="0" y="1"/>
                    <a:pt x="0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3" name="Freeform 1094"/>
            <p:cNvSpPr>
              <a:spLocks noChangeAspect="1"/>
            </p:cNvSpPr>
            <p:nvPr/>
          </p:nvSpPr>
          <p:spPr bwMode="auto">
            <a:xfrm>
              <a:off x="2414588" y="1574800"/>
              <a:ext cx="123825" cy="79375"/>
            </a:xfrm>
            <a:custGeom>
              <a:avLst/>
              <a:gdLst>
                <a:gd name="T0" fmla="*/ 108585 w 65"/>
                <a:gd name="T1" fmla="*/ 52917 h 42"/>
                <a:gd name="T2" fmla="*/ 121920 w 65"/>
                <a:gd name="T3" fmla="*/ 62366 h 42"/>
                <a:gd name="T4" fmla="*/ 116205 w 65"/>
                <a:gd name="T5" fmla="*/ 71815 h 42"/>
                <a:gd name="T6" fmla="*/ 99060 w 65"/>
                <a:gd name="T7" fmla="*/ 77485 h 42"/>
                <a:gd name="T8" fmla="*/ 89535 w 65"/>
                <a:gd name="T9" fmla="*/ 69926 h 42"/>
                <a:gd name="T10" fmla="*/ 81915 w 65"/>
                <a:gd name="T11" fmla="*/ 56696 h 42"/>
                <a:gd name="T12" fmla="*/ 70485 w 65"/>
                <a:gd name="T13" fmla="*/ 54807 h 42"/>
                <a:gd name="T14" fmla="*/ 53340 w 65"/>
                <a:gd name="T15" fmla="*/ 54807 h 42"/>
                <a:gd name="T16" fmla="*/ 45720 w 65"/>
                <a:gd name="T17" fmla="*/ 49137 h 42"/>
                <a:gd name="T18" fmla="*/ 24765 w 65"/>
                <a:gd name="T19" fmla="*/ 56696 h 42"/>
                <a:gd name="T20" fmla="*/ 9525 w 65"/>
                <a:gd name="T21" fmla="*/ 47247 h 42"/>
                <a:gd name="T22" fmla="*/ 13335 w 65"/>
                <a:gd name="T23" fmla="*/ 39688 h 42"/>
                <a:gd name="T24" fmla="*/ 30480 w 65"/>
                <a:gd name="T25" fmla="*/ 43467 h 42"/>
                <a:gd name="T26" fmla="*/ 41910 w 65"/>
                <a:gd name="T27" fmla="*/ 43467 h 42"/>
                <a:gd name="T28" fmla="*/ 40005 w 65"/>
                <a:gd name="T29" fmla="*/ 35908 h 42"/>
                <a:gd name="T30" fmla="*/ 43815 w 65"/>
                <a:gd name="T31" fmla="*/ 32128 h 42"/>
                <a:gd name="T32" fmla="*/ 28575 w 65"/>
                <a:gd name="T33" fmla="*/ 30238 h 42"/>
                <a:gd name="T34" fmla="*/ 32385 w 65"/>
                <a:gd name="T35" fmla="*/ 24568 h 42"/>
                <a:gd name="T36" fmla="*/ 24765 w 65"/>
                <a:gd name="T37" fmla="*/ 24568 h 42"/>
                <a:gd name="T38" fmla="*/ 15240 w 65"/>
                <a:gd name="T39" fmla="*/ 30238 h 42"/>
                <a:gd name="T40" fmla="*/ 17145 w 65"/>
                <a:gd name="T41" fmla="*/ 20789 h 42"/>
                <a:gd name="T42" fmla="*/ 15240 w 65"/>
                <a:gd name="T43" fmla="*/ 18899 h 42"/>
                <a:gd name="T44" fmla="*/ 7620 w 65"/>
                <a:gd name="T45" fmla="*/ 24568 h 42"/>
                <a:gd name="T46" fmla="*/ 0 w 65"/>
                <a:gd name="T47" fmla="*/ 13229 h 42"/>
                <a:gd name="T48" fmla="*/ 9525 w 65"/>
                <a:gd name="T49" fmla="*/ 7560 h 42"/>
                <a:gd name="T50" fmla="*/ 9525 w 65"/>
                <a:gd name="T51" fmla="*/ 1890 h 42"/>
                <a:gd name="T52" fmla="*/ 20955 w 65"/>
                <a:gd name="T53" fmla="*/ 7560 h 42"/>
                <a:gd name="T54" fmla="*/ 38100 w 65"/>
                <a:gd name="T55" fmla="*/ 0 h 42"/>
                <a:gd name="T56" fmla="*/ 55245 w 65"/>
                <a:gd name="T57" fmla="*/ 3780 h 42"/>
                <a:gd name="T58" fmla="*/ 60960 w 65"/>
                <a:gd name="T59" fmla="*/ 17009 h 42"/>
                <a:gd name="T60" fmla="*/ 62865 w 65"/>
                <a:gd name="T61" fmla="*/ 22679 h 42"/>
                <a:gd name="T62" fmla="*/ 76200 w 65"/>
                <a:gd name="T63" fmla="*/ 17009 h 42"/>
                <a:gd name="T64" fmla="*/ 89535 w 65"/>
                <a:gd name="T65" fmla="*/ 26458 h 42"/>
                <a:gd name="T66" fmla="*/ 89535 w 65"/>
                <a:gd name="T67" fmla="*/ 32128 h 42"/>
                <a:gd name="T68" fmla="*/ 104775 w 65"/>
                <a:gd name="T69" fmla="*/ 30238 h 42"/>
                <a:gd name="T70" fmla="*/ 112395 w 65"/>
                <a:gd name="T71" fmla="*/ 41577 h 42"/>
                <a:gd name="T72" fmla="*/ 108585 w 65"/>
                <a:gd name="T73" fmla="*/ 52917 h 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5"/>
                <a:gd name="T112" fmla="*/ 0 h 42"/>
                <a:gd name="T113" fmla="*/ 65 w 65"/>
                <a:gd name="T114" fmla="*/ 42 h 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5" h="42">
                  <a:moveTo>
                    <a:pt x="57" y="28"/>
                  </a:moveTo>
                  <a:cubicBezTo>
                    <a:pt x="59" y="30"/>
                    <a:pt x="63" y="30"/>
                    <a:pt x="64" y="33"/>
                  </a:cubicBezTo>
                  <a:cubicBezTo>
                    <a:pt x="65" y="35"/>
                    <a:pt x="63" y="38"/>
                    <a:pt x="61" y="38"/>
                  </a:cubicBezTo>
                  <a:cubicBezTo>
                    <a:pt x="58" y="38"/>
                    <a:pt x="54" y="39"/>
                    <a:pt x="52" y="41"/>
                  </a:cubicBezTo>
                  <a:cubicBezTo>
                    <a:pt x="50" y="42"/>
                    <a:pt x="48" y="38"/>
                    <a:pt x="47" y="37"/>
                  </a:cubicBezTo>
                  <a:cubicBezTo>
                    <a:pt x="45" y="35"/>
                    <a:pt x="45" y="31"/>
                    <a:pt x="43" y="30"/>
                  </a:cubicBezTo>
                  <a:cubicBezTo>
                    <a:pt x="42" y="28"/>
                    <a:pt x="39" y="29"/>
                    <a:pt x="37" y="29"/>
                  </a:cubicBezTo>
                  <a:cubicBezTo>
                    <a:pt x="34" y="29"/>
                    <a:pt x="31" y="29"/>
                    <a:pt x="28" y="29"/>
                  </a:cubicBezTo>
                  <a:cubicBezTo>
                    <a:pt x="26" y="28"/>
                    <a:pt x="26" y="26"/>
                    <a:pt x="24" y="26"/>
                  </a:cubicBezTo>
                  <a:cubicBezTo>
                    <a:pt x="20" y="27"/>
                    <a:pt x="17" y="30"/>
                    <a:pt x="13" y="30"/>
                  </a:cubicBezTo>
                  <a:cubicBezTo>
                    <a:pt x="10" y="30"/>
                    <a:pt x="7" y="27"/>
                    <a:pt x="5" y="25"/>
                  </a:cubicBezTo>
                  <a:cubicBezTo>
                    <a:pt x="4" y="24"/>
                    <a:pt x="5" y="21"/>
                    <a:pt x="7" y="21"/>
                  </a:cubicBezTo>
                  <a:cubicBezTo>
                    <a:pt x="10" y="21"/>
                    <a:pt x="13" y="23"/>
                    <a:pt x="16" y="23"/>
                  </a:cubicBezTo>
                  <a:cubicBezTo>
                    <a:pt x="18" y="24"/>
                    <a:pt x="20" y="24"/>
                    <a:pt x="22" y="23"/>
                  </a:cubicBezTo>
                  <a:cubicBezTo>
                    <a:pt x="23" y="22"/>
                    <a:pt x="21" y="20"/>
                    <a:pt x="21" y="19"/>
                  </a:cubicBezTo>
                  <a:cubicBezTo>
                    <a:pt x="21" y="18"/>
                    <a:pt x="24" y="17"/>
                    <a:pt x="23" y="17"/>
                  </a:cubicBezTo>
                  <a:cubicBezTo>
                    <a:pt x="20" y="16"/>
                    <a:pt x="17" y="18"/>
                    <a:pt x="15" y="16"/>
                  </a:cubicBezTo>
                  <a:cubicBezTo>
                    <a:pt x="14" y="15"/>
                    <a:pt x="17" y="14"/>
                    <a:pt x="17" y="13"/>
                  </a:cubicBezTo>
                  <a:cubicBezTo>
                    <a:pt x="17" y="12"/>
                    <a:pt x="15" y="12"/>
                    <a:pt x="13" y="13"/>
                  </a:cubicBezTo>
                  <a:cubicBezTo>
                    <a:pt x="11" y="14"/>
                    <a:pt x="10" y="17"/>
                    <a:pt x="8" y="16"/>
                  </a:cubicBezTo>
                  <a:cubicBezTo>
                    <a:pt x="6" y="16"/>
                    <a:pt x="9" y="13"/>
                    <a:pt x="9" y="11"/>
                  </a:cubicBezTo>
                  <a:cubicBezTo>
                    <a:pt x="9" y="10"/>
                    <a:pt x="9" y="9"/>
                    <a:pt x="8" y="10"/>
                  </a:cubicBezTo>
                  <a:cubicBezTo>
                    <a:pt x="6" y="10"/>
                    <a:pt x="5" y="13"/>
                    <a:pt x="4" y="13"/>
                  </a:cubicBezTo>
                  <a:cubicBezTo>
                    <a:pt x="2" y="12"/>
                    <a:pt x="0" y="9"/>
                    <a:pt x="0" y="7"/>
                  </a:cubicBezTo>
                  <a:cubicBezTo>
                    <a:pt x="1" y="5"/>
                    <a:pt x="4" y="6"/>
                    <a:pt x="5" y="4"/>
                  </a:cubicBezTo>
                  <a:cubicBezTo>
                    <a:pt x="6" y="3"/>
                    <a:pt x="4" y="1"/>
                    <a:pt x="5" y="1"/>
                  </a:cubicBezTo>
                  <a:cubicBezTo>
                    <a:pt x="7" y="1"/>
                    <a:pt x="8" y="4"/>
                    <a:pt x="11" y="4"/>
                  </a:cubicBezTo>
                  <a:cubicBezTo>
                    <a:pt x="14" y="4"/>
                    <a:pt x="17" y="0"/>
                    <a:pt x="20" y="0"/>
                  </a:cubicBezTo>
                  <a:cubicBezTo>
                    <a:pt x="23" y="0"/>
                    <a:pt x="26" y="0"/>
                    <a:pt x="29" y="2"/>
                  </a:cubicBezTo>
                  <a:cubicBezTo>
                    <a:pt x="31" y="4"/>
                    <a:pt x="31" y="6"/>
                    <a:pt x="32" y="9"/>
                  </a:cubicBezTo>
                  <a:cubicBezTo>
                    <a:pt x="33" y="10"/>
                    <a:pt x="32" y="12"/>
                    <a:pt x="33" y="12"/>
                  </a:cubicBezTo>
                  <a:cubicBezTo>
                    <a:pt x="35" y="12"/>
                    <a:pt x="38" y="9"/>
                    <a:pt x="40" y="9"/>
                  </a:cubicBezTo>
                  <a:cubicBezTo>
                    <a:pt x="43" y="9"/>
                    <a:pt x="45" y="12"/>
                    <a:pt x="47" y="14"/>
                  </a:cubicBezTo>
                  <a:cubicBezTo>
                    <a:pt x="48" y="15"/>
                    <a:pt x="47" y="16"/>
                    <a:pt x="47" y="17"/>
                  </a:cubicBezTo>
                  <a:cubicBezTo>
                    <a:pt x="50" y="17"/>
                    <a:pt x="53" y="15"/>
                    <a:pt x="55" y="16"/>
                  </a:cubicBezTo>
                  <a:cubicBezTo>
                    <a:pt x="57" y="17"/>
                    <a:pt x="58" y="20"/>
                    <a:pt x="59" y="22"/>
                  </a:cubicBezTo>
                  <a:cubicBezTo>
                    <a:pt x="59" y="24"/>
                    <a:pt x="56" y="26"/>
                    <a:pt x="57" y="2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4" name="Freeform 1095"/>
            <p:cNvSpPr>
              <a:spLocks noChangeAspect="1"/>
            </p:cNvSpPr>
            <p:nvPr/>
          </p:nvSpPr>
          <p:spPr bwMode="auto">
            <a:xfrm>
              <a:off x="2551113" y="1539875"/>
              <a:ext cx="28575" cy="25400"/>
            </a:xfrm>
            <a:custGeom>
              <a:avLst/>
              <a:gdLst>
                <a:gd name="T0" fmla="*/ 9525 w 15"/>
                <a:gd name="T1" fmla="*/ 1954 h 13"/>
                <a:gd name="T2" fmla="*/ 1905 w 15"/>
                <a:gd name="T3" fmla="*/ 15631 h 13"/>
                <a:gd name="T4" fmla="*/ 13335 w 15"/>
                <a:gd name="T5" fmla="*/ 19538 h 13"/>
                <a:gd name="T6" fmla="*/ 19050 w 15"/>
                <a:gd name="T7" fmla="*/ 25400 h 13"/>
                <a:gd name="T8" fmla="*/ 24765 w 15"/>
                <a:gd name="T9" fmla="*/ 19538 h 13"/>
                <a:gd name="T10" fmla="*/ 24765 w 15"/>
                <a:gd name="T11" fmla="*/ 5862 h 13"/>
                <a:gd name="T12" fmla="*/ 15240 w 15"/>
                <a:gd name="T13" fmla="*/ 5862 h 13"/>
                <a:gd name="T14" fmla="*/ 9525 w 15"/>
                <a:gd name="T15" fmla="*/ 1954 h 1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5"/>
                <a:gd name="T25" fmla="*/ 0 h 13"/>
                <a:gd name="T26" fmla="*/ 15 w 15"/>
                <a:gd name="T27" fmla="*/ 13 h 1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5" h="13">
                  <a:moveTo>
                    <a:pt x="5" y="1"/>
                  </a:moveTo>
                  <a:cubicBezTo>
                    <a:pt x="2" y="2"/>
                    <a:pt x="0" y="5"/>
                    <a:pt x="1" y="8"/>
                  </a:cubicBezTo>
                  <a:cubicBezTo>
                    <a:pt x="1" y="10"/>
                    <a:pt x="5" y="9"/>
                    <a:pt x="7" y="10"/>
                  </a:cubicBezTo>
                  <a:cubicBezTo>
                    <a:pt x="8" y="11"/>
                    <a:pt x="9" y="13"/>
                    <a:pt x="10" y="13"/>
                  </a:cubicBezTo>
                  <a:cubicBezTo>
                    <a:pt x="12" y="13"/>
                    <a:pt x="13" y="11"/>
                    <a:pt x="13" y="10"/>
                  </a:cubicBezTo>
                  <a:cubicBezTo>
                    <a:pt x="14" y="8"/>
                    <a:pt x="15" y="5"/>
                    <a:pt x="13" y="3"/>
                  </a:cubicBezTo>
                  <a:cubicBezTo>
                    <a:pt x="12" y="2"/>
                    <a:pt x="10" y="4"/>
                    <a:pt x="8" y="3"/>
                  </a:cubicBezTo>
                  <a:cubicBezTo>
                    <a:pt x="7" y="3"/>
                    <a:pt x="6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5" name="Freeform 1096"/>
            <p:cNvSpPr>
              <a:spLocks noChangeAspect="1"/>
            </p:cNvSpPr>
            <p:nvPr/>
          </p:nvSpPr>
          <p:spPr bwMode="auto">
            <a:xfrm>
              <a:off x="2559050" y="1598613"/>
              <a:ext cx="66675" cy="55562"/>
            </a:xfrm>
            <a:custGeom>
              <a:avLst/>
              <a:gdLst>
                <a:gd name="T0" fmla="*/ 9525 w 35"/>
                <a:gd name="T1" fmla="*/ 0 h 29"/>
                <a:gd name="T2" fmla="*/ 34290 w 35"/>
                <a:gd name="T3" fmla="*/ 7664 h 29"/>
                <a:gd name="T4" fmla="*/ 43815 w 35"/>
                <a:gd name="T5" fmla="*/ 13412 h 29"/>
                <a:gd name="T6" fmla="*/ 53340 w 35"/>
                <a:gd name="T7" fmla="*/ 17243 h 29"/>
                <a:gd name="T8" fmla="*/ 64770 w 35"/>
                <a:gd name="T9" fmla="*/ 24907 h 29"/>
                <a:gd name="T10" fmla="*/ 57150 w 35"/>
                <a:gd name="T11" fmla="*/ 32571 h 29"/>
                <a:gd name="T12" fmla="*/ 59055 w 35"/>
                <a:gd name="T13" fmla="*/ 44066 h 29"/>
                <a:gd name="T14" fmla="*/ 38100 w 35"/>
                <a:gd name="T15" fmla="*/ 51730 h 29"/>
                <a:gd name="T16" fmla="*/ 28575 w 35"/>
                <a:gd name="T17" fmla="*/ 47898 h 29"/>
                <a:gd name="T18" fmla="*/ 15240 w 35"/>
                <a:gd name="T19" fmla="*/ 55562 h 29"/>
                <a:gd name="T20" fmla="*/ 13335 w 35"/>
                <a:gd name="T21" fmla="*/ 45982 h 29"/>
                <a:gd name="T22" fmla="*/ 5715 w 35"/>
                <a:gd name="T23" fmla="*/ 38319 h 29"/>
                <a:gd name="T24" fmla="*/ 0 w 35"/>
                <a:gd name="T25" fmla="*/ 19159 h 29"/>
                <a:gd name="T26" fmla="*/ 3810 w 35"/>
                <a:gd name="T27" fmla="*/ 3832 h 29"/>
                <a:gd name="T28" fmla="*/ 9525 w 35"/>
                <a:gd name="T29" fmla="*/ 0 h 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5"/>
                <a:gd name="T46" fmla="*/ 0 h 29"/>
                <a:gd name="T47" fmla="*/ 35 w 35"/>
                <a:gd name="T48" fmla="*/ 29 h 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5" h="29">
                  <a:moveTo>
                    <a:pt x="5" y="0"/>
                  </a:moveTo>
                  <a:cubicBezTo>
                    <a:pt x="10" y="0"/>
                    <a:pt x="14" y="2"/>
                    <a:pt x="18" y="4"/>
                  </a:cubicBezTo>
                  <a:cubicBezTo>
                    <a:pt x="20" y="5"/>
                    <a:pt x="21" y="6"/>
                    <a:pt x="23" y="7"/>
                  </a:cubicBezTo>
                  <a:cubicBezTo>
                    <a:pt x="25" y="8"/>
                    <a:pt x="26" y="9"/>
                    <a:pt x="28" y="9"/>
                  </a:cubicBezTo>
                  <a:cubicBezTo>
                    <a:pt x="30" y="10"/>
                    <a:pt x="33" y="10"/>
                    <a:pt x="34" y="13"/>
                  </a:cubicBezTo>
                  <a:cubicBezTo>
                    <a:pt x="35" y="14"/>
                    <a:pt x="31" y="15"/>
                    <a:pt x="30" y="17"/>
                  </a:cubicBezTo>
                  <a:cubicBezTo>
                    <a:pt x="30" y="19"/>
                    <a:pt x="32" y="22"/>
                    <a:pt x="31" y="23"/>
                  </a:cubicBezTo>
                  <a:cubicBezTo>
                    <a:pt x="28" y="26"/>
                    <a:pt x="24" y="26"/>
                    <a:pt x="20" y="27"/>
                  </a:cubicBezTo>
                  <a:cubicBezTo>
                    <a:pt x="18" y="27"/>
                    <a:pt x="16" y="25"/>
                    <a:pt x="15" y="25"/>
                  </a:cubicBezTo>
                  <a:cubicBezTo>
                    <a:pt x="12" y="26"/>
                    <a:pt x="11" y="29"/>
                    <a:pt x="8" y="29"/>
                  </a:cubicBezTo>
                  <a:cubicBezTo>
                    <a:pt x="7" y="29"/>
                    <a:pt x="8" y="26"/>
                    <a:pt x="7" y="24"/>
                  </a:cubicBezTo>
                  <a:cubicBezTo>
                    <a:pt x="6" y="23"/>
                    <a:pt x="4" y="22"/>
                    <a:pt x="3" y="20"/>
                  </a:cubicBezTo>
                  <a:cubicBezTo>
                    <a:pt x="1" y="17"/>
                    <a:pt x="0" y="14"/>
                    <a:pt x="0" y="10"/>
                  </a:cubicBezTo>
                  <a:cubicBezTo>
                    <a:pt x="0" y="8"/>
                    <a:pt x="1" y="5"/>
                    <a:pt x="2" y="2"/>
                  </a:cubicBezTo>
                  <a:cubicBezTo>
                    <a:pt x="2" y="1"/>
                    <a:pt x="4" y="0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6" name="Freeform 1097"/>
            <p:cNvSpPr>
              <a:spLocks noChangeAspect="1"/>
            </p:cNvSpPr>
            <p:nvPr/>
          </p:nvSpPr>
          <p:spPr bwMode="auto">
            <a:xfrm>
              <a:off x="2587625" y="1655763"/>
              <a:ext cx="66675" cy="17462"/>
            </a:xfrm>
            <a:custGeom>
              <a:avLst/>
              <a:gdLst>
                <a:gd name="T0" fmla="*/ 17145 w 35"/>
                <a:gd name="T1" fmla="*/ 0 h 9"/>
                <a:gd name="T2" fmla="*/ 1905 w 35"/>
                <a:gd name="T3" fmla="*/ 3880 h 9"/>
                <a:gd name="T4" fmla="*/ 3810 w 35"/>
                <a:gd name="T5" fmla="*/ 13582 h 9"/>
                <a:gd name="T6" fmla="*/ 34290 w 35"/>
                <a:gd name="T7" fmla="*/ 13582 h 9"/>
                <a:gd name="T8" fmla="*/ 55245 w 35"/>
                <a:gd name="T9" fmla="*/ 15522 h 9"/>
                <a:gd name="T10" fmla="*/ 60960 w 35"/>
                <a:gd name="T11" fmla="*/ 7761 h 9"/>
                <a:gd name="T12" fmla="*/ 64770 w 35"/>
                <a:gd name="T13" fmla="*/ 3880 h 9"/>
                <a:gd name="T14" fmla="*/ 57150 w 35"/>
                <a:gd name="T15" fmla="*/ 0 h 9"/>
                <a:gd name="T16" fmla="*/ 47625 w 35"/>
                <a:gd name="T17" fmla="*/ 1940 h 9"/>
                <a:gd name="T18" fmla="*/ 24765 w 35"/>
                <a:gd name="T19" fmla="*/ 0 h 9"/>
                <a:gd name="T20" fmla="*/ 17145 w 35"/>
                <a:gd name="T21" fmla="*/ 0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5"/>
                <a:gd name="T34" fmla="*/ 0 h 9"/>
                <a:gd name="T35" fmla="*/ 35 w 35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5" h="9">
                  <a:moveTo>
                    <a:pt x="9" y="0"/>
                  </a:moveTo>
                  <a:cubicBezTo>
                    <a:pt x="6" y="0"/>
                    <a:pt x="3" y="0"/>
                    <a:pt x="1" y="2"/>
                  </a:cubicBezTo>
                  <a:cubicBezTo>
                    <a:pt x="0" y="3"/>
                    <a:pt x="0" y="6"/>
                    <a:pt x="2" y="7"/>
                  </a:cubicBezTo>
                  <a:cubicBezTo>
                    <a:pt x="7" y="8"/>
                    <a:pt x="13" y="7"/>
                    <a:pt x="18" y="7"/>
                  </a:cubicBezTo>
                  <a:cubicBezTo>
                    <a:pt x="22" y="7"/>
                    <a:pt x="25" y="9"/>
                    <a:pt x="29" y="8"/>
                  </a:cubicBezTo>
                  <a:cubicBezTo>
                    <a:pt x="30" y="7"/>
                    <a:pt x="31" y="5"/>
                    <a:pt x="32" y="4"/>
                  </a:cubicBezTo>
                  <a:cubicBezTo>
                    <a:pt x="33" y="3"/>
                    <a:pt x="35" y="3"/>
                    <a:pt x="34" y="2"/>
                  </a:cubicBezTo>
                  <a:cubicBezTo>
                    <a:pt x="34" y="0"/>
                    <a:pt x="32" y="0"/>
                    <a:pt x="30" y="0"/>
                  </a:cubicBezTo>
                  <a:cubicBezTo>
                    <a:pt x="28" y="0"/>
                    <a:pt x="27" y="1"/>
                    <a:pt x="25" y="1"/>
                  </a:cubicBezTo>
                  <a:cubicBezTo>
                    <a:pt x="21" y="1"/>
                    <a:pt x="17" y="0"/>
                    <a:pt x="13" y="0"/>
                  </a:cubicBezTo>
                  <a:cubicBezTo>
                    <a:pt x="11" y="0"/>
                    <a:pt x="10" y="0"/>
                    <a:pt x="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7" name="Freeform 1098"/>
            <p:cNvSpPr>
              <a:spLocks noChangeAspect="1"/>
            </p:cNvSpPr>
            <p:nvPr/>
          </p:nvSpPr>
          <p:spPr bwMode="auto">
            <a:xfrm>
              <a:off x="2692400" y="1660525"/>
              <a:ext cx="23813" cy="17463"/>
            </a:xfrm>
            <a:custGeom>
              <a:avLst/>
              <a:gdLst>
                <a:gd name="T0" fmla="*/ 5953 w 12"/>
                <a:gd name="T1" fmla="*/ 1940 h 9"/>
                <a:gd name="T2" fmla="*/ 0 w 12"/>
                <a:gd name="T3" fmla="*/ 7761 h 9"/>
                <a:gd name="T4" fmla="*/ 7938 w 12"/>
                <a:gd name="T5" fmla="*/ 15523 h 9"/>
                <a:gd name="T6" fmla="*/ 17860 w 12"/>
                <a:gd name="T7" fmla="*/ 15523 h 9"/>
                <a:gd name="T8" fmla="*/ 21829 w 12"/>
                <a:gd name="T9" fmla="*/ 5821 h 9"/>
                <a:gd name="T10" fmla="*/ 11907 w 12"/>
                <a:gd name="T11" fmla="*/ 3881 h 9"/>
                <a:gd name="T12" fmla="*/ 5953 w 12"/>
                <a:gd name="T13" fmla="*/ 1940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9"/>
                <a:gd name="T23" fmla="*/ 12 w 1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9">
                  <a:moveTo>
                    <a:pt x="3" y="1"/>
                  </a:moveTo>
                  <a:cubicBezTo>
                    <a:pt x="2" y="1"/>
                    <a:pt x="0" y="3"/>
                    <a:pt x="0" y="4"/>
                  </a:cubicBezTo>
                  <a:cubicBezTo>
                    <a:pt x="0" y="6"/>
                    <a:pt x="2" y="8"/>
                    <a:pt x="4" y="8"/>
                  </a:cubicBezTo>
                  <a:cubicBezTo>
                    <a:pt x="5" y="9"/>
                    <a:pt x="8" y="9"/>
                    <a:pt x="9" y="8"/>
                  </a:cubicBezTo>
                  <a:cubicBezTo>
                    <a:pt x="11" y="7"/>
                    <a:pt x="12" y="5"/>
                    <a:pt x="11" y="3"/>
                  </a:cubicBezTo>
                  <a:cubicBezTo>
                    <a:pt x="10" y="2"/>
                    <a:pt x="8" y="2"/>
                    <a:pt x="6" y="2"/>
                  </a:cubicBezTo>
                  <a:cubicBezTo>
                    <a:pt x="5" y="1"/>
                    <a:pt x="4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8" name="Freeform 1099"/>
            <p:cNvSpPr>
              <a:spLocks noChangeAspect="1"/>
            </p:cNvSpPr>
            <p:nvPr/>
          </p:nvSpPr>
          <p:spPr bwMode="auto">
            <a:xfrm>
              <a:off x="2563813" y="1684338"/>
              <a:ext cx="336550" cy="120650"/>
            </a:xfrm>
            <a:custGeom>
              <a:avLst/>
              <a:gdLst>
                <a:gd name="T0" fmla="*/ 325142 w 177"/>
                <a:gd name="T1" fmla="*/ 67028 h 63"/>
                <a:gd name="T2" fmla="*/ 332747 w 177"/>
                <a:gd name="T3" fmla="*/ 80433 h 63"/>
                <a:gd name="T4" fmla="*/ 321339 w 177"/>
                <a:gd name="T5" fmla="*/ 93839 h 63"/>
                <a:gd name="T6" fmla="*/ 332747 w 177"/>
                <a:gd name="T7" fmla="*/ 97669 h 63"/>
                <a:gd name="T8" fmla="*/ 317536 w 177"/>
                <a:gd name="T9" fmla="*/ 97669 h 63"/>
                <a:gd name="T10" fmla="*/ 319437 w 177"/>
                <a:gd name="T11" fmla="*/ 111075 h 63"/>
                <a:gd name="T12" fmla="*/ 296620 w 177"/>
                <a:gd name="T13" fmla="*/ 109160 h 63"/>
                <a:gd name="T14" fmla="*/ 266198 w 177"/>
                <a:gd name="T15" fmla="*/ 114905 h 63"/>
                <a:gd name="T16" fmla="*/ 250986 w 177"/>
                <a:gd name="T17" fmla="*/ 112990 h 63"/>
                <a:gd name="T18" fmla="*/ 222465 w 177"/>
                <a:gd name="T19" fmla="*/ 112990 h 63"/>
                <a:gd name="T20" fmla="*/ 214860 w 177"/>
                <a:gd name="T21" fmla="*/ 112990 h 63"/>
                <a:gd name="T22" fmla="*/ 203451 w 177"/>
                <a:gd name="T23" fmla="*/ 116820 h 63"/>
                <a:gd name="T24" fmla="*/ 192043 w 177"/>
                <a:gd name="T25" fmla="*/ 114905 h 63"/>
                <a:gd name="T26" fmla="*/ 182536 w 177"/>
                <a:gd name="T27" fmla="*/ 116820 h 63"/>
                <a:gd name="T28" fmla="*/ 148310 w 177"/>
                <a:gd name="T29" fmla="*/ 99584 h 63"/>
                <a:gd name="T30" fmla="*/ 136902 w 177"/>
                <a:gd name="T31" fmla="*/ 103414 h 63"/>
                <a:gd name="T32" fmla="*/ 114085 w 177"/>
                <a:gd name="T33" fmla="*/ 111075 h 63"/>
                <a:gd name="T34" fmla="*/ 95071 w 177"/>
                <a:gd name="T35" fmla="*/ 109160 h 63"/>
                <a:gd name="T36" fmla="*/ 79859 w 177"/>
                <a:gd name="T37" fmla="*/ 88094 h 63"/>
                <a:gd name="T38" fmla="*/ 79859 w 177"/>
                <a:gd name="T39" fmla="*/ 82348 h 63"/>
                <a:gd name="T40" fmla="*/ 89366 w 177"/>
                <a:gd name="T41" fmla="*/ 65113 h 63"/>
                <a:gd name="T42" fmla="*/ 79859 w 177"/>
                <a:gd name="T43" fmla="*/ 45962 h 63"/>
                <a:gd name="T44" fmla="*/ 66549 w 177"/>
                <a:gd name="T45" fmla="*/ 38302 h 63"/>
                <a:gd name="T46" fmla="*/ 32324 w 177"/>
                <a:gd name="T47" fmla="*/ 38302 h 63"/>
                <a:gd name="T48" fmla="*/ 34225 w 177"/>
                <a:gd name="T49" fmla="*/ 30641 h 63"/>
                <a:gd name="T50" fmla="*/ 13310 w 177"/>
                <a:gd name="T51" fmla="*/ 24896 h 63"/>
                <a:gd name="T52" fmla="*/ 5704 w 177"/>
                <a:gd name="T53" fmla="*/ 21066 h 63"/>
                <a:gd name="T54" fmla="*/ 9507 w 177"/>
                <a:gd name="T55" fmla="*/ 13406 h 63"/>
                <a:gd name="T56" fmla="*/ 15211 w 177"/>
                <a:gd name="T57" fmla="*/ 1915 h 63"/>
                <a:gd name="T58" fmla="*/ 45634 w 177"/>
                <a:gd name="T59" fmla="*/ 1915 h 63"/>
                <a:gd name="T60" fmla="*/ 68451 w 177"/>
                <a:gd name="T61" fmla="*/ 5745 h 63"/>
                <a:gd name="T62" fmla="*/ 76056 w 177"/>
                <a:gd name="T63" fmla="*/ 17236 h 63"/>
                <a:gd name="T64" fmla="*/ 81761 w 177"/>
                <a:gd name="T65" fmla="*/ 19151 h 63"/>
                <a:gd name="T66" fmla="*/ 114085 w 177"/>
                <a:gd name="T67" fmla="*/ 15321 h 63"/>
                <a:gd name="T68" fmla="*/ 127395 w 177"/>
                <a:gd name="T69" fmla="*/ 28726 h 63"/>
                <a:gd name="T70" fmla="*/ 112183 w 177"/>
                <a:gd name="T71" fmla="*/ 28726 h 63"/>
                <a:gd name="T72" fmla="*/ 144507 w 177"/>
                <a:gd name="T73" fmla="*/ 32556 h 63"/>
                <a:gd name="T74" fmla="*/ 148310 w 177"/>
                <a:gd name="T75" fmla="*/ 42132 h 63"/>
                <a:gd name="T76" fmla="*/ 104578 w 177"/>
                <a:gd name="T77" fmla="*/ 32556 h 63"/>
                <a:gd name="T78" fmla="*/ 121690 w 177"/>
                <a:gd name="T79" fmla="*/ 45962 h 63"/>
                <a:gd name="T80" fmla="*/ 112183 w 177"/>
                <a:gd name="T81" fmla="*/ 55537 h 63"/>
                <a:gd name="T82" fmla="*/ 135000 w 177"/>
                <a:gd name="T83" fmla="*/ 55537 h 63"/>
                <a:gd name="T84" fmla="*/ 138803 w 177"/>
                <a:gd name="T85" fmla="*/ 65113 h 63"/>
                <a:gd name="T86" fmla="*/ 133099 w 177"/>
                <a:gd name="T87" fmla="*/ 70858 h 63"/>
                <a:gd name="T88" fmla="*/ 144507 w 177"/>
                <a:gd name="T89" fmla="*/ 76603 h 63"/>
                <a:gd name="T90" fmla="*/ 150212 w 177"/>
                <a:gd name="T91" fmla="*/ 68943 h 63"/>
                <a:gd name="T92" fmla="*/ 165423 w 177"/>
                <a:gd name="T93" fmla="*/ 72773 h 63"/>
                <a:gd name="T94" fmla="*/ 176831 w 177"/>
                <a:gd name="T95" fmla="*/ 72773 h 63"/>
                <a:gd name="T96" fmla="*/ 197747 w 177"/>
                <a:gd name="T97" fmla="*/ 74688 h 63"/>
                <a:gd name="T98" fmla="*/ 214860 w 177"/>
                <a:gd name="T99" fmla="*/ 78518 h 63"/>
                <a:gd name="T100" fmla="*/ 228169 w 177"/>
                <a:gd name="T101" fmla="*/ 65113 h 63"/>
                <a:gd name="T102" fmla="*/ 256691 w 177"/>
                <a:gd name="T103" fmla="*/ 55537 h 63"/>
                <a:gd name="T104" fmla="*/ 287113 w 177"/>
                <a:gd name="T105" fmla="*/ 53622 h 63"/>
                <a:gd name="T106" fmla="*/ 311832 w 177"/>
                <a:gd name="T107" fmla="*/ 59367 h 6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7"/>
                <a:gd name="T163" fmla="*/ 0 h 63"/>
                <a:gd name="T164" fmla="*/ 177 w 177"/>
                <a:gd name="T165" fmla="*/ 63 h 6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7" h="63">
                  <a:moveTo>
                    <a:pt x="173" y="33"/>
                  </a:moveTo>
                  <a:cubicBezTo>
                    <a:pt x="174" y="33"/>
                    <a:pt x="170" y="35"/>
                    <a:pt x="171" y="35"/>
                  </a:cubicBezTo>
                  <a:cubicBezTo>
                    <a:pt x="173" y="36"/>
                    <a:pt x="176" y="34"/>
                    <a:pt x="176" y="35"/>
                  </a:cubicBezTo>
                  <a:cubicBezTo>
                    <a:pt x="177" y="37"/>
                    <a:pt x="176" y="40"/>
                    <a:pt x="175" y="42"/>
                  </a:cubicBezTo>
                  <a:cubicBezTo>
                    <a:pt x="173" y="44"/>
                    <a:pt x="169" y="44"/>
                    <a:pt x="168" y="46"/>
                  </a:cubicBezTo>
                  <a:cubicBezTo>
                    <a:pt x="167" y="47"/>
                    <a:pt x="168" y="49"/>
                    <a:pt x="169" y="49"/>
                  </a:cubicBezTo>
                  <a:cubicBezTo>
                    <a:pt x="171" y="49"/>
                    <a:pt x="173" y="45"/>
                    <a:pt x="174" y="46"/>
                  </a:cubicBezTo>
                  <a:cubicBezTo>
                    <a:pt x="176" y="46"/>
                    <a:pt x="176" y="49"/>
                    <a:pt x="175" y="51"/>
                  </a:cubicBezTo>
                  <a:cubicBezTo>
                    <a:pt x="174" y="52"/>
                    <a:pt x="172" y="54"/>
                    <a:pt x="171" y="54"/>
                  </a:cubicBezTo>
                  <a:cubicBezTo>
                    <a:pt x="169" y="54"/>
                    <a:pt x="169" y="50"/>
                    <a:pt x="167" y="51"/>
                  </a:cubicBezTo>
                  <a:cubicBezTo>
                    <a:pt x="166" y="51"/>
                    <a:pt x="167" y="53"/>
                    <a:pt x="167" y="54"/>
                  </a:cubicBezTo>
                  <a:cubicBezTo>
                    <a:pt x="168" y="55"/>
                    <a:pt x="169" y="57"/>
                    <a:pt x="168" y="58"/>
                  </a:cubicBezTo>
                  <a:cubicBezTo>
                    <a:pt x="167" y="59"/>
                    <a:pt x="164" y="58"/>
                    <a:pt x="162" y="58"/>
                  </a:cubicBezTo>
                  <a:cubicBezTo>
                    <a:pt x="160" y="58"/>
                    <a:pt x="158" y="57"/>
                    <a:pt x="156" y="57"/>
                  </a:cubicBezTo>
                  <a:cubicBezTo>
                    <a:pt x="154" y="57"/>
                    <a:pt x="152" y="59"/>
                    <a:pt x="150" y="60"/>
                  </a:cubicBezTo>
                  <a:cubicBezTo>
                    <a:pt x="147" y="60"/>
                    <a:pt x="143" y="61"/>
                    <a:pt x="140" y="60"/>
                  </a:cubicBezTo>
                  <a:cubicBezTo>
                    <a:pt x="137" y="58"/>
                    <a:pt x="138" y="52"/>
                    <a:pt x="135" y="52"/>
                  </a:cubicBezTo>
                  <a:cubicBezTo>
                    <a:pt x="133" y="52"/>
                    <a:pt x="135" y="58"/>
                    <a:pt x="132" y="59"/>
                  </a:cubicBezTo>
                  <a:cubicBezTo>
                    <a:pt x="130" y="61"/>
                    <a:pt x="126" y="59"/>
                    <a:pt x="123" y="59"/>
                  </a:cubicBezTo>
                  <a:cubicBezTo>
                    <a:pt x="121" y="59"/>
                    <a:pt x="119" y="60"/>
                    <a:pt x="117" y="59"/>
                  </a:cubicBezTo>
                  <a:cubicBezTo>
                    <a:pt x="116" y="59"/>
                    <a:pt x="116" y="56"/>
                    <a:pt x="115" y="56"/>
                  </a:cubicBezTo>
                  <a:cubicBezTo>
                    <a:pt x="114" y="56"/>
                    <a:pt x="114" y="59"/>
                    <a:pt x="113" y="59"/>
                  </a:cubicBezTo>
                  <a:cubicBezTo>
                    <a:pt x="111" y="59"/>
                    <a:pt x="111" y="55"/>
                    <a:pt x="110" y="56"/>
                  </a:cubicBezTo>
                  <a:cubicBezTo>
                    <a:pt x="108" y="57"/>
                    <a:pt x="109" y="61"/>
                    <a:pt x="107" y="61"/>
                  </a:cubicBezTo>
                  <a:cubicBezTo>
                    <a:pt x="105" y="61"/>
                    <a:pt x="105" y="58"/>
                    <a:pt x="103" y="58"/>
                  </a:cubicBezTo>
                  <a:cubicBezTo>
                    <a:pt x="102" y="57"/>
                    <a:pt x="102" y="60"/>
                    <a:pt x="101" y="60"/>
                  </a:cubicBezTo>
                  <a:cubicBezTo>
                    <a:pt x="99" y="60"/>
                    <a:pt x="98" y="57"/>
                    <a:pt x="96" y="58"/>
                  </a:cubicBezTo>
                  <a:cubicBezTo>
                    <a:pt x="95" y="58"/>
                    <a:pt x="97" y="61"/>
                    <a:pt x="96" y="61"/>
                  </a:cubicBezTo>
                  <a:cubicBezTo>
                    <a:pt x="90" y="62"/>
                    <a:pt x="83" y="63"/>
                    <a:pt x="78" y="61"/>
                  </a:cubicBezTo>
                  <a:cubicBezTo>
                    <a:pt x="76" y="60"/>
                    <a:pt x="80" y="54"/>
                    <a:pt x="78" y="52"/>
                  </a:cubicBezTo>
                  <a:cubicBezTo>
                    <a:pt x="76" y="51"/>
                    <a:pt x="76" y="56"/>
                    <a:pt x="74" y="56"/>
                  </a:cubicBezTo>
                  <a:cubicBezTo>
                    <a:pt x="73" y="57"/>
                    <a:pt x="73" y="53"/>
                    <a:pt x="72" y="54"/>
                  </a:cubicBezTo>
                  <a:cubicBezTo>
                    <a:pt x="70" y="54"/>
                    <a:pt x="72" y="58"/>
                    <a:pt x="70" y="58"/>
                  </a:cubicBezTo>
                  <a:cubicBezTo>
                    <a:pt x="67" y="59"/>
                    <a:pt x="63" y="59"/>
                    <a:pt x="60" y="58"/>
                  </a:cubicBezTo>
                  <a:cubicBezTo>
                    <a:pt x="57" y="57"/>
                    <a:pt x="56" y="52"/>
                    <a:pt x="53" y="52"/>
                  </a:cubicBezTo>
                  <a:cubicBezTo>
                    <a:pt x="52" y="52"/>
                    <a:pt x="52" y="57"/>
                    <a:pt x="50" y="57"/>
                  </a:cubicBezTo>
                  <a:cubicBezTo>
                    <a:pt x="48" y="57"/>
                    <a:pt x="45" y="55"/>
                    <a:pt x="43" y="53"/>
                  </a:cubicBezTo>
                  <a:cubicBezTo>
                    <a:pt x="42" y="51"/>
                    <a:pt x="42" y="48"/>
                    <a:pt x="42" y="46"/>
                  </a:cubicBezTo>
                  <a:cubicBezTo>
                    <a:pt x="43" y="45"/>
                    <a:pt x="45" y="45"/>
                    <a:pt x="45" y="44"/>
                  </a:cubicBezTo>
                  <a:cubicBezTo>
                    <a:pt x="45" y="43"/>
                    <a:pt x="42" y="44"/>
                    <a:pt x="42" y="43"/>
                  </a:cubicBezTo>
                  <a:cubicBezTo>
                    <a:pt x="41" y="41"/>
                    <a:pt x="42" y="38"/>
                    <a:pt x="43" y="36"/>
                  </a:cubicBezTo>
                  <a:cubicBezTo>
                    <a:pt x="44" y="35"/>
                    <a:pt x="46" y="35"/>
                    <a:pt x="47" y="34"/>
                  </a:cubicBezTo>
                  <a:cubicBezTo>
                    <a:pt x="47" y="32"/>
                    <a:pt x="47" y="30"/>
                    <a:pt x="47" y="29"/>
                  </a:cubicBezTo>
                  <a:cubicBezTo>
                    <a:pt x="46" y="27"/>
                    <a:pt x="44" y="26"/>
                    <a:pt x="42" y="24"/>
                  </a:cubicBezTo>
                  <a:cubicBezTo>
                    <a:pt x="41" y="23"/>
                    <a:pt x="42" y="20"/>
                    <a:pt x="41" y="19"/>
                  </a:cubicBezTo>
                  <a:cubicBezTo>
                    <a:pt x="39" y="18"/>
                    <a:pt x="37" y="20"/>
                    <a:pt x="35" y="20"/>
                  </a:cubicBezTo>
                  <a:cubicBezTo>
                    <a:pt x="30" y="19"/>
                    <a:pt x="25" y="18"/>
                    <a:pt x="20" y="18"/>
                  </a:cubicBezTo>
                  <a:cubicBezTo>
                    <a:pt x="19" y="18"/>
                    <a:pt x="18" y="20"/>
                    <a:pt x="17" y="20"/>
                  </a:cubicBezTo>
                  <a:cubicBezTo>
                    <a:pt x="16" y="20"/>
                    <a:pt x="14" y="19"/>
                    <a:pt x="14" y="18"/>
                  </a:cubicBezTo>
                  <a:cubicBezTo>
                    <a:pt x="15" y="17"/>
                    <a:pt x="19" y="17"/>
                    <a:pt x="18" y="16"/>
                  </a:cubicBezTo>
                  <a:cubicBezTo>
                    <a:pt x="16" y="14"/>
                    <a:pt x="13" y="16"/>
                    <a:pt x="10" y="15"/>
                  </a:cubicBezTo>
                  <a:cubicBezTo>
                    <a:pt x="9" y="15"/>
                    <a:pt x="7" y="15"/>
                    <a:pt x="7" y="13"/>
                  </a:cubicBezTo>
                  <a:cubicBezTo>
                    <a:pt x="6" y="12"/>
                    <a:pt x="10" y="12"/>
                    <a:pt x="9" y="12"/>
                  </a:cubicBezTo>
                  <a:cubicBezTo>
                    <a:pt x="8" y="10"/>
                    <a:pt x="5" y="12"/>
                    <a:pt x="3" y="11"/>
                  </a:cubicBezTo>
                  <a:cubicBezTo>
                    <a:pt x="2" y="10"/>
                    <a:pt x="0" y="9"/>
                    <a:pt x="0" y="8"/>
                  </a:cubicBezTo>
                  <a:cubicBezTo>
                    <a:pt x="1" y="6"/>
                    <a:pt x="5" y="9"/>
                    <a:pt x="5" y="7"/>
                  </a:cubicBezTo>
                  <a:cubicBezTo>
                    <a:pt x="6" y="6"/>
                    <a:pt x="1" y="5"/>
                    <a:pt x="2" y="4"/>
                  </a:cubicBezTo>
                  <a:cubicBezTo>
                    <a:pt x="3" y="2"/>
                    <a:pt x="6" y="2"/>
                    <a:pt x="8" y="1"/>
                  </a:cubicBezTo>
                  <a:cubicBezTo>
                    <a:pt x="10" y="1"/>
                    <a:pt x="13" y="0"/>
                    <a:pt x="15" y="0"/>
                  </a:cubicBezTo>
                  <a:cubicBezTo>
                    <a:pt x="18" y="0"/>
                    <a:pt x="21" y="0"/>
                    <a:pt x="24" y="1"/>
                  </a:cubicBezTo>
                  <a:cubicBezTo>
                    <a:pt x="27" y="2"/>
                    <a:pt x="29" y="4"/>
                    <a:pt x="32" y="4"/>
                  </a:cubicBezTo>
                  <a:cubicBezTo>
                    <a:pt x="33" y="4"/>
                    <a:pt x="34" y="3"/>
                    <a:pt x="36" y="3"/>
                  </a:cubicBezTo>
                  <a:cubicBezTo>
                    <a:pt x="37" y="4"/>
                    <a:pt x="39" y="5"/>
                    <a:pt x="40" y="6"/>
                  </a:cubicBezTo>
                  <a:cubicBezTo>
                    <a:pt x="41" y="7"/>
                    <a:pt x="40" y="8"/>
                    <a:pt x="40" y="9"/>
                  </a:cubicBezTo>
                  <a:cubicBezTo>
                    <a:pt x="39" y="11"/>
                    <a:pt x="35" y="14"/>
                    <a:pt x="37" y="15"/>
                  </a:cubicBezTo>
                  <a:cubicBezTo>
                    <a:pt x="40" y="15"/>
                    <a:pt x="41" y="11"/>
                    <a:pt x="43" y="10"/>
                  </a:cubicBezTo>
                  <a:cubicBezTo>
                    <a:pt x="45" y="9"/>
                    <a:pt x="48" y="11"/>
                    <a:pt x="50" y="11"/>
                  </a:cubicBezTo>
                  <a:cubicBezTo>
                    <a:pt x="53" y="11"/>
                    <a:pt x="56" y="8"/>
                    <a:pt x="60" y="8"/>
                  </a:cubicBezTo>
                  <a:cubicBezTo>
                    <a:pt x="63" y="8"/>
                    <a:pt x="66" y="11"/>
                    <a:pt x="68" y="13"/>
                  </a:cubicBezTo>
                  <a:cubicBezTo>
                    <a:pt x="69" y="14"/>
                    <a:pt x="67" y="15"/>
                    <a:pt x="67" y="15"/>
                  </a:cubicBezTo>
                  <a:cubicBezTo>
                    <a:pt x="64" y="15"/>
                    <a:pt x="62" y="13"/>
                    <a:pt x="59" y="13"/>
                  </a:cubicBezTo>
                  <a:cubicBezTo>
                    <a:pt x="59" y="13"/>
                    <a:pt x="59" y="15"/>
                    <a:pt x="59" y="15"/>
                  </a:cubicBezTo>
                  <a:cubicBezTo>
                    <a:pt x="64" y="17"/>
                    <a:pt x="68" y="17"/>
                    <a:pt x="72" y="17"/>
                  </a:cubicBezTo>
                  <a:cubicBezTo>
                    <a:pt x="74" y="17"/>
                    <a:pt x="75" y="17"/>
                    <a:pt x="76" y="17"/>
                  </a:cubicBezTo>
                  <a:cubicBezTo>
                    <a:pt x="77" y="17"/>
                    <a:pt x="79" y="17"/>
                    <a:pt x="79" y="17"/>
                  </a:cubicBezTo>
                  <a:cubicBezTo>
                    <a:pt x="80" y="19"/>
                    <a:pt x="80" y="21"/>
                    <a:pt x="78" y="22"/>
                  </a:cubicBezTo>
                  <a:cubicBezTo>
                    <a:pt x="75" y="23"/>
                    <a:pt x="71" y="22"/>
                    <a:pt x="67" y="21"/>
                  </a:cubicBezTo>
                  <a:cubicBezTo>
                    <a:pt x="63" y="21"/>
                    <a:pt x="59" y="18"/>
                    <a:pt x="55" y="17"/>
                  </a:cubicBezTo>
                  <a:cubicBezTo>
                    <a:pt x="55" y="17"/>
                    <a:pt x="55" y="19"/>
                    <a:pt x="55" y="20"/>
                  </a:cubicBezTo>
                  <a:cubicBezTo>
                    <a:pt x="58" y="22"/>
                    <a:pt x="63" y="21"/>
                    <a:pt x="64" y="24"/>
                  </a:cubicBezTo>
                  <a:cubicBezTo>
                    <a:pt x="65" y="26"/>
                    <a:pt x="59" y="25"/>
                    <a:pt x="57" y="27"/>
                  </a:cubicBezTo>
                  <a:cubicBezTo>
                    <a:pt x="56" y="27"/>
                    <a:pt x="58" y="29"/>
                    <a:pt x="59" y="29"/>
                  </a:cubicBezTo>
                  <a:cubicBezTo>
                    <a:pt x="62" y="29"/>
                    <a:pt x="65" y="26"/>
                    <a:pt x="68" y="26"/>
                  </a:cubicBezTo>
                  <a:cubicBezTo>
                    <a:pt x="70" y="26"/>
                    <a:pt x="70" y="28"/>
                    <a:pt x="71" y="29"/>
                  </a:cubicBezTo>
                  <a:cubicBezTo>
                    <a:pt x="73" y="30"/>
                    <a:pt x="76" y="29"/>
                    <a:pt x="77" y="31"/>
                  </a:cubicBezTo>
                  <a:cubicBezTo>
                    <a:pt x="77" y="32"/>
                    <a:pt x="75" y="34"/>
                    <a:pt x="73" y="34"/>
                  </a:cubicBezTo>
                  <a:cubicBezTo>
                    <a:pt x="72" y="35"/>
                    <a:pt x="71" y="34"/>
                    <a:pt x="70" y="35"/>
                  </a:cubicBezTo>
                  <a:cubicBezTo>
                    <a:pt x="70" y="35"/>
                    <a:pt x="70" y="37"/>
                    <a:pt x="70" y="37"/>
                  </a:cubicBezTo>
                  <a:cubicBezTo>
                    <a:pt x="72" y="37"/>
                    <a:pt x="74" y="35"/>
                    <a:pt x="75" y="36"/>
                  </a:cubicBezTo>
                  <a:cubicBezTo>
                    <a:pt x="77" y="37"/>
                    <a:pt x="75" y="39"/>
                    <a:pt x="76" y="40"/>
                  </a:cubicBezTo>
                  <a:cubicBezTo>
                    <a:pt x="77" y="40"/>
                    <a:pt x="79" y="41"/>
                    <a:pt x="79" y="40"/>
                  </a:cubicBezTo>
                  <a:cubicBezTo>
                    <a:pt x="80" y="39"/>
                    <a:pt x="79" y="37"/>
                    <a:pt x="79" y="36"/>
                  </a:cubicBezTo>
                  <a:cubicBezTo>
                    <a:pt x="80" y="35"/>
                    <a:pt x="81" y="34"/>
                    <a:pt x="82" y="34"/>
                  </a:cubicBezTo>
                  <a:cubicBezTo>
                    <a:pt x="84" y="35"/>
                    <a:pt x="85" y="38"/>
                    <a:pt x="87" y="38"/>
                  </a:cubicBezTo>
                  <a:cubicBezTo>
                    <a:pt x="89" y="39"/>
                    <a:pt x="89" y="36"/>
                    <a:pt x="90" y="36"/>
                  </a:cubicBezTo>
                  <a:cubicBezTo>
                    <a:pt x="91" y="36"/>
                    <a:pt x="92" y="38"/>
                    <a:pt x="93" y="38"/>
                  </a:cubicBezTo>
                  <a:cubicBezTo>
                    <a:pt x="94" y="37"/>
                    <a:pt x="94" y="34"/>
                    <a:pt x="95" y="34"/>
                  </a:cubicBezTo>
                  <a:cubicBezTo>
                    <a:pt x="98" y="35"/>
                    <a:pt x="101" y="37"/>
                    <a:pt x="104" y="39"/>
                  </a:cubicBezTo>
                  <a:cubicBezTo>
                    <a:pt x="104" y="39"/>
                    <a:pt x="103" y="41"/>
                    <a:pt x="104" y="41"/>
                  </a:cubicBezTo>
                  <a:cubicBezTo>
                    <a:pt x="107" y="42"/>
                    <a:pt x="111" y="43"/>
                    <a:pt x="113" y="41"/>
                  </a:cubicBezTo>
                  <a:cubicBezTo>
                    <a:pt x="114" y="40"/>
                    <a:pt x="107" y="38"/>
                    <a:pt x="108" y="37"/>
                  </a:cubicBezTo>
                  <a:cubicBezTo>
                    <a:pt x="111" y="34"/>
                    <a:pt x="116" y="35"/>
                    <a:pt x="120" y="34"/>
                  </a:cubicBezTo>
                  <a:cubicBezTo>
                    <a:pt x="124" y="33"/>
                    <a:pt x="129" y="31"/>
                    <a:pt x="133" y="30"/>
                  </a:cubicBezTo>
                  <a:cubicBezTo>
                    <a:pt x="134" y="29"/>
                    <a:pt x="135" y="29"/>
                    <a:pt x="135" y="29"/>
                  </a:cubicBezTo>
                  <a:cubicBezTo>
                    <a:pt x="137" y="29"/>
                    <a:pt x="139" y="30"/>
                    <a:pt x="141" y="30"/>
                  </a:cubicBezTo>
                  <a:cubicBezTo>
                    <a:pt x="144" y="30"/>
                    <a:pt x="148" y="28"/>
                    <a:pt x="151" y="28"/>
                  </a:cubicBezTo>
                  <a:cubicBezTo>
                    <a:pt x="155" y="28"/>
                    <a:pt x="160" y="28"/>
                    <a:pt x="164" y="29"/>
                  </a:cubicBezTo>
                  <a:cubicBezTo>
                    <a:pt x="165" y="29"/>
                    <a:pt x="164" y="31"/>
                    <a:pt x="164" y="31"/>
                  </a:cubicBezTo>
                  <a:cubicBezTo>
                    <a:pt x="167" y="32"/>
                    <a:pt x="171" y="31"/>
                    <a:pt x="173" y="3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099" name="Freeform 1100"/>
            <p:cNvSpPr>
              <a:spLocks noChangeAspect="1"/>
            </p:cNvSpPr>
            <p:nvPr/>
          </p:nvSpPr>
          <p:spPr bwMode="auto">
            <a:xfrm>
              <a:off x="2693988" y="1689100"/>
              <a:ext cx="14287" cy="23813"/>
            </a:xfrm>
            <a:custGeom>
              <a:avLst/>
              <a:gdLst>
                <a:gd name="T0" fmla="*/ 0 w 7"/>
                <a:gd name="T1" fmla="*/ 3664 h 13"/>
                <a:gd name="T2" fmla="*/ 12246 w 7"/>
                <a:gd name="T3" fmla="*/ 1832 h 13"/>
                <a:gd name="T4" fmla="*/ 10205 w 7"/>
                <a:gd name="T5" fmla="*/ 21981 h 13"/>
                <a:gd name="T6" fmla="*/ 6123 w 7"/>
                <a:gd name="T7" fmla="*/ 20149 h 13"/>
                <a:gd name="T8" fmla="*/ 0 w 7"/>
                <a:gd name="T9" fmla="*/ 3664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3"/>
                <a:gd name="T17" fmla="*/ 7 w 7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3">
                  <a:moveTo>
                    <a:pt x="0" y="2"/>
                  </a:moveTo>
                  <a:cubicBezTo>
                    <a:pt x="1" y="2"/>
                    <a:pt x="5" y="0"/>
                    <a:pt x="6" y="1"/>
                  </a:cubicBezTo>
                  <a:cubicBezTo>
                    <a:pt x="6" y="4"/>
                    <a:pt x="7" y="8"/>
                    <a:pt x="5" y="12"/>
                  </a:cubicBezTo>
                  <a:cubicBezTo>
                    <a:pt x="5" y="13"/>
                    <a:pt x="3" y="12"/>
                    <a:pt x="3" y="11"/>
                  </a:cubicBezTo>
                  <a:cubicBezTo>
                    <a:pt x="1" y="8"/>
                    <a:pt x="0" y="5"/>
                    <a:pt x="0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0" name="Freeform 1101"/>
            <p:cNvSpPr>
              <a:spLocks noChangeAspect="1"/>
            </p:cNvSpPr>
            <p:nvPr/>
          </p:nvSpPr>
          <p:spPr bwMode="auto">
            <a:xfrm>
              <a:off x="2620963" y="1473200"/>
              <a:ext cx="214312" cy="166688"/>
            </a:xfrm>
            <a:custGeom>
              <a:avLst/>
              <a:gdLst>
                <a:gd name="T0" fmla="*/ 100518 w 113"/>
                <a:gd name="T1" fmla="*/ 7664 h 87"/>
                <a:gd name="T2" fmla="*/ 128967 w 113"/>
                <a:gd name="T3" fmla="*/ 49815 h 87"/>
                <a:gd name="T4" fmla="*/ 159312 w 113"/>
                <a:gd name="T5" fmla="*/ 68974 h 87"/>
                <a:gd name="T6" fmla="*/ 176381 w 113"/>
                <a:gd name="T7" fmla="*/ 59395 h 87"/>
                <a:gd name="T8" fmla="*/ 176381 w 113"/>
                <a:gd name="T9" fmla="*/ 78554 h 87"/>
                <a:gd name="T10" fmla="*/ 187760 w 113"/>
                <a:gd name="T11" fmla="*/ 86218 h 87"/>
                <a:gd name="T12" fmla="*/ 201036 w 113"/>
                <a:gd name="T13" fmla="*/ 91966 h 87"/>
                <a:gd name="T14" fmla="*/ 178277 w 113"/>
                <a:gd name="T15" fmla="*/ 116873 h 87"/>
                <a:gd name="T16" fmla="*/ 165001 w 113"/>
                <a:gd name="T17" fmla="*/ 120705 h 87"/>
                <a:gd name="T18" fmla="*/ 146036 w 113"/>
                <a:gd name="T19" fmla="*/ 120705 h 87"/>
                <a:gd name="T20" fmla="*/ 142242 w 113"/>
                <a:gd name="T21" fmla="*/ 145613 h 87"/>
                <a:gd name="T22" fmla="*/ 125173 w 113"/>
                <a:gd name="T23" fmla="*/ 157108 h 87"/>
                <a:gd name="T24" fmla="*/ 100518 w 113"/>
                <a:gd name="T25" fmla="*/ 145613 h 87"/>
                <a:gd name="T26" fmla="*/ 92932 w 113"/>
                <a:gd name="T27" fmla="*/ 153276 h 87"/>
                <a:gd name="T28" fmla="*/ 66380 w 113"/>
                <a:gd name="T29" fmla="*/ 160940 h 87"/>
                <a:gd name="T30" fmla="*/ 64483 w 113"/>
                <a:gd name="T31" fmla="*/ 145613 h 87"/>
                <a:gd name="T32" fmla="*/ 45518 w 113"/>
                <a:gd name="T33" fmla="*/ 134117 h 87"/>
                <a:gd name="T34" fmla="*/ 37931 w 113"/>
                <a:gd name="T35" fmla="*/ 124537 h 87"/>
                <a:gd name="T36" fmla="*/ 85345 w 113"/>
                <a:gd name="T37" fmla="*/ 111125 h 87"/>
                <a:gd name="T38" fmla="*/ 73966 w 113"/>
                <a:gd name="T39" fmla="*/ 107293 h 87"/>
                <a:gd name="T40" fmla="*/ 64483 w 113"/>
                <a:gd name="T41" fmla="*/ 97714 h 87"/>
                <a:gd name="T42" fmla="*/ 39828 w 113"/>
                <a:gd name="T43" fmla="*/ 101546 h 87"/>
                <a:gd name="T44" fmla="*/ 13276 w 113"/>
                <a:gd name="T45" fmla="*/ 93882 h 87"/>
                <a:gd name="T46" fmla="*/ 32242 w 113"/>
                <a:gd name="T47" fmla="*/ 86218 h 87"/>
                <a:gd name="T48" fmla="*/ 1897 w 113"/>
                <a:gd name="T49" fmla="*/ 74722 h 87"/>
                <a:gd name="T50" fmla="*/ 37931 w 113"/>
                <a:gd name="T51" fmla="*/ 74722 h 87"/>
                <a:gd name="T52" fmla="*/ 26552 w 113"/>
                <a:gd name="T53" fmla="*/ 67058 h 87"/>
                <a:gd name="T54" fmla="*/ 17069 w 113"/>
                <a:gd name="T55" fmla="*/ 51731 h 87"/>
                <a:gd name="T56" fmla="*/ 55000 w 113"/>
                <a:gd name="T57" fmla="*/ 47899 h 87"/>
                <a:gd name="T58" fmla="*/ 34138 w 113"/>
                <a:gd name="T59" fmla="*/ 34487 h 87"/>
                <a:gd name="T60" fmla="*/ 60690 w 113"/>
                <a:gd name="T61" fmla="*/ 26823 h 87"/>
                <a:gd name="T62" fmla="*/ 77759 w 113"/>
                <a:gd name="T63" fmla="*/ 15328 h 87"/>
                <a:gd name="T64" fmla="*/ 53104 w 113"/>
                <a:gd name="T65" fmla="*/ 7664 h 8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3"/>
                <a:gd name="T100" fmla="*/ 0 h 87"/>
                <a:gd name="T101" fmla="*/ 113 w 113"/>
                <a:gd name="T102" fmla="*/ 87 h 8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3" h="87">
                  <a:moveTo>
                    <a:pt x="31" y="2"/>
                  </a:moveTo>
                  <a:cubicBezTo>
                    <a:pt x="39" y="2"/>
                    <a:pt x="47" y="0"/>
                    <a:pt x="53" y="4"/>
                  </a:cubicBezTo>
                  <a:cubicBezTo>
                    <a:pt x="59" y="7"/>
                    <a:pt x="59" y="16"/>
                    <a:pt x="62" y="21"/>
                  </a:cubicBezTo>
                  <a:cubicBezTo>
                    <a:pt x="64" y="23"/>
                    <a:pt x="66" y="25"/>
                    <a:pt x="68" y="26"/>
                  </a:cubicBezTo>
                  <a:cubicBezTo>
                    <a:pt x="71" y="27"/>
                    <a:pt x="74" y="25"/>
                    <a:pt x="76" y="26"/>
                  </a:cubicBezTo>
                  <a:cubicBezTo>
                    <a:pt x="80" y="28"/>
                    <a:pt x="80" y="35"/>
                    <a:pt x="84" y="36"/>
                  </a:cubicBezTo>
                  <a:cubicBezTo>
                    <a:pt x="86" y="37"/>
                    <a:pt x="83" y="30"/>
                    <a:pt x="85" y="29"/>
                  </a:cubicBezTo>
                  <a:cubicBezTo>
                    <a:pt x="88" y="28"/>
                    <a:pt x="92" y="28"/>
                    <a:pt x="93" y="31"/>
                  </a:cubicBezTo>
                  <a:cubicBezTo>
                    <a:pt x="94" y="33"/>
                    <a:pt x="89" y="34"/>
                    <a:pt x="89" y="36"/>
                  </a:cubicBezTo>
                  <a:cubicBezTo>
                    <a:pt x="89" y="38"/>
                    <a:pt x="94" y="39"/>
                    <a:pt x="93" y="41"/>
                  </a:cubicBezTo>
                  <a:cubicBezTo>
                    <a:pt x="93" y="44"/>
                    <a:pt x="84" y="47"/>
                    <a:pt x="87" y="49"/>
                  </a:cubicBezTo>
                  <a:cubicBezTo>
                    <a:pt x="90" y="51"/>
                    <a:pt x="94" y="45"/>
                    <a:pt x="99" y="45"/>
                  </a:cubicBezTo>
                  <a:cubicBezTo>
                    <a:pt x="100" y="45"/>
                    <a:pt x="101" y="48"/>
                    <a:pt x="103" y="48"/>
                  </a:cubicBezTo>
                  <a:cubicBezTo>
                    <a:pt x="104" y="49"/>
                    <a:pt x="105" y="47"/>
                    <a:pt x="106" y="48"/>
                  </a:cubicBezTo>
                  <a:cubicBezTo>
                    <a:pt x="108" y="50"/>
                    <a:pt x="113" y="54"/>
                    <a:pt x="111" y="56"/>
                  </a:cubicBezTo>
                  <a:cubicBezTo>
                    <a:pt x="107" y="60"/>
                    <a:pt x="100" y="59"/>
                    <a:pt x="94" y="61"/>
                  </a:cubicBezTo>
                  <a:cubicBezTo>
                    <a:pt x="92" y="62"/>
                    <a:pt x="91" y="64"/>
                    <a:pt x="90" y="65"/>
                  </a:cubicBezTo>
                  <a:cubicBezTo>
                    <a:pt x="89" y="65"/>
                    <a:pt x="88" y="62"/>
                    <a:pt x="87" y="63"/>
                  </a:cubicBezTo>
                  <a:cubicBezTo>
                    <a:pt x="84" y="66"/>
                    <a:pt x="84" y="73"/>
                    <a:pt x="80" y="73"/>
                  </a:cubicBezTo>
                  <a:cubicBezTo>
                    <a:pt x="76" y="73"/>
                    <a:pt x="79" y="66"/>
                    <a:pt x="77" y="63"/>
                  </a:cubicBezTo>
                  <a:cubicBezTo>
                    <a:pt x="76" y="62"/>
                    <a:pt x="75" y="65"/>
                    <a:pt x="75" y="66"/>
                  </a:cubicBezTo>
                  <a:cubicBezTo>
                    <a:pt x="74" y="70"/>
                    <a:pt x="77" y="74"/>
                    <a:pt x="75" y="76"/>
                  </a:cubicBezTo>
                  <a:cubicBezTo>
                    <a:pt x="74" y="78"/>
                    <a:pt x="71" y="73"/>
                    <a:pt x="69" y="74"/>
                  </a:cubicBezTo>
                  <a:cubicBezTo>
                    <a:pt x="66" y="76"/>
                    <a:pt x="69" y="82"/>
                    <a:pt x="66" y="82"/>
                  </a:cubicBezTo>
                  <a:cubicBezTo>
                    <a:pt x="62" y="83"/>
                    <a:pt x="60" y="78"/>
                    <a:pt x="57" y="76"/>
                  </a:cubicBezTo>
                  <a:cubicBezTo>
                    <a:pt x="55" y="75"/>
                    <a:pt x="52" y="74"/>
                    <a:pt x="53" y="76"/>
                  </a:cubicBezTo>
                  <a:cubicBezTo>
                    <a:pt x="54" y="79"/>
                    <a:pt x="62" y="80"/>
                    <a:pt x="60" y="83"/>
                  </a:cubicBezTo>
                  <a:cubicBezTo>
                    <a:pt x="58" y="86"/>
                    <a:pt x="53" y="79"/>
                    <a:pt x="49" y="80"/>
                  </a:cubicBezTo>
                  <a:cubicBezTo>
                    <a:pt x="47" y="80"/>
                    <a:pt x="51" y="85"/>
                    <a:pt x="49" y="86"/>
                  </a:cubicBezTo>
                  <a:cubicBezTo>
                    <a:pt x="45" y="87"/>
                    <a:pt x="40" y="85"/>
                    <a:pt x="35" y="84"/>
                  </a:cubicBezTo>
                  <a:cubicBezTo>
                    <a:pt x="32" y="83"/>
                    <a:pt x="26" y="83"/>
                    <a:pt x="26" y="79"/>
                  </a:cubicBezTo>
                  <a:cubicBezTo>
                    <a:pt x="25" y="76"/>
                    <a:pt x="35" y="79"/>
                    <a:pt x="34" y="76"/>
                  </a:cubicBezTo>
                  <a:cubicBezTo>
                    <a:pt x="34" y="73"/>
                    <a:pt x="28" y="76"/>
                    <a:pt x="25" y="74"/>
                  </a:cubicBezTo>
                  <a:cubicBezTo>
                    <a:pt x="24" y="73"/>
                    <a:pt x="24" y="72"/>
                    <a:pt x="24" y="70"/>
                  </a:cubicBezTo>
                  <a:cubicBezTo>
                    <a:pt x="24" y="69"/>
                    <a:pt x="27" y="69"/>
                    <a:pt x="26" y="68"/>
                  </a:cubicBezTo>
                  <a:cubicBezTo>
                    <a:pt x="25" y="66"/>
                    <a:pt x="19" y="67"/>
                    <a:pt x="20" y="65"/>
                  </a:cubicBezTo>
                  <a:cubicBezTo>
                    <a:pt x="22" y="61"/>
                    <a:pt x="27" y="59"/>
                    <a:pt x="31" y="58"/>
                  </a:cubicBezTo>
                  <a:cubicBezTo>
                    <a:pt x="35" y="57"/>
                    <a:pt x="40" y="58"/>
                    <a:pt x="45" y="58"/>
                  </a:cubicBezTo>
                  <a:cubicBezTo>
                    <a:pt x="46" y="58"/>
                    <a:pt x="50" y="57"/>
                    <a:pt x="49" y="56"/>
                  </a:cubicBezTo>
                  <a:cubicBezTo>
                    <a:pt x="46" y="55"/>
                    <a:pt x="42" y="57"/>
                    <a:pt x="39" y="56"/>
                  </a:cubicBezTo>
                  <a:cubicBezTo>
                    <a:pt x="38" y="55"/>
                    <a:pt x="42" y="54"/>
                    <a:pt x="41" y="52"/>
                  </a:cubicBezTo>
                  <a:cubicBezTo>
                    <a:pt x="40" y="51"/>
                    <a:pt x="37" y="50"/>
                    <a:pt x="34" y="51"/>
                  </a:cubicBezTo>
                  <a:cubicBezTo>
                    <a:pt x="31" y="51"/>
                    <a:pt x="29" y="54"/>
                    <a:pt x="26" y="55"/>
                  </a:cubicBezTo>
                  <a:cubicBezTo>
                    <a:pt x="24" y="55"/>
                    <a:pt x="23" y="53"/>
                    <a:pt x="21" y="53"/>
                  </a:cubicBezTo>
                  <a:cubicBezTo>
                    <a:pt x="18" y="53"/>
                    <a:pt x="15" y="57"/>
                    <a:pt x="12" y="56"/>
                  </a:cubicBezTo>
                  <a:cubicBezTo>
                    <a:pt x="9" y="55"/>
                    <a:pt x="5" y="51"/>
                    <a:pt x="7" y="49"/>
                  </a:cubicBezTo>
                  <a:cubicBezTo>
                    <a:pt x="10" y="46"/>
                    <a:pt x="16" y="49"/>
                    <a:pt x="20" y="48"/>
                  </a:cubicBezTo>
                  <a:cubicBezTo>
                    <a:pt x="22" y="47"/>
                    <a:pt x="19" y="45"/>
                    <a:pt x="17" y="45"/>
                  </a:cubicBezTo>
                  <a:cubicBezTo>
                    <a:pt x="14" y="45"/>
                    <a:pt x="10" y="48"/>
                    <a:pt x="6" y="47"/>
                  </a:cubicBezTo>
                  <a:cubicBezTo>
                    <a:pt x="3" y="46"/>
                    <a:pt x="2" y="42"/>
                    <a:pt x="1" y="39"/>
                  </a:cubicBezTo>
                  <a:cubicBezTo>
                    <a:pt x="0" y="38"/>
                    <a:pt x="0" y="35"/>
                    <a:pt x="2" y="35"/>
                  </a:cubicBezTo>
                  <a:cubicBezTo>
                    <a:pt x="8" y="35"/>
                    <a:pt x="14" y="40"/>
                    <a:pt x="20" y="39"/>
                  </a:cubicBezTo>
                  <a:cubicBezTo>
                    <a:pt x="22" y="39"/>
                    <a:pt x="25" y="35"/>
                    <a:pt x="23" y="34"/>
                  </a:cubicBezTo>
                  <a:cubicBezTo>
                    <a:pt x="20" y="32"/>
                    <a:pt x="17" y="35"/>
                    <a:pt x="14" y="35"/>
                  </a:cubicBezTo>
                  <a:cubicBezTo>
                    <a:pt x="11" y="34"/>
                    <a:pt x="9" y="33"/>
                    <a:pt x="8" y="31"/>
                  </a:cubicBezTo>
                  <a:cubicBezTo>
                    <a:pt x="7" y="30"/>
                    <a:pt x="8" y="28"/>
                    <a:pt x="9" y="27"/>
                  </a:cubicBezTo>
                  <a:cubicBezTo>
                    <a:pt x="12" y="25"/>
                    <a:pt x="16" y="25"/>
                    <a:pt x="20" y="25"/>
                  </a:cubicBezTo>
                  <a:cubicBezTo>
                    <a:pt x="23" y="25"/>
                    <a:pt x="27" y="27"/>
                    <a:pt x="29" y="25"/>
                  </a:cubicBezTo>
                  <a:cubicBezTo>
                    <a:pt x="30" y="23"/>
                    <a:pt x="26" y="22"/>
                    <a:pt x="24" y="21"/>
                  </a:cubicBezTo>
                  <a:cubicBezTo>
                    <a:pt x="22" y="20"/>
                    <a:pt x="18" y="20"/>
                    <a:pt x="18" y="18"/>
                  </a:cubicBezTo>
                  <a:cubicBezTo>
                    <a:pt x="19" y="15"/>
                    <a:pt x="22" y="13"/>
                    <a:pt x="25" y="13"/>
                  </a:cubicBezTo>
                  <a:cubicBezTo>
                    <a:pt x="28" y="12"/>
                    <a:pt x="30" y="15"/>
                    <a:pt x="32" y="14"/>
                  </a:cubicBezTo>
                  <a:cubicBezTo>
                    <a:pt x="36" y="14"/>
                    <a:pt x="40" y="12"/>
                    <a:pt x="43" y="10"/>
                  </a:cubicBezTo>
                  <a:cubicBezTo>
                    <a:pt x="44" y="9"/>
                    <a:pt x="42" y="8"/>
                    <a:pt x="41" y="8"/>
                  </a:cubicBezTo>
                  <a:cubicBezTo>
                    <a:pt x="37" y="7"/>
                    <a:pt x="33" y="9"/>
                    <a:pt x="29" y="8"/>
                  </a:cubicBezTo>
                  <a:cubicBezTo>
                    <a:pt x="28" y="8"/>
                    <a:pt x="28" y="5"/>
                    <a:pt x="28" y="4"/>
                  </a:cubicBezTo>
                  <a:cubicBezTo>
                    <a:pt x="28" y="3"/>
                    <a:pt x="30" y="2"/>
                    <a:pt x="3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1" name="Freeform 1102"/>
            <p:cNvSpPr>
              <a:spLocks noChangeAspect="1"/>
            </p:cNvSpPr>
            <p:nvPr/>
          </p:nvSpPr>
          <p:spPr bwMode="auto">
            <a:xfrm>
              <a:off x="2709863" y="1389063"/>
              <a:ext cx="625475" cy="339725"/>
            </a:xfrm>
            <a:custGeom>
              <a:avLst/>
              <a:gdLst>
                <a:gd name="T0" fmla="*/ 108695 w 328"/>
                <a:gd name="T1" fmla="*/ 156503 h 178"/>
                <a:gd name="T2" fmla="*/ 139206 w 328"/>
                <a:gd name="T3" fmla="*/ 190857 h 178"/>
                <a:gd name="T4" fmla="*/ 122044 w 328"/>
                <a:gd name="T5" fmla="*/ 206125 h 178"/>
                <a:gd name="T6" fmla="*/ 158276 w 328"/>
                <a:gd name="T7" fmla="*/ 217577 h 178"/>
                <a:gd name="T8" fmla="*/ 110602 w 328"/>
                <a:gd name="T9" fmla="*/ 211851 h 178"/>
                <a:gd name="T10" fmla="*/ 62929 w 328"/>
                <a:gd name="T11" fmla="*/ 246205 h 178"/>
                <a:gd name="T12" fmla="*/ 112509 w 328"/>
                <a:gd name="T13" fmla="*/ 230937 h 178"/>
                <a:gd name="T14" fmla="*/ 95347 w 328"/>
                <a:gd name="T15" fmla="*/ 259565 h 178"/>
                <a:gd name="T16" fmla="*/ 108695 w 328"/>
                <a:gd name="T17" fmla="*/ 276742 h 178"/>
                <a:gd name="T18" fmla="*/ 152555 w 328"/>
                <a:gd name="T19" fmla="*/ 265291 h 178"/>
                <a:gd name="T20" fmla="*/ 85812 w 328"/>
                <a:gd name="T21" fmla="*/ 280559 h 178"/>
                <a:gd name="T22" fmla="*/ 47673 w 328"/>
                <a:gd name="T23" fmla="*/ 278651 h 178"/>
                <a:gd name="T24" fmla="*/ 34325 w 328"/>
                <a:gd name="T25" fmla="*/ 293919 h 178"/>
                <a:gd name="T26" fmla="*/ 17162 w 328"/>
                <a:gd name="T27" fmla="*/ 318731 h 178"/>
                <a:gd name="T28" fmla="*/ 32418 w 328"/>
                <a:gd name="T29" fmla="*/ 330182 h 178"/>
                <a:gd name="T30" fmla="*/ 76277 w 328"/>
                <a:gd name="T31" fmla="*/ 330182 h 178"/>
                <a:gd name="T32" fmla="*/ 95347 w 328"/>
                <a:gd name="T33" fmla="*/ 326365 h 178"/>
                <a:gd name="T34" fmla="*/ 135392 w 328"/>
                <a:gd name="T35" fmla="*/ 314914 h 178"/>
                <a:gd name="T36" fmla="*/ 148741 w 328"/>
                <a:gd name="T37" fmla="*/ 311096 h 178"/>
                <a:gd name="T38" fmla="*/ 171624 w 328"/>
                <a:gd name="T39" fmla="*/ 337816 h 178"/>
                <a:gd name="T40" fmla="*/ 240274 w 328"/>
                <a:gd name="T41" fmla="*/ 314914 h 178"/>
                <a:gd name="T42" fmla="*/ 207856 w 328"/>
                <a:gd name="T43" fmla="*/ 288194 h 178"/>
                <a:gd name="T44" fmla="*/ 163996 w 328"/>
                <a:gd name="T45" fmla="*/ 286285 h 178"/>
                <a:gd name="T46" fmla="*/ 200228 w 328"/>
                <a:gd name="T47" fmla="*/ 284377 h 178"/>
                <a:gd name="T48" fmla="*/ 272692 w 328"/>
                <a:gd name="T49" fmla="*/ 255748 h 178"/>
                <a:gd name="T50" fmla="*/ 316551 w 328"/>
                <a:gd name="T51" fmla="*/ 225211 h 178"/>
                <a:gd name="T52" fmla="*/ 270785 w 328"/>
                <a:gd name="T53" fmla="*/ 202308 h 178"/>
                <a:gd name="T54" fmla="*/ 331807 w 328"/>
                <a:gd name="T55" fmla="*/ 204217 h 178"/>
                <a:gd name="T56" fmla="*/ 331807 w 328"/>
                <a:gd name="T57" fmla="*/ 183222 h 178"/>
                <a:gd name="T58" fmla="*/ 356597 w 328"/>
                <a:gd name="T59" fmla="*/ 167954 h 178"/>
                <a:gd name="T60" fmla="*/ 389015 w 328"/>
                <a:gd name="T61" fmla="*/ 152685 h 178"/>
                <a:gd name="T62" fmla="*/ 488176 w 328"/>
                <a:gd name="T63" fmla="*/ 114514 h 178"/>
                <a:gd name="T64" fmla="*/ 526314 w 328"/>
                <a:gd name="T65" fmla="*/ 85886 h 178"/>
                <a:gd name="T66" fmla="*/ 543477 w 328"/>
                <a:gd name="T67" fmla="*/ 74434 h 178"/>
                <a:gd name="T68" fmla="*/ 610220 w 328"/>
                <a:gd name="T69" fmla="*/ 34354 h 178"/>
                <a:gd name="T70" fmla="*/ 543477 w 328"/>
                <a:gd name="T71" fmla="*/ 17177 h 178"/>
                <a:gd name="T72" fmla="*/ 514873 w 328"/>
                <a:gd name="T73" fmla="*/ 9543 h 178"/>
                <a:gd name="T74" fmla="*/ 425247 w 328"/>
                <a:gd name="T75" fmla="*/ 11451 h 178"/>
                <a:gd name="T76" fmla="*/ 381387 w 328"/>
                <a:gd name="T77" fmla="*/ 22903 h 178"/>
                <a:gd name="T78" fmla="*/ 305110 w 328"/>
                <a:gd name="T79" fmla="*/ 3817 h 178"/>
                <a:gd name="T80" fmla="*/ 276506 w 328"/>
                <a:gd name="T81" fmla="*/ 19086 h 178"/>
                <a:gd name="T82" fmla="*/ 245995 w 328"/>
                <a:gd name="T83" fmla="*/ 28629 h 178"/>
                <a:gd name="T84" fmla="*/ 211670 w 328"/>
                <a:gd name="T85" fmla="*/ 28629 h 178"/>
                <a:gd name="T86" fmla="*/ 238367 w 328"/>
                <a:gd name="T87" fmla="*/ 55348 h 178"/>
                <a:gd name="T88" fmla="*/ 192601 w 328"/>
                <a:gd name="T89" fmla="*/ 55348 h 178"/>
                <a:gd name="T90" fmla="*/ 123951 w 328"/>
                <a:gd name="T91" fmla="*/ 36263 h 178"/>
                <a:gd name="T92" fmla="*/ 110602 w 328"/>
                <a:gd name="T93" fmla="*/ 61074 h 178"/>
                <a:gd name="T94" fmla="*/ 133486 w 328"/>
                <a:gd name="T95" fmla="*/ 95428 h 178"/>
                <a:gd name="T96" fmla="*/ 66743 w 328"/>
                <a:gd name="T97" fmla="*/ 110697 h 178"/>
                <a:gd name="T98" fmla="*/ 144927 w 328"/>
                <a:gd name="T99" fmla="*/ 104971 h 178"/>
                <a:gd name="T100" fmla="*/ 120137 w 328"/>
                <a:gd name="T101" fmla="*/ 125965 h 178"/>
                <a:gd name="T102" fmla="*/ 171624 w 328"/>
                <a:gd name="T103" fmla="*/ 127874 h 178"/>
                <a:gd name="T104" fmla="*/ 202135 w 328"/>
                <a:gd name="T105" fmla="*/ 135508 h 178"/>
                <a:gd name="T106" fmla="*/ 289854 w 328"/>
                <a:gd name="T107" fmla="*/ 85886 h 178"/>
                <a:gd name="T108" fmla="*/ 312738 w 328"/>
                <a:gd name="T109" fmla="*/ 112605 h 178"/>
                <a:gd name="T110" fmla="*/ 230739 w 328"/>
                <a:gd name="T111" fmla="*/ 129783 h 178"/>
                <a:gd name="T112" fmla="*/ 223111 w 328"/>
                <a:gd name="T113" fmla="*/ 139325 h 178"/>
                <a:gd name="T114" fmla="*/ 194507 w 328"/>
                <a:gd name="T115" fmla="*/ 169863 h 178"/>
                <a:gd name="T116" fmla="*/ 186880 w 328"/>
                <a:gd name="T117" fmla="*/ 175588 h 1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8"/>
                <a:gd name="T178" fmla="*/ 0 h 178"/>
                <a:gd name="T179" fmla="*/ 328 w 328"/>
                <a:gd name="T180" fmla="*/ 178 h 1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8" h="178">
                  <a:moveTo>
                    <a:pt x="82" y="78"/>
                  </a:moveTo>
                  <a:cubicBezTo>
                    <a:pt x="78" y="76"/>
                    <a:pt x="75" y="76"/>
                    <a:pt x="71" y="76"/>
                  </a:cubicBezTo>
                  <a:cubicBezTo>
                    <a:pt x="67" y="76"/>
                    <a:pt x="63" y="74"/>
                    <a:pt x="58" y="75"/>
                  </a:cubicBezTo>
                  <a:cubicBezTo>
                    <a:pt x="57" y="75"/>
                    <a:pt x="56" y="77"/>
                    <a:pt x="55" y="78"/>
                  </a:cubicBezTo>
                  <a:cubicBezTo>
                    <a:pt x="55" y="79"/>
                    <a:pt x="57" y="81"/>
                    <a:pt x="57" y="82"/>
                  </a:cubicBezTo>
                  <a:cubicBezTo>
                    <a:pt x="57" y="83"/>
                    <a:pt x="55" y="83"/>
                    <a:pt x="54" y="84"/>
                  </a:cubicBezTo>
                  <a:cubicBezTo>
                    <a:pt x="54" y="85"/>
                    <a:pt x="53" y="87"/>
                    <a:pt x="54" y="88"/>
                  </a:cubicBezTo>
                  <a:cubicBezTo>
                    <a:pt x="57" y="90"/>
                    <a:pt x="60" y="90"/>
                    <a:pt x="63" y="91"/>
                  </a:cubicBezTo>
                  <a:cubicBezTo>
                    <a:pt x="65" y="92"/>
                    <a:pt x="67" y="93"/>
                    <a:pt x="69" y="95"/>
                  </a:cubicBezTo>
                  <a:cubicBezTo>
                    <a:pt x="70" y="96"/>
                    <a:pt x="71" y="98"/>
                    <a:pt x="73" y="100"/>
                  </a:cubicBezTo>
                  <a:cubicBezTo>
                    <a:pt x="74" y="101"/>
                    <a:pt x="76" y="102"/>
                    <a:pt x="78" y="104"/>
                  </a:cubicBezTo>
                  <a:cubicBezTo>
                    <a:pt x="79" y="105"/>
                    <a:pt x="82" y="107"/>
                    <a:pt x="80" y="107"/>
                  </a:cubicBezTo>
                  <a:cubicBezTo>
                    <a:pt x="78" y="108"/>
                    <a:pt x="75" y="106"/>
                    <a:pt x="72" y="105"/>
                  </a:cubicBezTo>
                  <a:cubicBezTo>
                    <a:pt x="70" y="105"/>
                    <a:pt x="67" y="104"/>
                    <a:pt x="65" y="104"/>
                  </a:cubicBezTo>
                  <a:cubicBezTo>
                    <a:pt x="64" y="105"/>
                    <a:pt x="63" y="107"/>
                    <a:pt x="64" y="108"/>
                  </a:cubicBezTo>
                  <a:cubicBezTo>
                    <a:pt x="66" y="110"/>
                    <a:pt x="69" y="111"/>
                    <a:pt x="71" y="111"/>
                  </a:cubicBezTo>
                  <a:cubicBezTo>
                    <a:pt x="76" y="111"/>
                    <a:pt x="81" y="110"/>
                    <a:pt x="86" y="110"/>
                  </a:cubicBezTo>
                  <a:cubicBezTo>
                    <a:pt x="89" y="110"/>
                    <a:pt x="92" y="109"/>
                    <a:pt x="95" y="110"/>
                  </a:cubicBezTo>
                  <a:cubicBezTo>
                    <a:pt x="96" y="110"/>
                    <a:pt x="96" y="113"/>
                    <a:pt x="95" y="113"/>
                  </a:cubicBezTo>
                  <a:cubicBezTo>
                    <a:pt x="91" y="115"/>
                    <a:pt x="87" y="113"/>
                    <a:pt x="83" y="114"/>
                  </a:cubicBezTo>
                  <a:cubicBezTo>
                    <a:pt x="82" y="115"/>
                    <a:pt x="87" y="115"/>
                    <a:pt x="88" y="117"/>
                  </a:cubicBezTo>
                  <a:cubicBezTo>
                    <a:pt x="88" y="117"/>
                    <a:pt x="88" y="119"/>
                    <a:pt x="87" y="119"/>
                  </a:cubicBezTo>
                  <a:cubicBezTo>
                    <a:pt x="84" y="119"/>
                    <a:pt x="81" y="116"/>
                    <a:pt x="77" y="115"/>
                  </a:cubicBezTo>
                  <a:cubicBezTo>
                    <a:pt x="73" y="114"/>
                    <a:pt x="69" y="115"/>
                    <a:pt x="66" y="114"/>
                  </a:cubicBezTo>
                  <a:cubicBezTo>
                    <a:pt x="63" y="113"/>
                    <a:pt x="61" y="111"/>
                    <a:pt x="58" y="111"/>
                  </a:cubicBezTo>
                  <a:cubicBezTo>
                    <a:pt x="57" y="111"/>
                    <a:pt x="55" y="112"/>
                    <a:pt x="53" y="113"/>
                  </a:cubicBezTo>
                  <a:cubicBezTo>
                    <a:pt x="49" y="114"/>
                    <a:pt x="44" y="113"/>
                    <a:pt x="40" y="114"/>
                  </a:cubicBezTo>
                  <a:cubicBezTo>
                    <a:pt x="39" y="115"/>
                    <a:pt x="40" y="118"/>
                    <a:pt x="40" y="119"/>
                  </a:cubicBezTo>
                  <a:cubicBezTo>
                    <a:pt x="38" y="121"/>
                    <a:pt x="35" y="121"/>
                    <a:pt x="33" y="123"/>
                  </a:cubicBezTo>
                  <a:cubicBezTo>
                    <a:pt x="32" y="125"/>
                    <a:pt x="32" y="127"/>
                    <a:pt x="33" y="129"/>
                  </a:cubicBezTo>
                  <a:cubicBezTo>
                    <a:pt x="35" y="130"/>
                    <a:pt x="37" y="130"/>
                    <a:pt x="39" y="130"/>
                  </a:cubicBezTo>
                  <a:cubicBezTo>
                    <a:pt x="41" y="130"/>
                    <a:pt x="42" y="128"/>
                    <a:pt x="44" y="128"/>
                  </a:cubicBezTo>
                  <a:cubicBezTo>
                    <a:pt x="45" y="128"/>
                    <a:pt x="44" y="130"/>
                    <a:pt x="45" y="130"/>
                  </a:cubicBezTo>
                  <a:cubicBezTo>
                    <a:pt x="47" y="130"/>
                    <a:pt x="49" y="129"/>
                    <a:pt x="51" y="128"/>
                  </a:cubicBezTo>
                  <a:cubicBezTo>
                    <a:pt x="54" y="126"/>
                    <a:pt x="56" y="123"/>
                    <a:pt x="59" y="121"/>
                  </a:cubicBezTo>
                  <a:cubicBezTo>
                    <a:pt x="60" y="120"/>
                    <a:pt x="61" y="120"/>
                    <a:pt x="61" y="121"/>
                  </a:cubicBezTo>
                  <a:cubicBezTo>
                    <a:pt x="61" y="123"/>
                    <a:pt x="58" y="125"/>
                    <a:pt x="58" y="126"/>
                  </a:cubicBezTo>
                  <a:cubicBezTo>
                    <a:pt x="59" y="128"/>
                    <a:pt x="65" y="126"/>
                    <a:pt x="64" y="128"/>
                  </a:cubicBezTo>
                  <a:cubicBezTo>
                    <a:pt x="62" y="129"/>
                    <a:pt x="58" y="127"/>
                    <a:pt x="56" y="129"/>
                  </a:cubicBezTo>
                  <a:cubicBezTo>
                    <a:pt x="53" y="130"/>
                    <a:pt x="51" y="133"/>
                    <a:pt x="50" y="136"/>
                  </a:cubicBezTo>
                  <a:cubicBezTo>
                    <a:pt x="50" y="137"/>
                    <a:pt x="53" y="135"/>
                    <a:pt x="53" y="136"/>
                  </a:cubicBezTo>
                  <a:cubicBezTo>
                    <a:pt x="54" y="137"/>
                    <a:pt x="53" y="138"/>
                    <a:pt x="53" y="139"/>
                  </a:cubicBezTo>
                  <a:cubicBezTo>
                    <a:pt x="53" y="140"/>
                    <a:pt x="52" y="141"/>
                    <a:pt x="53" y="142"/>
                  </a:cubicBezTo>
                  <a:cubicBezTo>
                    <a:pt x="53" y="143"/>
                    <a:pt x="55" y="141"/>
                    <a:pt x="55" y="142"/>
                  </a:cubicBezTo>
                  <a:cubicBezTo>
                    <a:pt x="56" y="143"/>
                    <a:pt x="56" y="145"/>
                    <a:pt x="57" y="145"/>
                  </a:cubicBezTo>
                  <a:cubicBezTo>
                    <a:pt x="59" y="146"/>
                    <a:pt x="62" y="146"/>
                    <a:pt x="64" y="146"/>
                  </a:cubicBezTo>
                  <a:cubicBezTo>
                    <a:pt x="68" y="145"/>
                    <a:pt x="71" y="143"/>
                    <a:pt x="74" y="142"/>
                  </a:cubicBezTo>
                  <a:cubicBezTo>
                    <a:pt x="77" y="139"/>
                    <a:pt x="80" y="135"/>
                    <a:pt x="84" y="132"/>
                  </a:cubicBezTo>
                  <a:cubicBezTo>
                    <a:pt x="84" y="132"/>
                    <a:pt x="86" y="131"/>
                    <a:pt x="86" y="132"/>
                  </a:cubicBezTo>
                  <a:cubicBezTo>
                    <a:pt x="85" y="135"/>
                    <a:pt x="82" y="137"/>
                    <a:pt x="80" y="139"/>
                  </a:cubicBezTo>
                  <a:cubicBezTo>
                    <a:pt x="78" y="141"/>
                    <a:pt x="76" y="143"/>
                    <a:pt x="74" y="145"/>
                  </a:cubicBezTo>
                  <a:cubicBezTo>
                    <a:pt x="73" y="146"/>
                    <a:pt x="71" y="147"/>
                    <a:pt x="69" y="148"/>
                  </a:cubicBezTo>
                  <a:cubicBezTo>
                    <a:pt x="66" y="148"/>
                    <a:pt x="62" y="147"/>
                    <a:pt x="59" y="148"/>
                  </a:cubicBezTo>
                  <a:cubicBezTo>
                    <a:pt x="58" y="149"/>
                    <a:pt x="60" y="152"/>
                    <a:pt x="59" y="151"/>
                  </a:cubicBezTo>
                  <a:cubicBezTo>
                    <a:pt x="54" y="151"/>
                    <a:pt x="49" y="150"/>
                    <a:pt x="45" y="147"/>
                  </a:cubicBezTo>
                  <a:cubicBezTo>
                    <a:pt x="42" y="145"/>
                    <a:pt x="42" y="139"/>
                    <a:pt x="39" y="136"/>
                  </a:cubicBezTo>
                  <a:cubicBezTo>
                    <a:pt x="37" y="134"/>
                    <a:pt x="34" y="135"/>
                    <a:pt x="32" y="135"/>
                  </a:cubicBezTo>
                  <a:cubicBezTo>
                    <a:pt x="28" y="136"/>
                    <a:pt x="25" y="136"/>
                    <a:pt x="22" y="138"/>
                  </a:cubicBezTo>
                  <a:cubicBezTo>
                    <a:pt x="20" y="139"/>
                    <a:pt x="21" y="142"/>
                    <a:pt x="22" y="143"/>
                  </a:cubicBezTo>
                  <a:cubicBezTo>
                    <a:pt x="22" y="145"/>
                    <a:pt x="24" y="145"/>
                    <a:pt x="25" y="146"/>
                  </a:cubicBezTo>
                  <a:cubicBezTo>
                    <a:pt x="25" y="147"/>
                    <a:pt x="25" y="149"/>
                    <a:pt x="26" y="149"/>
                  </a:cubicBezTo>
                  <a:cubicBezTo>
                    <a:pt x="28" y="150"/>
                    <a:pt x="30" y="148"/>
                    <a:pt x="31" y="149"/>
                  </a:cubicBezTo>
                  <a:cubicBezTo>
                    <a:pt x="32" y="150"/>
                    <a:pt x="34" y="151"/>
                    <a:pt x="33" y="153"/>
                  </a:cubicBezTo>
                  <a:cubicBezTo>
                    <a:pt x="32" y="154"/>
                    <a:pt x="30" y="153"/>
                    <a:pt x="29" y="153"/>
                  </a:cubicBezTo>
                  <a:cubicBezTo>
                    <a:pt x="25" y="154"/>
                    <a:pt x="21" y="153"/>
                    <a:pt x="18" y="154"/>
                  </a:cubicBezTo>
                  <a:cubicBezTo>
                    <a:pt x="16" y="154"/>
                    <a:pt x="14" y="155"/>
                    <a:pt x="13" y="155"/>
                  </a:cubicBezTo>
                  <a:cubicBezTo>
                    <a:pt x="9" y="157"/>
                    <a:pt x="4" y="158"/>
                    <a:pt x="1" y="161"/>
                  </a:cubicBezTo>
                  <a:cubicBezTo>
                    <a:pt x="0" y="163"/>
                    <a:pt x="0" y="165"/>
                    <a:pt x="1" y="167"/>
                  </a:cubicBezTo>
                  <a:cubicBezTo>
                    <a:pt x="2" y="169"/>
                    <a:pt x="5" y="172"/>
                    <a:pt x="8" y="172"/>
                  </a:cubicBezTo>
                  <a:cubicBezTo>
                    <a:pt x="9" y="172"/>
                    <a:pt x="8" y="167"/>
                    <a:pt x="9" y="167"/>
                  </a:cubicBezTo>
                  <a:cubicBezTo>
                    <a:pt x="11" y="168"/>
                    <a:pt x="9" y="174"/>
                    <a:pt x="10" y="172"/>
                  </a:cubicBezTo>
                  <a:cubicBezTo>
                    <a:pt x="12" y="170"/>
                    <a:pt x="10" y="167"/>
                    <a:pt x="12" y="164"/>
                  </a:cubicBezTo>
                  <a:cubicBezTo>
                    <a:pt x="12" y="164"/>
                    <a:pt x="13" y="165"/>
                    <a:pt x="13" y="166"/>
                  </a:cubicBezTo>
                  <a:cubicBezTo>
                    <a:pt x="14" y="168"/>
                    <a:pt x="12" y="171"/>
                    <a:pt x="13" y="173"/>
                  </a:cubicBezTo>
                  <a:cubicBezTo>
                    <a:pt x="13" y="174"/>
                    <a:pt x="16" y="174"/>
                    <a:pt x="17" y="173"/>
                  </a:cubicBezTo>
                  <a:cubicBezTo>
                    <a:pt x="19" y="172"/>
                    <a:pt x="21" y="169"/>
                    <a:pt x="23" y="169"/>
                  </a:cubicBezTo>
                  <a:cubicBezTo>
                    <a:pt x="25" y="169"/>
                    <a:pt x="26" y="173"/>
                    <a:pt x="27" y="173"/>
                  </a:cubicBezTo>
                  <a:cubicBezTo>
                    <a:pt x="30" y="173"/>
                    <a:pt x="31" y="169"/>
                    <a:pt x="33" y="169"/>
                  </a:cubicBezTo>
                  <a:cubicBezTo>
                    <a:pt x="34" y="169"/>
                    <a:pt x="32" y="172"/>
                    <a:pt x="33" y="173"/>
                  </a:cubicBezTo>
                  <a:cubicBezTo>
                    <a:pt x="35" y="174"/>
                    <a:pt x="38" y="173"/>
                    <a:pt x="40" y="173"/>
                  </a:cubicBezTo>
                  <a:cubicBezTo>
                    <a:pt x="41" y="174"/>
                    <a:pt x="41" y="176"/>
                    <a:pt x="42" y="176"/>
                  </a:cubicBezTo>
                  <a:cubicBezTo>
                    <a:pt x="45" y="176"/>
                    <a:pt x="48" y="176"/>
                    <a:pt x="51" y="175"/>
                  </a:cubicBezTo>
                  <a:cubicBezTo>
                    <a:pt x="52" y="174"/>
                    <a:pt x="48" y="174"/>
                    <a:pt x="48" y="173"/>
                  </a:cubicBezTo>
                  <a:cubicBezTo>
                    <a:pt x="47" y="172"/>
                    <a:pt x="47" y="170"/>
                    <a:pt x="48" y="169"/>
                  </a:cubicBezTo>
                  <a:cubicBezTo>
                    <a:pt x="49" y="169"/>
                    <a:pt x="49" y="171"/>
                    <a:pt x="50" y="171"/>
                  </a:cubicBezTo>
                  <a:cubicBezTo>
                    <a:pt x="53" y="171"/>
                    <a:pt x="55" y="169"/>
                    <a:pt x="58" y="169"/>
                  </a:cubicBezTo>
                  <a:cubicBezTo>
                    <a:pt x="59" y="169"/>
                    <a:pt x="59" y="171"/>
                    <a:pt x="60" y="171"/>
                  </a:cubicBezTo>
                  <a:cubicBezTo>
                    <a:pt x="63" y="172"/>
                    <a:pt x="66" y="173"/>
                    <a:pt x="69" y="171"/>
                  </a:cubicBezTo>
                  <a:cubicBezTo>
                    <a:pt x="70" y="170"/>
                    <a:pt x="68" y="166"/>
                    <a:pt x="69" y="164"/>
                  </a:cubicBezTo>
                  <a:cubicBezTo>
                    <a:pt x="70" y="164"/>
                    <a:pt x="71" y="164"/>
                    <a:pt x="71" y="165"/>
                  </a:cubicBezTo>
                  <a:cubicBezTo>
                    <a:pt x="72" y="167"/>
                    <a:pt x="71" y="171"/>
                    <a:pt x="72" y="173"/>
                  </a:cubicBezTo>
                  <a:cubicBezTo>
                    <a:pt x="73" y="174"/>
                    <a:pt x="76" y="173"/>
                    <a:pt x="77" y="173"/>
                  </a:cubicBezTo>
                  <a:cubicBezTo>
                    <a:pt x="79" y="172"/>
                    <a:pt x="81" y="170"/>
                    <a:pt x="81" y="168"/>
                  </a:cubicBezTo>
                  <a:cubicBezTo>
                    <a:pt x="81" y="167"/>
                    <a:pt x="79" y="167"/>
                    <a:pt x="78" y="166"/>
                  </a:cubicBezTo>
                  <a:cubicBezTo>
                    <a:pt x="78" y="165"/>
                    <a:pt x="77" y="163"/>
                    <a:pt x="78" y="163"/>
                  </a:cubicBezTo>
                  <a:cubicBezTo>
                    <a:pt x="80" y="163"/>
                    <a:pt x="83" y="164"/>
                    <a:pt x="84" y="166"/>
                  </a:cubicBezTo>
                  <a:cubicBezTo>
                    <a:pt x="85" y="167"/>
                    <a:pt x="82" y="170"/>
                    <a:pt x="83" y="171"/>
                  </a:cubicBezTo>
                  <a:cubicBezTo>
                    <a:pt x="85" y="173"/>
                    <a:pt x="88" y="171"/>
                    <a:pt x="90" y="171"/>
                  </a:cubicBezTo>
                  <a:cubicBezTo>
                    <a:pt x="91" y="171"/>
                    <a:pt x="93" y="171"/>
                    <a:pt x="93" y="172"/>
                  </a:cubicBezTo>
                  <a:cubicBezTo>
                    <a:pt x="93" y="173"/>
                    <a:pt x="88" y="176"/>
                    <a:pt x="90" y="177"/>
                  </a:cubicBezTo>
                  <a:cubicBezTo>
                    <a:pt x="93" y="178"/>
                    <a:pt x="95" y="175"/>
                    <a:pt x="98" y="175"/>
                  </a:cubicBezTo>
                  <a:cubicBezTo>
                    <a:pt x="101" y="174"/>
                    <a:pt x="105" y="174"/>
                    <a:pt x="108" y="173"/>
                  </a:cubicBezTo>
                  <a:cubicBezTo>
                    <a:pt x="110" y="173"/>
                    <a:pt x="112" y="169"/>
                    <a:pt x="114" y="169"/>
                  </a:cubicBezTo>
                  <a:cubicBezTo>
                    <a:pt x="116" y="169"/>
                    <a:pt x="116" y="174"/>
                    <a:pt x="117" y="173"/>
                  </a:cubicBezTo>
                  <a:cubicBezTo>
                    <a:pt x="121" y="172"/>
                    <a:pt x="124" y="168"/>
                    <a:pt x="126" y="165"/>
                  </a:cubicBezTo>
                  <a:cubicBezTo>
                    <a:pt x="127" y="162"/>
                    <a:pt x="128" y="157"/>
                    <a:pt x="126" y="157"/>
                  </a:cubicBezTo>
                  <a:cubicBezTo>
                    <a:pt x="122" y="156"/>
                    <a:pt x="120" y="162"/>
                    <a:pt x="116" y="163"/>
                  </a:cubicBezTo>
                  <a:cubicBezTo>
                    <a:pt x="114" y="163"/>
                    <a:pt x="113" y="160"/>
                    <a:pt x="113" y="159"/>
                  </a:cubicBezTo>
                  <a:cubicBezTo>
                    <a:pt x="113" y="157"/>
                    <a:pt x="116" y="155"/>
                    <a:pt x="115" y="154"/>
                  </a:cubicBezTo>
                  <a:cubicBezTo>
                    <a:pt x="114" y="152"/>
                    <a:pt x="111" y="151"/>
                    <a:pt x="109" y="151"/>
                  </a:cubicBezTo>
                  <a:cubicBezTo>
                    <a:pt x="107" y="151"/>
                    <a:pt x="106" y="153"/>
                    <a:pt x="104" y="153"/>
                  </a:cubicBezTo>
                  <a:cubicBezTo>
                    <a:pt x="104" y="153"/>
                    <a:pt x="105" y="151"/>
                    <a:pt x="104" y="151"/>
                  </a:cubicBezTo>
                  <a:cubicBezTo>
                    <a:pt x="101" y="150"/>
                    <a:pt x="98" y="149"/>
                    <a:pt x="95" y="150"/>
                  </a:cubicBezTo>
                  <a:cubicBezTo>
                    <a:pt x="92" y="150"/>
                    <a:pt x="90" y="154"/>
                    <a:pt x="87" y="154"/>
                  </a:cubicBezTo>
                  <a:cubicBezTo>
                    <a:pt x="85" y="154"/>
                    <a:pt x="85" y="151"/>
                    <a:pt x="86" y="150"/>
                  </a:cubicBezTo>
                  <a:cubicBezTo>
                    <a:pt x="87" y="148"/>
                    <a:pt x="90" y="150"/>
                    <a:pt x="92" y="148"/>
                  </a:cubicBezTo>
                  <a:cubicBezTo>
                    <a:pt x="92" y="148"/>
                    <a:pt x="89" y="148"/>
                    <a:pt x="89" y="147"/>
                  </a:cubicBezTo>
                  <a:cubicBezTo>
                    <a:pt x="88" y="146"/>
                    <a:pt x="88" y="142"/>
                    <a:pt x="90" y="142"/>
                  </a:cubicBezTo>
                  <a:cubicBezTo>
                    <a:pt x="92" y="142"/>
                    <a:pt x="93" y="146"/>
                    <a:pt x="95" y="147"/>
                  </a:cubicBezTo>
                  <a:cubicBezTo>
                    <a:pt x="98" y="148"/>
                    <a:pt x="102" y="149"/>
                    <a:pt x="105" y="149"/>
                  </a:cubicBezTo>
                  <a:cubicBezTo>
                    <a:pt x="109" y="150"/>
                    <a:pt x="113" y="150"/>
                    <a:pt x="117" y="150"/>
                  </a:cubicBezTo>
                  <a:cubicBezTo>
                    <a:pt x="121" y="149"/>
                    <a:pt x="126" y="148"/>
                    <a:pt x="129" y="145"/>
                  </a:cubicBezTo>
                  <a:cubicBezTo>
                    <a:pt x="130" y="144"/>
                    <a:pt x="127" y="142"/>
                    <a:pt x="127" y="140"/>
                  </a:cubicBezTo>
                  <a:cubicBezTo>
                    <a:pt x="128" y="138"/>
                    <a:pt x="130" y="134"/>
                    <a:pt x="132" y="133"/>
                  </a:cubicBezTo>
                  <a:cubicBezTo>
                    <a:pt x="136" y="132"/>
                    <a:pt x="140" y="134"/>
                    <a:pt x="143" y="134"/>
                  </a:cubicBezTo>
                  <a:cubicBezTo>
                    <a:pt x="145" y="134"/>
                    <a:pt x="147" y="132"/>
                    <a:pt x="149" y="132"/>
                  </a:cubicBezTo>
                  <a:cubicBezTo>
                    <a:pt x="151" y="132"/>
                    <a:pt x="152" y="134"/>
                    <a:pt x="153" y="134"/>
                  </a:cubicBezTo>
                  <a:cubicBezTo>
                    <a:pt x="157" y="131"/>
                    <a:pt x="163" y="128"/>
                    <a:pt x="163" y="123"/>
                  </a:cubicBezTo>
                  <a:cubicBezTo>
                    <a:pt x="162" y="119"/>
                    <a:pt x="148" y="122"/>
                    <a:pt x="151" y="118"/>
                  </a:cubicBezTo>
                  <a:cubicBezTo>
                    <a:pt x="154" y="114"/>
                    <a:pt x="162" y="121"/>
                    <a:pt x="166" y="118"/>
                  </a:cubicBezTo>
                  <a:cubicBezTo>
                    <a:pt x="169" y="117"/>
                    <a:pt x="171" y="113"/>
                    <a:pt x="169" y="111"/>
                  </a:cubicBezTo>
                  <a:cubicBezTo>
                    <a:pt x="167" y="108"/>
                    <a:pt x="162" y="111"/>
                    <a:pt x="158" y="110"/>
                  </a:cubicBezTo>
                  <a:cubicBezTo>
                    <a:pt x="158" y="109"/>
                    <a:pt x="159" y="107"/>
                    <a:pt x="158" y="107"/>
                  </a:cubicBezTo>
                  <a:cubicBezTo>
                    <a:pt x="154" y="106"/>
                    <a:pt x="149" y="108"/>
                    <a:pt x="145" y="107"/>
                  </a:cubicBezTo>
                  <a:cubicBezTo>
                    <a:pt x="143" y="107"/>
                    <a:pt x="141" y="106"/>
                    <a:pt x="142" y="106"/>
                  </a:cubicBezTo>
                  <a:cubicBezTo>
                    <a:pt x="146" y="105"/>
                    <a:pt x="154" y="108"/>
                    <a:pt x="154" y="104"/>
                  </a:cubicBezTo>
                  <a:cubicBezTo>
                    <a:pt x="155" y="100"/>
                    <a:pt x="146" y="104"/>
                    <a:pt x="142" y="102"/>
                  </a:cubicBezTo>
                  <a:cubicBezTo>
                    <a:pt x="140" y="101"/>
                    <a:pt x="148" y="102"/>
                    <a:pt x="151" y="102"/>
                  </a:cubicBezTo>
                  <a:cubicBezTo>
                    <a:pt x="154" y="102"/>
                    <a:pt x="158" y="103"/>
                    <a:pt x="161" y="104"/>
                  </a:cubicBezTo>
                  <a:cubicBezTo>
                    <a:pt x="166" y="105"/>
                    <a:pt x="170" y="108"/>
                    <a:pt x="174" y="107"/>
                  </a:cubicBezTo>
                  <a:cubicBezTo>
                    <a:pt x="176" y="106"/>
                    <a:pt x="174" y="101"/>
                    <a:pt x="172" y="101"/>
                  </a:cubicBezTo>
                  <a:cubicBezTo>
                    <a:pt x="167" y="99"/>
                    <a:pt x="160" y="102"/>
                    <a:pt x="154" y="100"/>
                  </a:cubicBezTo>
                  <a:cubicBezTo>
                    <a:pt x="152" y="100"/>
                    <a:pt x="153" y="96"/>
                    <a:pt x="154" y="96"/>
                  </a:cubicBezTo>
                  <a:cubicBezTo>
                    <a:pt x="156" y="95"/>
                    <a:pt x="159" y="96"/>
                    <a:pt x="162" y="96"/>
                  </a:cubicBezTo>
                  <a:cubicBezTo>
                    <a:pt x="166" y="96"/>
                    <a:pt x="170" y="96"/>
                    <a:pt x="174" y="96"/>
                  </a:cubicBezTo>
                  <a:cubicBezTo>
                    <a:pt x="177" y="96"/>
                    <a:pt x="181" y="96"/>
                    <a:pt x="184" y="95"/>
                  </a:cubicBezTo>
                  <a:cubicBezTo>
                    <a:pt x="186" y="94"/>
                    <a:pt x="185" y="90"/>
                    <a:pt x="184" y="90"/>
                  </a:cubicBezTo>
                  <a:cubicBezTo>
                    <a:pt x="180" y="88"/>
                    <a:pt x="175" y="91"/>
                    <a:pt x="171" y="89"/>
                  </a:cubicBezTo>
                  <a:cubicBezTo>
                    <a:pt x="169" y="88"/>
                    <a:pt x="173" y="85"/>
                    <a:pt x="175" y="85"/>
                  </a:cubicBezTo>
                  <a:cubicBezTo>
                    <a:pt x="179" y="84"/>
                    <a:pt x="183" y="86"/>
                    <a:pt x="187" y="88"/>
                  </a:cubicBezTo>
                  <a:cubicBezTo>
                    <a:pt x="190" y="89"/>
                    <a:pt x="192" y="93"/>
                    <a:pt x="195" y="93"/>
                  </a:cubicBezTo>
                  <a:cubicBezTo>
                    <a:pt x="201" y="93"/>
                    <a:pt x="206" y="91"/>
                    <a:pt x="210" y="89"/>
                  </a:cubicBezTo>
                  <a:cubicBezTo>
                    <a:pt x="212" y="88"/>
                    <a:pt x="216" y="85"/>
                    <a:pt x="214" y="83"/>
                  </a:cubicBezTo>
                  <a:cubicBezTo>
                    <a:pt x="212" y="81"/>
                    <a:pt x="207" y="83"/>
                    <a:pt x="204" y="82"/>
                  </a:cubicBezTo>
                  <a:cubicBezTo>
                    <a:pt x="204" y="82"/>
                    <a:pt x="204" y="80"/>
                    <a:pt x="204" y="80"/>
                  </a:cubicBezTo>
                  <a:cubicBezTo>
                    <a:pt x="210" y="79"/>
                    <a:pt x="217" y="82"/>
                    <a:pt x="222" y="79"/>
                  </a:cubicBezTo>
                  <a:cubicBezTo>
                    <a:pt x="225" y="77"/>
                    <a:pt x="214" y="75"/>
                    <a:pt x="217" y="73"/>
                  </a:cubicBezTo>
                  <a:cubicBezTo>
                    <a:pt x="220" y="72"/>
                    <a:pt x="223" y="76"/>
                    <a:pt x="227" y="76"/>
                  </a:cubicBezTo>
                  <a:cubicBezTo>
                    <a:pt x="230" y="76"/>
                    <a:pt x="232" y="73"/>
                    <a:pt x="235" y="71"/>
                  </a:cubicBezTo>
                  <a:cubicBezTo>
                    <a:pt x="242" y="68"/>
                    <a:pt x="249" y="64"/>
                    <a:pt x="256" y="60"/>
                  </a:cubicBezTo>
                  <a:cubicBezTo>
                    <a:pt x="261" y="57"/>
                    <a:pt x="266" y="54"/>
                    <a:pt x="271" y="52"/>
                  </a:cubicBezTo>
                  <a:cubicBezTo>
                    <a:pt x="274" y="51"/>
                    <a:pt x="277" y="51"/>
                    <a:pt x="280" y="50"/>
                  </a:cubicBezTo>
                  <a:cubicBezTo>
                    <a:pt x="283" y="49"/>
                    <a:pt x="286" y="47"/>
                    <a:pt x="287" y="45"/>
                  </a:cubicBezTo>
                  <a:cubicBezTo>
                    <a:pt x="288" y="43"/>
                    <a:pt x="284" y="45"/>
                    <a:pt x="283" y="45"/>
                  </a:cubicBezTo>
                  <a:cubicBezTo>
                    <a:pt x="280" y="45"/>
                    <a:pt x="278" y="45"/>
                    <a:pt x="276" y="45"/>
                  </a:cubicBezTo>
                  <a:cubicBezTo>
                    <a:pt x="270" y="46"/>
                    <a:pt x="264" y="48"/>
                    <a:pt x="258" y="49"/>
                  </a:cubicBezTo>
                  <a:cubicBezTo>
                    <a:pt x="250" y="51"/>
                    <a:pt x="242" y="52"/>
                    <a:pt x="233" y="53"/>
                  </a:cubicBezTo>
                  <a:cubicBezTo>
                    <a:pt x="232" y="53"/>
                    <a:pt x="234" y="51"/>
                    <a:pt x="236" y="50"/>
                  </a:cubicBezTo>
                  <a:cubicBezTo>
                    <a:pt x="246" y="47"/>
                    <a:pt x="257" y="45"/>
                    <a:pt x="268" y="43"/>
                  </a:cubicBezTo>
                  <a:cubicBezTo>
                    <a:pt x="274" y="41"/>
                    <a:pt x="280" y="40"/>
                    <a:pt x="285" y="39"/>
                  </a:cubicBezTo>
                  <a:cubicBezTo>
                    <a:pt x="289" y="38"/>
                    <a:pt x="294" y="38"/>
                    <a:pt x="297" y="37"/>
                  </a:cubicBezTo>
                  <a:cubicBezTo>
                    <a:pt x="302" y="35"/>
                    <a:pt x="306" y="33"/>
                    <a:pt x="310" y="31"/>
                  </a:cubicBezTo>
                  <a:cubicBezTo>
                    <a:pt x="314" y="29"/>
                    <a:pt x="319" y="27"/>
                    <a:pt x="322" y="25"/>
                  </a:cubicBezTo>
                  <a:cubicBezTo>
                    <a:pt x="325" y="23"/>
                    <a:pt x="328" y="20"/>
                    <a:pt x="327" y="18"/>
                  </a:cubicBezTo>
                  <a:cubicBezTo>
                    <a:pt x="327" y="16"/>
                    <a:pt x="323" y="18"/>
                    <a:pt x="320" y="18"/>
                  </a:cubicBezTo>
                  <a:cubicBezTo>
                    <a:pt x="317" y="17"/>
                    <a:pt x="313" y="14"/>
                    <a:pt x="310" y="13"/>
                  </a:cubicBezTo>
                  <a:cubicBezTo>
                    <a:pt x="305" y="12"/>
                    <a:pt x="301" y="13"/>
                    <a:pt x="296" y="12"/>
                  </a:cubicBezTo>
                  <a:cubicBezTo>
                    <a:pt x="295" y="12"/>
                    <a:pt x="293" y="10"/>
                    <a:pt x="292" y="9"/>
                  </a:cubicBezTo>
                  <a:cubicBezTo>
                    <a:pt x="291" y="8"/>
                    <a:pt x="292" y="5"/>
                    <a:pt x="291" y="5"/>
                  </a:cubicBezTo>
                  <a:cubicBezTo>
                    <a:pt x="288" y="5"/>
                    <a:pt x="287" y="8"/>
                    <a:pt x="285" y="9"/>
                  </a:cubicBezTo>
                  <a:cubicBezTo>
                    <a:pt x="282" y="10"/>
                    <a:pt x="279" y="10"/>
                    <a:pt x="276" y="11"/>
                  </a:cubicBezTo>
                  <a:cubicBezTo>
                    <a:pt x="267" y="12"/>
                    <a:pt x="257" y="14"/>
                    <a:pt x="248" y="14"/>
                  </a:cubicBezTo>
                  <a:cubicBezTo>
                    <a:pt x="246" y="14"/>
                    <a:pt x="250" y="11"/>
                    <a:pt x="252" y="11"/>
                  </a:cubicBezTo>
                  <a:cubicBezTo>
                    <a:pt x="258" y="9"/>
                    <a:pt x="265" y="9"/>
                    <a:pt x="272" y="7"/>
                  </a:cubicBezTo>
                  <a:cubicBezTo>
                    <a:pt x="273" y="7"/>
                    <a:pt x="271" y="5"/>
                    <a:pt x="270" y="5"/>
                  </a:cubicBezTo>
                  <a:cubicBezTo>
                    <a:pt x="264" y="4"/>
                    <a:pt x="258" y="4"/>
                    <a:pt x="253" y="4"/>
                  </a:cubicBezTo>
                  <a:cubicBezTo>
                    <a:pt x="248" y="4"/>
                    <a:pt x="244" y="3"/>
                    <a:pt x="240" y="3"/>
                  </a:cubicBezTo>
                  <a:cubicBezTo>
                    <a:pt x="238" y="2"/>
                    <a:pt x="236" y="0"/>
                    <a:pt x="234" y="0"/>
                  </a:cubicBezTo>
                  <a:cubicBezTo>
                    <a:pt x="230" y="0"/>
                    <a:pt x="225" y="0"/>
                    <a:pt x="222" y="1"/>
                  </a:cubicBezTo>
                  <a:cubicBezTo>
                    <a:pt x="220" y="2"/>
                    <a:pt x="225" y="5"/>
                    <a:pt x="223" y="6"/>
                  </a:cubicBezTo>
                  <a:cubicBezTo>
                    <a:pt x="221" y="7"/>
                    <a:pt x="218" y="6"/>
                    <a:pt x="216" y="5"/>
                  </a:cubicBezTo>
                  <a:cubicBezTo>
                    <a:pt x="214" y="5"/>
                    <a:pt x="213" y="2"/>
                    <a:pt x="211" y="2"/>
                  </a:cubicBezTo>
                  <a:cubicBezTo>
                    <a:pt x="208" y="1"/>
                    <a:pt x="204" y="3"/>
                    <a:pt x="200" y="4"/>
                  </a:cubicBezTo>
                  <a:cubicBezTo>
                    <a:pt x="199" y="4"/>
                    <a:pt x="197" y="5"/>
                    <a:pt x="197" y="7"/>
                  </a:cubicBezTo>
                  <a:cubicBezTo>
                    <a:pt x="197" y="9"/>
                    <a:pt x="201" y="10"/>
                    <a:pt x="200" y="12"/>
                  </a:cubicBezTo>
                  <a:cubicBezTo>
                    <a:pt x="200" y="14"/>
                    <a:pt x="197" y="14"/>
                    <a:pt x="196" y="13"/>
                  </a:cubicBezTo>
                  <a:cubicBezTo>
                    <a:pt x="193" y="11"/>
                    <a:pt x="191" y="8"/>
                    <a:pt x="188" y="6"/>
                  </a:cubicBezTo>
                  <a:cubicBezTo>
                    <a:pt x="187" y="4"/>
                    <a:pt x="185" y="3"/>
                    <a:pt x="183" y="2"/>
                  </a:cubicBezTo>
                  <a:cubicBezTo>
                    <a:pt x="179" y="1"/>
                    <a:pt x="176" y="2"/>
                    <a:pt x="172" y="2"/>
                  </a:cubicBezTo>
                  <a:cubicBezTo>
                    <a:pt x="168" y="2"/>
                    <a:pt x="164" y="1"/>
                    <a:pt x="160" y="2"/>
                  </a:cubicBezTo>
                  <a:cubicBezTo>
                    <a:pt x="159" y="3"/>
                    <a:pt x="157" y="5"/>
                    <a:pt x="158" y="6"/>
                  </a:cubicBezTo>
                  <a:cubicBezTo>
                    <a:pt x="163" y="10"/>
                    <a:pt x="171" y="11"/>
                    <a:pt x="176" y="16"/>
                  </a:cubicBezTo>
                  <a:cubicBezTo>
                    <a:pt x="178" y="18"/>
                    <a:pt x="172" y="18"/>
                    <a:pt x="170" y="17"/>
                  </a:cubicBezTo>
                  <a:cubicBezTo>
                    <a:pt x="164" y="15"/>
                    <a:pt x="158" y="9"/>
                    <a:pt x="152" y="7"/>
                  </a:cubicBezTo>
                  <a:cubicBezTo>
                    <a:pt x="149" y="6"/>
                    <a:pt x="147" y="10"/>
                    <a:pt x="145" y="10"/>
                  </a:cubicBezTo>
                  <a:cubicBezTo>
                    <a:pt x="142" y="10"/>
                    <a:pt x="140" y="8"/>
                    <a:pt x="137" y="7"/>
                  </a:cubicBezTo>
                  <a:cubicBezTo>
                    <a:pt x="136" y="6"/>
                    <a:pt x="134" y="4"/>
                    <a:pt x="132" y="4"/>
                  </a:cubicBezTo>
                  <a:cubicBezTo>
                    <a:pt x="130" y="5"/>
                    <a:pt x="128" y="7"/>
                    <a:pt x="129" y="8"/>
                  </a:cubicBezTo>
                  <a:cubicBezTo>
                    <a:pt x="129" y="11"/>
                    <a:pt x="134" y="12"/>
                    <a:pt x="134" y="15"/>
                  </a:cubicBezTo>
                  <a:cubicBezTo>
                    <a:pt x="134" y="17"/>
                    <a:pt x="130" y="16"/>
                    <a:pt x="129" y="15"/>
                  </a:cubicBezTo>
                  <a:cubicBezTo>
                    <a:pt x="127" y="14"/>
                    <a:pt x="127" y="10"/>
                    <a:pt x="124" y="9"/>
                  </a:cubicBezTo>
                  <a:cubicBezTo>
                    <a:pt x="122" y="8"/>
                    <a:pt x="116" y="6"/>
                    <a:pt x="115" y="9"/>
                  </a:cubicBezTo>
                  <a:cubicBezTo>
                    <a:pt x="114" y="12"/>
                    <a:pt x="120" y="14"/>
                    <a:pt x="122" y="17"/>
                  </a:cubicBezTo>
                  <a:cubicBezTo>
                    <a:pt x="123" y="17"/>
                    <a:pt x="122" y="19"/>
                    <a:pt x="121" y="19"/>
                  </a:cubicBezTo>
                  <a:cubicBezTo>
                    <a:pt x="117" y="18"/>
                    <a:pt x="114" y="15"/>
                    <a:pt x="111" y="15"/>
                  </a:cubicBezTo>
                  <a:cubicBezTo>
                    <a:pt x="109" y="15"/>
                    <a:pt x="107" y="16"/>
                    <a:pt x="106" y="18"/>
                  </a:cubicBezTo>
                  <a:cubicBezTo>
                    <a:pt x="106" y="18"/>
                    <a:pt x="108" y="19"/>
                    <a:pt x="107" y="20"/>
                  </a:cubicBezTo>
                  <a:cubicBezTo>
                    <a:pt x="106" y="21"/>
                    <a:pt x="104" y="19"/>
                    <a:pt x="103" y="20"/>
                  </a:cubicBezTo>
                  <a:cubicBezTo>
                    <a:pt x="103" y="22"/>
                    <a:pt x="105" y="23"/>
                    <a:pt x="106" y="23"/>
                  </a:cubicBezTo>
                  <a:cubicBezTo>
                    <a:pt x="112" y="26"/>
                    <a:pt x="119" y="27"/>
                    <a:pt x="125" y="29"/>
                  </a:cubicBezTo>
                  <a:cubicBezTo>
                    <a:pt x="126" y="30"/>
                    <a:pt x="126" y="32"/>
                    <a:pt x="125" y="32"/>
                  </a:cubicBezTo>
                  <a:cubicBezTo>
                    <a:pt x="119" y="32"/>
                    <a:pt x="114" y="31"/>
                    <a:pt x="108" y="30"/>
                  </a:cubicBezTo>
                  <a:cubicBezTo>
                    <a:pt x="106" y="29"/>
                    <a:pt x="104" y="26"/>
                    <a:pt x="102" y="25"/>
                  </a:cubicBezTo>
                  <a:cubicBezTo>
                    <a:pt x="101" y="25"/>
                    <a:pt x="99" y="24"/>
                    <a:pt x="99" y="25"/>
                  </a:cubicBezTo>
                  <a:cubicBezTo>
                    <a:pt x="99" y="27"/>
                    <a:pt x="103" y="28"/>
                    <a:pt x="101" y="29"/>
                  </a:cubicBezTo>
                  <a:cubicBezTo>
                    <a:pt x="99" y="31"/>
                    <a:pt x="96" y="31"/>
                    <a:pt x="94" y="29"/>
                  </a:cubicBezTo>
                  <a:cubicBezTo>
                    <a:pt x="92" y="29"/>
                    <a:pt x="94" y="26"/>
                    <a:pt x="94" y="25"/>
                  </a:cubicBezTo>
                  <a:cubicBezTo>
                    <a:pt x="92" y="24"/>
                    <a:pt x="90" y="23"/>
                    <a:pt x="88" y="22"/>
                  </a:cubicBezTo>
                  <a:cubicBezTo>
                    <a:pt x="84" y="21"/>
                    <a:pt x="79" y="20"/>
                    <a:pt x="75" y="19"/>
                  </a:cubicBezTo>
                  <a:cubicBezTo>
                    <a:pt x="71" y="19"/>
                    <a:pt x="68" y="18"/>
                    <a:pt x="65" y="19"/>
                  </a:cubicBezTo>
                  <a:cubicBezTo>
                    <a:pt x="62" y="19"/>
                    <a:pt x="60" y="19"/>
                    <a:pt x="58" y="21"/>
                  </a:cubicBezTo>
                  <a:cubicBezTo>
                    <a:pt x="57" y="22"/>
                    <a:pt x="58" y="25"/>
                    <a:pt x="59" y="26"/>
                  </a:cubicBezTo>
                  <a:cubicBezTo>
                    <a:pt x="61" y="27"/>
                    <a:pt x="65" y="27"/>
                    <a:pt x="67" y="28"/>
                  </a:cubicBezTo>
                  <a:cubicBezTo>
                    <a:pt x="70" y="29"/>
                    <a:pt x="78" y="30"/>
                    <a:pt x="75" y="31"/>
                  </a:cubicBezTo>
                  <a:cubicBezTo>
                    <a:pt x="70" y="33"/>
                    <a:pt x="64" y="32"/>
                    <a:pt x="58" y="32"/>
                  </a:cubicBezTo>
                  <a:cubicBezTo>
                    <a:pt x="54" y="32"/>
                    <a:pt x="51" y="32"/>
                    <a:pt x="48" y="33"/>
                  </a:cubicBezTo>
                  <a:cubicBezTo>
                    <a:pt x="45" y="35"/>
                    <a:pt x="44" y="37"/>
                    <a:pt x="43" y="40"/>
                  </a:cubicBezTo>
                  <a:cubicBezTo>
                    <a:pt x="41" y="42"/>
                    <a:pt x="39" y="46"/>
                    <a:pt x="41" y="48"/>
                  </a:cubicBezTo>
                  <a:cubicBezTo>
                    <a:pt x="44" y="52"/>
                    <a:pt x="50" y="54"/>
                    <a:pt x="56" y="54"/>
                  </a:cubicBezTo>
                  <a:cubicBezTo>
                    <a:pt x="61" y="55"/>
                    <a:pt x="65" y="51"/>
                    <a:pt x="70" y="50"/>
                  </a:cubicBezTo>
                  <a:cubicBezTo>
                    <a:pt x="72" y="50"/>
                    <a:pt x="78" y="49"/>
                    <a:pt x="77" y="50"/>
                  </a:cubicBezTo>
                  <a:cubicBezTo>
                    <a:pt x="73" y="53"/>
                    <a:pt x="68" y="53"/>
                    <a:pt x="64" y="55"/>
                  </a:cubicBezTo>
                  <a:cubicBezTo>
                    <a:pt x="61" y="56"/>
                    <a:pt x="58" y="58"/>
                    <a:pt x="55" y="59"/>
                  </a:cubicBezTo>
                  <a:cubicBezTo>
                    <a:pt x="51" y="59"/>
                    <a:pt x="47" y="58"/>
                    <a:pt x="43" y="58"/>
                  </a:cubicBezTo>
                  <a:cubicBezTo>
                    <a:pt x="40" y="58"/>
                    <a:pt x="37" y="57"/>
                    <a:pt x="35" y="58"/>
                  </a:cubicBezTo>
                  <a:cubicBezTo>
                    <a:pt x="34" y="58"/>
                    <a:pt x="33" y="61"/>
                    <a:pt x="34" y="61"/>
                  </a:cubicBezTo>
                  <a:cubicBezTo>
                    <a:pt x="38" y="64"/>
                    <a:pt x="44" y="66"/>
                    <a:pt x="49" y="68"/>
                  </a:cubicBezTo>
                  <a:cubicBezTo>
                    <a:pt x="51" y="69"/>
                    <a:pt x="53" y="69"/>
                    <a:pt x="55" y="68"/>
                  </a:cubicBezTo>
                  <a:cubicBezTo>
                    <a:pt x="60" y="65"/>
                    <a:pt x="63" y="60"/>
                    <a:pt x="68" y="57"/>
                  </a:cubicBezTo>
                  <a:cubicBezTo>
                    <a:pt x="70" y="55"/>
                    <a:pt x="73" y="55"/>
                    <a:pt x="76" y="55"/>
                  </a:cubicBezTo>
                  <a:cubicBezTo>
                    <a:pt x="82" y="55"/>
                    <a:pt x="88" y="54"/>
                    <a:pt x="94" y="54"/>
                  </a:cubicBezTo>
                  <a:cubicBezTo>
                    <a:pt x="96" y="54"/>
                    <a:pt x="100" y="54"/>
                    <a:pt x="99" y="55"/>
                  </a:cubicBezTo>
                  <a:cubicBezTo>
                    <a:pt x="96" y="57"/>
                    <a:pt x="92" y="56"/>
                    <a:pt x="89" y="56"/>
                  </a:cubicBezTo>
                  <a:cubicBezTo>
                    <a:pt x="84" y="57"/>
                    <a:pt x="79" y="56"/>
                    <a:pt x="75" y="58"/>
                  </a:cubicBezTo>
                  <a:cubicBezTo>
                    <a:pt x="70" y="59"/>
                    <a:pt x="66" y="62"/>
                    <a:pt x="63" y="66"/>
                  </a:cubicBezTo>
                  <a:cubicBezTo>
                    <a:pt x="62" y="67"/>
                    <a:pt x="62" y="70"/>
                    <a:pt x="63" y="70"/>
                  </a:cubicBezTo>
                  <a:cubicBezTo>
                    <a:pt x="66" y="72"/>
                    <a:pt x="70" y="70"/>
                    <a:pt x="74" y="71"/>
                  </a:cubicBezTo>
                  <a:cubicBezTo>
                    <a:pt x="76" y="71"/>
                    <a:pt x="78" y="74"/>
                    <a:pt x="81" y="73"/>
                  </a:cubicBezTo>
                  <a:cubicBezTo>
                    <a:pt x="83" y="71"/>
                    <a:pt x="82" y="67"/>
                    <a:pt x="85" y="65"/>
                  </a:cubicBezTo>
                  <a:cubicBezTo>
                    <a:pt x="86" y="65"/>
                    <a:pt x="88" y="67"/>
                    <a:pt x="90" y="67"/>
                  </a:cubicBezTo>
                  <a:cubicBezTo>
                    <a:pt x="93" y="67"/>
                    <a:pt x="96" y="65"/>
                    <a:pt x="100" y="66"/>
                  </a:cubicBezTo>
                  <a:cubicBezTo>
                    <a:pt x="101" y="66"/>
                    <a:pt x="98" y="68"/>
                    <a:pt x="97" y="68"/>
                  </a:cubicBezTo>
                  <a:cubicBezTo>
                    <a:pt x="95" y="69"/>
                    <a:pt x="91" y="68"/>
                    <a:pt x="89" y="70"/>
                  </a:cubicBezTo>
                  <a:cubicBezTo>
                    <a:pt x="88" y="70"/>
                    <a:pt x="89" y="72"/>
                    <a:pt x="90" y="72"/>
                  </a:cubicBezTo>
                  <a:cubicBezTo>
                    <a:pt x="95" y="72"/>
                    <a:pt x="101" y="72"/>
                    <a:pt x="106" y="71"/>
                  </a:cubicBezTo>
                  <a:cubicBezTo>
                    <a:pt x="113" y="68"/>
                    <a:pt x="121" y="66"/>
                    <a:pt x="127" y="60"/>
                  </a:cubicBezTo>
                  <a:cubicBezTo>
                    <a:pt x="129" y="59"/>
                    <a:pt x="126" y="54"/>
                    <a:pt x="127" y="52"/>
                  </a:cubicBezTo>
                  <a:cubicBezTo>
                    <a:pt x="128" y="50"/>
                    <a:pt x="131" y="52"/>
                    <a:pt x="132" y="52"/>
                  </a:cubicBezTo>
                  <a:cubicBezTo>
                    <a:pt x="137" y="50"/>
                    <a:pt x="141" y="47"/>
                    <a:pt x="146" y="45"/>
                  </a:cubicBezTo>
                  <a:cubicBezTo>
                    <a:pt x="148" y="45"/>
                    <a:pt x="150" y="44"/>
                    <a:pt x="152" y="45"/>
                  </a:cubicBezTo>
                  <a:cubicBezTo>
                    <a:pt x="153" y="47"/>
                    <a:pt x="149" y="46"/>
                    <a:pt x="147" y="47"/>
                  </a:cubicBezTo>
                  <a:cubicBezTo>
                    <a:pt x="143" y="49"/>
                    <a:pt x="139" y="52"/>
                    <a:pt x="136" y="54"/>
                  </a:cubicBezTo>
                  <a:cubicBezTo>
                    <a:pt x="134" y="56"/>
                    <a:pt x="128" y="60"/>
                    <a:pt x="131" y="62"/>
                  </a:cubicBezTo>
                  <a:cubicBezTo>
                    <a:pt x="135" y="64"/>
                    <a:pt x="140" y="60"/>
                    <a:pt x="145" y="60"/>
                  </a:cubicBezTo>
                  <a:cubicBezTo>
                    <a:pt x="151" y="59"/>
                    <a:pt x="158" y="59"/>
                    <a:pt x="164" y="59"/>
                  </a:cubicBezTo>
                  <a:cubicBezTo>
                    <a:pt x="166" y="59"/>
                    <a:pt x="172" y="57"/>
                    <a:pt x="171" y="59"/>
                  </a:cubicBezTo>
                  <a:cubicBezTo>
                    <a:pt x="168" y="62"/>
                    <a:pt x="164" y="62"/>
                    <a:pt x="161" y="63"/>
                  </a:cubicBezTo>
                  <a:cubicBezTo>
                    <a:pt x="156" y="64"/>
                    <a:pt x="150" y="62"/>
                    <a:pt x="145" y="63"/>
                  </a:cubicBezTo>
                  <a:cubicBezTo>
                    <a:pt x="140" y="63"/>
                    <a:pt x="136" y="64"/>
                    <a:pt x="131" y="65"/>
                  </a:cubicBezTo>
                  <a:cubicBezTo>
                    <a:pt x="128" y="66"/>
                    <a:pt x="124" y="66"/>
                    <a:pt x="121" y="68"/>
                  </a:cubicBezTo>
                  <a:cubicBezTo>
                    <a:pt x="120" y="68"/>
                    <a:pt x="122" y="70"/>
                    <a:pt x="123" y="70"/>
                  </a:cubicBezTo>
                  <a:cubicBezTo>
                    <a:pt x="127" y="70"/>
                    <a:pt x="131" y="68"/>
                    <a:pt x="135" y="68"/>
                  </a:cubicBezTo>
                  <a:cubicBezTo>
                    <a:pt x="136" y="68"/>
                    <a:pt x="139" y="69"/>
                    <a:pt x="138" y="70"/>
                  </a:cubicBezTo>
                  <a:cubicBezTo>
                    <a:pt x="135" y="71"/>
                    <a:pt x="131" y="71"/>
                    <a:pt x="128" y="72"/>
                  </a:cubicBezTo>
                  <a:cubicBezTo>
                    <a:pt x="125" y="73"/>
                    <a:pt x="121" y="73"/>
                    <a:pt x="117" y="73"/>
                  </a:cubicBezTo>
                  <a:cubicBezTo>
                    <a:pt x="113" y="74"/>
                    <a:pt x="110" y="74"/>
                    <a:pt x="106" y="75"/>
                  </a:cubicBezTo>
                  <a:cubicBezTo>
                    <a:pt x="101" y="75"/>
                    <a:pt x="95" y="74"/>
                    <a:pt x="90" y="76"/>
                  </a:cubicBezTo>
                  <a:cubicBezTo>
                    <a:pt x="89" y="76"/>
                    <a:pt x="92" y="77"/>
                    <a:pt x="94" y="78"/>
                  </a:cubicBezTo>
                  <a:cubicBezTo>
                    <a:pt x="96" y="80"/>
                    <a:pt x="99" y="82"/>
                    <a:pt x="101" y="84"/>
                  </a:cubicBezTo>
                  <a:cubicBezTo>
                    <a:pt x="102" y="85"/>
                    <a:pt x="101" y="88"/>
                    <a:pt x="102" y="89"/>
                  </a:cubicBezTo>
                  <a:cubicBezTo>
                    <a:pt x="108" y="91"/>
                    <a:pt x="115" y="90"/>
                    <a:pt x="121" y="91"/>
                  </a:cubicBezTo>
                  <a:cubicBezTo>
                    <a:pt x="123" y="91"/>
                    <a:pt x="127" y="91"/>
                    <a:pt x="126" y="92"/>
                  </a:cubicBezTo>
                  <a:cubicBezTo>
                    <a:pt x="121" y="93"/>
                    <a:pt x="117" y="92"/>
                    <a:pt x="112" y="93"/>
                  </a:cubicBezTo>
                  <a:cubicBezTo>
                    <a:pt x="109" y="93"/>
                    <a:pt x="106" y="94"/>
                    <a:pt x="102" y="94"/>
                  </a:cubicBezTo>
                  <a:cubicBezTo>
                    <a:pt x="101" y="94"/>
                    <a:pt x="99" y="93"/>
                    <a:pt x="98" y="92"/>
                  </a:cubicBezTo>
                  <a:cubicBezTo>
                    <a:pt x="95" y="89"/>
                    <a:pt x="93" y="86"/>
                    <a:pt x="90" y="83"/>
                  </a:cubicBezTo>
                  <a:cubicBezTo>
                    <a:pt x="87" y="81"/>
                    <a:pt x="85" y="79"/>
                    <a:pt x="82" y="78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2" name="Freeform 1103"/>
            <p:cNvSpPr>
              <a:spLocks noChangeAspect="1"/>
            </p:cNvSpPr>
            <p:nvPr/>
          </p:nvSpPr>
          <p:spPr bwMode="auto">
            <a:xfrm>
              <a:off x="2898775" y="1720850"/>
              <a:ext cx="20638" cy="23813"/>
            </a:xfrm>
            <a:custGeom>
              <a:avLst/>
              <a:gdLst>
                <a:gd name="T0" fmla="*/ 16886 w 11"/>
                <a:gd name="T1" fmla="*/ 1984 h 12"/>
                <a:gd name="T2" fmla="*/ 1876 w 11"/>
                <a:gd name="T3" fmla="*/ 17860 h 12"/>
                <a:gd name="T4" fmla="*/ 5629 w 11"/>
                <a:gd name="T5" fmla="*/ 23813 h 12"/>
                <a:gd name="T6" fmla="*/ 11257 w 11"/>
                <a:gd name="T7" fmla="*/ 15875 h 12"/>
                <a:gd name="T8" fmla="*/ 18762 w 11"/>
                <a:gd name="T9" fmla="*/ 19844 h 12"/>
                <a:gd name="T10" fmla="*/ 15009 w 11"/>
                <a:gd name="T11" fmla="*/ 11907 h 12"/>
                <a:gd name="T12" fmla="*/ 20638 w 11"/>
                <a:gd name="T13" fmla="*/ 3969 h 12"/>
                <a:gd name="T14" fmla="*/ 16886 w 11"/>
                <a:gd name="T15" fmla="*/ 198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2"/>
                <a:gd name="T26" fmla="*/ 11 w 11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2">
                  <a:moveTo>
                    <a:pt x="9" y="1"/>
                  </a:moveTo>
                  <a:cubicBezTo>
                    <a:pt x="6" y="3"/>
                    <a:pt x="3" y="6"/>
                    <a:pt x="1" y="9"/>
                  </a:cubicBezTo>
                  <a:cubicBezTo>
                    <a:pt x="0" y="10"/>
                    <a:pt x="2" y="12"/>
                    <a:pt x="3" y="12"/>
                  </a:cubicBezTo>
                  <a:cubicBezTo>
                    <a:pt x="4" y="11"/>
                    <a:pt x="5" y="9"/>
                    <a:pt x="6" y="8"/>
                  </a:cubicBezTo>
                  <a:cubicBezTo>
                    <a:pt x="7" y="8"/>
                    <a:pt x="9" y="11"/>
                    <a:pt x="10" y="10"/>
                  </a:cubicBezTo>
                  <a:cubicBezTo>
                    <a:pt x="11" y="9"/>
                    <a:pt x="8" y="8"/>
                    <a:pt x="8" y="6"/>
                  </a:cubicBezTo>
                  <a:cubicBezTo>
                    <a:pt x="9" y="5"/>
                    <a:pt x="11" y="4"/>
                    <a:pt x="11" y="2"/>
                  </a:cubicBezTo>
                  <a:cubicBezTo>
                    <a:pt x="11" y="1"/>
                    <a:pt x="10" y="0"/>
                    <a:pt x="9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3" name="Freeform 1104"/>
            <p:cNvSpPr>
              <a:spLocks noChangeAspect="1"/>
            </p:cNvSpPr>
            <p:nvPr/>
          </p:nvSpPr>
          <p:spPr bwMode="auto">
            <a:xfrm>
              <a:off x="2798763" y="1589088"/>
              <a:ext cx="25400" cy="14287"/>
            </a:xfrm>
            <a:custGeom>
              <a:avLst/>
              <a:gdLst>
                <a:gd name="T0" fmla="*/ 15631 w 13"/>
                <a:gd name="T1" fmla="*/ 0 h 7"/>
                <a:gd name="T2" fmla="*/ 23446 w 13"/>
                <a:gd name="T3" fmla="*/ 4082 h 7"/>
                <a:gd name="T4" fmla="*/ 7815 w 13"/>
                <a:gd name="T5" fmla="*/ 10205 h 7"/>
                <a:gd name="T6" fmla="*/ 1954 w 13"/>
                <a:gd name="T7" fmla="*/ 12246 h 7"/>
                <a:gd name="T8" fmla="*/ 5862 w 13"/>
                <a:gd name="T9" fmla="*/ 4082 h 7"/>
                <a:gd name="T10" fmla="*/ 15631 w 1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8" y="0"/>
                  </a:moveTo>
                  <a:cubicBezTo>
                    <a:pt x="10" y="0"/>
                    <a:pt x="13" y="1"/>
                    <a:pt x="12" y="2"/>
                  </a:cubicBezTo>
                  <a:cubicBezTo>
                    <a:pt x="10" y="4"/>
                    <a:pt x="7" y="4"/>
                    <a:pt x="4" y="5"/>
                  </a:cubicBezTo>
                  <a:cubicBezTo>
                    <a:pt x="3" y="5"/>
                    <a:pt x="1" y="7"/>
                    <a:pt x="1" y="6"/>
                  </a:cubicBezTo>
                  <a:cubicBezTo>
                    <a:pt x="0" y="4"/>
                    <a:pt x="2" y="3"/>
                    <a:pt x="3" y="2"/>
                  </a:cubicBezTo>
                  <a:cubicBezTo>
                    <a:pt x="5" y="1"/>
                    <a:pt x="6" y="0"/>
                    <a:pt x="8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4" name="Freeform 1105"/>
            <p:cNvSpPr>
              <a:spLocks noChangeAspect="1"/>
            </p:cNvSpPr>
            <p:nvPr/>
          </p:nvSpPr>
          <p:spPr bwMode="auto">
            <a:xfrm>
              <a:off x="2633663" y="1512888"/>
              <a:ext cx="25400" cy="6350"/>
            </a:xfrm>
            <a:custGeom>
              <a:avLst/>
              <a:gdLst>
                <a:gd name="T0" fmla="*/ 19538 w 13"/>
                <a:gd name="T1" fmla="*/ 0 h 3"/>
                <a:gd name="T2" fmla="*/ 23446 w 13"/>
                <a:gd name="T3" fmla="*/ 4233 h 3"/>
                <a:gd name="T4" fmla="*/ 11723 w 13"/>
                <a:gd name="T5" fmla="*/ 4233 h 3"/>
                <a:gd name="T6" fmla="*/ 1954 w 13"/>
                <a:gd name="T7" fmla="*/ 4233 h 3"/>
                <a:gd name="T8" fmla="*/ 7815 w 13"/>
                <a:gd name="T9" fmla="*/ 0 h 3"/>
                <a:gd name="T10" fmla="*/ 19538 w 13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3"/>
                <a:gd name="T20" fmla="*/ 13 w 1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3">
                  <a:moveTo>
                    <a:pt x="10" y="0"/>
                  </a:moveTo>
                  <a:cubicBezTo>
                    <a:pt x="11" y="0"/>
                    <a:pt x="13" y="2"/>
                    <a:pt x="12" y="2"/>
                  </a:cubicBezTo>
                  <a:cubicBezTo>
                    <a:pt x="11" y="3"/>
                    <a:pt x="8" y="2"/>
                    <a:pt x="6" y="2"/>
                  </a:cubicBezTo>
                  <a:cubicBezTo>
                    <a:pt x="5" y="2"/>
                    <a:pt x="2" y="3"/>
                    <a:pt x="1" y="2"/>
                  </a:cubicBezTo>
                  <a:cubicBezTo>
                    <a:pt x="0" y="1"/>
                    <a:pt x="3" y="0"/>
                    <a:pt x="4" y="0"/>
                  </a:cubicBezTo>
                  <a:cubicBezTo>
                    <a:pt x="6" y="0"/>
                    <a:pt x="8" y="0"/>
                    <a:pt x="1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5" name="Freeform 1106"/>
            <p:cNvSpPr>
              <a:spLocks noChangeAspect="1"/>
            </p:cNvSpPr>
            <p:nvPr/>
          </p:nvSpPr>
          <p:spPr bwMode="auto">
            <a:xfrm>
              <a:off x="3068638" y="1368425"/>
              <a:ext cx="1228725" cy="1014413"/>
            </a:xfrm>
            <a:custGeom>
              <a:avLst/>
              <a:gdLst>
                <a:gd name="T0" fmla="*/ 1114425 w 645"/>
                <a:gd name="T1" fmla="*/ 139196 h 532"/>
                <a:gd name="T2" fmla="*/ 1152525 w 645"/>
                <a:gd name="T3" fmla="*/ 156357 h 532"/>
                <a:gd name="T4" fmla="*/ 1087755 w 645"/>
                <a:gd name="T5" fmla="*/ 177332 h 532"/>
                <a:gd name="T6" fmla="*/ 1083945 w 645"/>
                <a:gd name="T7" fmla="*/ 215467 h 532"/>
                <a:gd name="T8" fmla="*/ 1049655 w 645"/>
                <a:gd name="T9" fmla="*/ 276485 h 532"/>
                <a:gd name="T10" fmla="*/ 1085850 w 645"/>
                <a:gd name="T11" fmla="*/ 306993 h 532"/>
                <a:gd name="T12" fmla="*/ 1055370 w 645"/>
                <a:gd name="T13" fmla="*/ 327968 h 532"/>
                <a:gd name="T14" fmla="*/ 1064895 w 645"/>
                <a:gd name="T15" fmla="*/ 354663 h 532"/>
                <a:gd name="T16" fmla="*/ 1070610 w 645"/>
                <a:gd name="T17" fmla="*/ 398519 h 532"/>
                <a:gd name="T18" fmla="*/ 1024890 w 645"/>
                <a:gd name="T19" fmla="*/ 406146 h 532"/>
                <a:gd name="T20" fmla="*/ 1076325 w 645"/>
                <a:gd name="T21" fmla="*/ 434748 h 532"/>
                <a:gd name="T22" fmla="*/ 1017270 w 645"/>
                <a:gd name="T23" fmla="*/ 461443 h 532"/>
                <a:gd name="T24" fmla="*/ 1011555 w 645"/>
                <a:gd name="T25" fmla="*/ 480511 h 532"/>
                <a:gd name="T26" fmla="*/ 948690 w 645"/>
                <a:gd name="T27" fmla="*/ 470977 h 532"/>
                <a:gd name="T28" fmla="*/ 942975 w 645"/>
                <a:gd name="T29" fmla="*/ 491952 h 532"/>
                <a:gd name="T30" fmla="*/ 950595 w 645"/>
                <a:gd name="T31" fmla="*/ 514834 h 532"/>
                <a:gd name="T32" fmla="*/ 998220 w 645"/>
                <a:gd name="T33" fmla="*/ 539622 h 532"/>
                <a:gd name="T34" fmla="*/ 1015365 w 645"/>
                <a:gd name="T35" fmla="*/ 573944 h 532"/>
                <a:gd name="T36" fmla="*/ 986790 w 645"/>
                <a:gd name="T37" fmla="*/ 596826 h 532"/>
                <a:gd name="T38" fmla="*/ 880110 w 645"/>
                <a:gd name="T39" fmla="*/ 533902 h 532"/>
                <a:gd name="T40" fmla="*/ 927735 w 645"/>
                <a:gd name="T41" fmla="*/ 570131 h 532"/>
                <a:gd name="T42" fmla="*/ 857250 w 645"/>
                <a:gd name="T43" fmla="*/ 602546 h 532"/>
                <a:gd name="T44" fmla="*/ 920115 w 645"/>
                <a:gd name="T45" fmla="*/ 608266 h 532"/>
                <a:gd name="T46" fmla="*/ 948690 w 645"/>
                <a:gd name="T47" fmla="*/ 642589 h 532"/>
                <a:gd name="T48" fmla="*/ 773430 w 645"/>
                <a:gd name="T49" fmla="*/ 680724 h 532"/>
                <a:gd name="T50" fmla="*/ 689610 w 645"/>
                <a:gd name="T51" fmla="*/ 781784 h 532"/>
                <a:gd name="T52" fmla="*/ 643890 w 645"/>
                <a:gd name="T53" fmla="*/ 793225 h 532"/>
                <a:gd name="T54" fmla="*/ 598170 w 645"/>
                <a:gd name="T55" fmla="*/ 842802 h 532"/>
                <a:gd name="T56" fmla="*/ 546735 w 645"/>
                <a:gd name="T57" fmla="*/ 936234 h 532"/>
                <a:gd name="T58" fmla="*/ 474345 w 645"/>
                <a:gd name="T59" fmla="*/ 974370 h 532"/>
                <a:gd name="T60" fmla="*/ 377190 w 645"/>
                <a:gd name="T61" fmla="*/ 896192 h 532"/>
                <a:gd name="T62" fmla="*/ 333375 w 645"/>
                <a:gd name="T63" fmla="*/ 783691 h 532"/>
                <a:gd name="T64" fmla="*/ 329565 w 645"/>
                <a:gd name="T65" fmla="*/ 694072 h 532"/>
                <a:gd name="T66" fmla="*/ 401955 w 645"/>
                <a:gd name="T67" fmla="*/ 621614 h 532"/>
                <a:gd name="T68" fmla="*/ 352425 w 645"/>
                <a:gd name="T69" fmla="*/ 587292 h 532"/>
                <a:gd name="T70" fmla="*/ 344805 w 645"/>
                <a:gd name="T71" fmla="*/ 558690 h 532"/>
                <a:gd name="T72" fmla="*/ 306705 w 645"/>
                <a:gd name="T73" fmla="*/ 429028 h 532"/>
                <a:gd name="T74" fmla="*/ 135255 w 645"/>
                <a:gd name="T75" fmla="*/ 350850 h 532"/>
                <a:gd name="T76" fmla="*/ 80010 w 645"/>
                <a:gd name="T77" fmla="*/ 335595 h 532"/>
                <a:gd name="T78" fmla="*/ 53340 w 645"/>
                <a:gd name="T79" fmla="*/ 308900 h 532"/>
                <a:gd name="T80" fmla="*/ 102870 w 645"/>
                <a:gd name="T81" fmla="*/ 287925 h 532"/>
                <a:gd name="T82" fmla="*/ 59055 w 645"/>
                <a:gd name="T83" fmla="*/ 234535 h 532"/>
                <a:gd name="T84" fmla="*/ 194310 w 645"/>
                <a:gd name="T85" fmla="*/ 167798 h 532"/>
                <a:gd name="T86" fmla="*/ 209550 w 645"/>
                <a:gd name="T87" fmla="*/ 125848 h 532"/>
                <a:gd name="T88" fmla="*/ 403860 w 645"/>
                <a:gd name="T89" fmla="*/ 68644 h 532"/>
                <a:gd name="T90" fmla="*/ 476250 w 645"/>
                <a:gd name="T91" fmla="*/ 87712 h 532"/>
                <a:gd name="T92" fmla="*/ 575310 w 645"/>
                <a:gd name="T93" fmla="*/ 97246 h 532"/>
                <a:gd name="T94" fmla="*/ 615315 w 645"/>
                <a:gd name="T95" fmla="*/ 51483 h 532"/>
                <a:gd name="T96" fmla="*/ 645795 w 645"/>
                <a:gd name="T97" fmla="*/ 32415 h 532"/>
                <a:gd name="T98" fmla="*/ 727710 w 645"/>
                <a:gd name="T99" fmla="*/ 17161 h 532"/>
                <a:gd name="T100" fmla="*/ 939165 w 645"/>
                <a:gd name="T101" fmla="*/ 11441 h 532"/>
                <a:gd name="T102" fmla="*/ 828675 w 645"/>
                <a:gd name="T103" fmla="*/ 40043 h 532"/>
                <a:gd name="T104" fmla="*/ 1040130 w 645"/>
                <a:gd name="T105" fmla="*/ 47670 h 532"/>
                <a:gd name="T106" fmla="*/ 805815 w 645"/>
                <a:gd name="T107" fmla="*/ 87712 h 532"/>
                <a:gd name="T108" fmla="*/ 986790 w 645"/>
                <a:gd name="T109" fmla="*/ 81992 h 532"/>
                <a:gd name="T110" fmla="*/ 1005840 w 645"/>
                <a:gd name="T111" fmla="*/ 135382 h 532"/>
                <a:gd name="T112" fmla="*/ 1112520 w 645"/>
                <a:gd name="T113" fmla="*/ 104874 h 53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5"/>
                <a:gd name="T172" fmla="*/ 0 h 532"/>
                <a:gd name="T173" fmla="*/ 645 w 645"/>
                <a:gd name="T174" fmla="*/ 532 h 53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5" h="532">
                  <a:moveTo>
                    <a:pt x="645" y="54"/>
                  </a:moveTo>
                  <a:cubicBezTo>
                    <a:pt x="638" y="61"/>
                    <a:pt x="627" y="60"/>
                    <a:pt x="618" y="65"/>
                  </a:cubicBezTo>
                  <a:cubicBezTo>
                    <a:pt x="616" y="66"/>
                    <a:pt x="619" y="70"/>
                    <a:pt x="616" y="70"/>
                  </a:cubicBezTo>
                  <a:cubicBezTo>
                    <a:pt x="610" y="72"/>
                    <a:pt x="605" y="74"/>
                    <a:pt x="601" y="75"/>
                  </a:cubicBezTo>
                  <a:cubicBezTo>
                    <a:pt x="596" y="76"/>
                    <a:pt x="590" y="73"/>
                    <a:pt x="585" y="73"/>
                  </a:cubicBezTo>
                  <a:cubicBezTo>
                    <a:pt x="579" y="80"/>
                    <a:pt x="567" y="73"/>
                    <a:pt x="558" y="76"/>
                  </a:cubicBezTo>
                  <a:cubicBezTo>
                    <a:pt x="556" y="76"/>
                    <a:pt x="556" y="80"/>
                    <a:pt x="558" y="80"/>
                  </a:cubicBezTo>
                  <a:cubicBezTo>
                    <a:pt x="563" y="78"/>
                    <a:pt x="569" y="81"/>
                    <a:pt x="574" y="80"/>
                  </a:cubicBezTo>
                  <a:cubicBezTo>
                    <a:pt x="579" y="80"/>
                    <a:pt x="583" y="78"/>
                    <a:pt x="588" y="78"/>
                  </a:cubicBezTo>
                  <a:cubicBezTo>
                    <a:pt x="594" y="78"/>
                    <a:pt x="601" y="79"/>
                    <a:pt x="605" y="82"/>
                  </a:cubicBezTo>
                  <a:cubicBezTo>
                    <a:pt x="601" y="86"/>
                    <a:pt x="594" y="87"/>
                    <a:pt x="589" y="88"/>
                  </a:cubicBezTo>
                  <a:cubicBezTo>
                    <a:pt x="584" y="89"/>
                    <a:pt x="579" y="88"/>
                    <a:pt x="574" y="88"/>
                  </a:cubicBezTo>
                  <a:cubicBezTo>
                    <a:pt x="571" y="88"/>
                    <a:pt x="566" y="86"/>
                    <a:pt x="563" y="88"/>
                  </a:cubicBezTo>
                  <a:cubicBezTo>
                    <a:pt x="560" y="90"/>
                    <a:pt x="555" y="95"/>
                    <a:pt x="558" y="97"/>
                  </a:cubicBezTo>
                  <a:cubicBezTo>
                    <a:pt x="562" y="99"/>
                    <a:pt x="566" y="93"/>
                    <a:pt x="571" y="93"/>
                  </a:cubicBezTo>
                  <a:cubicBezTo>
                    <a:pt x="576" y="92"/>
                    <a:pt x="583" y="89"/>
                    <a:pt x="586" y="92"/>
                  </a:cubicBezTo>
                  <a:cubicBezTo>
                    <a:pt x="589" y="94"/>
                    <a:pt x="583" y="99"/>
                    <a:pt x="580" y="100"/>
                  </a:cubicBezTo>
                  <a:cubicBezTo>
                    <a:pt x="578" y="101"/>
                    <a:pt x="574" y="98"/>
                    <a:pt x="571" y="99"/>
                  </a:cubicBezTo>
                  <a:cubicBezTo>
                    <a:pt x="568" y="101"/>
                    <a:pt x="566" y="105"/>
                    <a:pt x="565" y="109"/>
                  </a:cubicBezTo>
                  <a:cubicBezTo>
                    <a:pt x="565" y="111"/>
                    <a:pt x="570" y="111"/>
                    <a:pt x="569" y="113"/>
                  </a:cubicBezTo>
                  <a:cubicBezTo>
                    <a:pt x="567" y="117"/>
                    <a:pt x="564" y="120"/>
                    <a:pt x="560" y="122"/>
                  </a:cubicBezTo>
                  <a:cubicBezTo>
                    <a:pt x="558" y="123"/>
                    <a:pt x="554" y="119"/>
                    <a:pt x="553" y="121"/>
                  </a:cubicBezTo>
                  <a:cubicBezTo>
                    <a:pt x="550" y="126"/>
                    <a:pt x="549" y="132"/>
                    <a:pt x="547" y="137"/>
                  </a:cubicBezTo>
                  <a:cubicBezTo>
                    <a:pt x="546" y="141"/>
                    <a:pt x="542" y="144"/>
                    <a:pt x="542" y="148"/>
                  </a:cubicBezTo>
                  <a:cubicBezTo>
                    <a:pt x="542" y="151"/>
                    <a:pt x="548" y="145"/>
                    <a:pt x="551" y="145"/>
                  </a:cubicBezTo>
                  <a:cubicBezTo>
                    <a:pt x="557" y="145"/>
                    <a:pt x="562" y="147"/>
                    <a:pt x="568" y="150"/>
                  </a:cubicBezTo>
                  <a:cubicBezTo>
                    <a:pt x="569" y="151"/>
                    <a:pt x="570" y="154"/>
                    <a:pt x="568" y="154"/>
                  </a:cubicBezTo>
                  <a:cubicBezTo>
                    <a:pt x="563" y="154"/>
                    <a:pt x="558" y="149"/>
                    <a:pt x="553" y="150"/>
                  </a:cubicBezTo>
                  <a:cubicBezTo>
                    <a:pt x="551" y="150"/>
                    <a:pt x="552" y="155"/>
                    <a:pt x="554" y="156"/>
                  </a:cubicBezTo>
                  <a:cubicBezTo>
                    <a:pt x="559" y="159"/>
                    <a:pt x="564" y="160"/>
                    <a:pt x="570" y="161"/>
                  </a:cubicBezTo>
                  <a:cubicBezTo>
                    <a:pt x="572" y="162"/>
                    <a:pt x="574" y="158"/>
                    <a:pt x="576" y="160"/>
                  </a:cubicBezTo>
                  <a:cubicBezTo>
                    <a:pt x="578" y="163"/>
                    <a:pt x="580" y="170"/>
                    <a:pt x="577" y="171"/>
                  </a:cubicBezTo>
                  <a:cubicBezTo>
                    <a:pt x="570" y="172"/>
                    <a:pt x="564" y="170"/>
                    <a:pt x="557" y="169"/>
                  </a:cubicBezTo>
                  <a:cubicBezTo>
                    <a:pt x="553" y="169"/>
                    <a:pt x="542" y="167"/>
                    <a:pt x="539" y="168"/>
                  </a:cubicBezTo>
                  <a:cubicBezTo>
                    <a:pt x="537" y="169"/>
                    <a:pt x="551" y="170"/>
                    <a:pt x="554" y="172"/>
                  </a:cubicBezTo>
                  <a:cubicBezTo>
                    <a:pt x="555" y="173"/>
                    <a:pt x="545" y="174"/>
                    <a:pt x="542" y="175"/>
                  </a:cubicBezTo>
                  <a:cubicBezTo>
                    <a:pt x="539" y="175"/>
                    <a:pt x="540" y="172"/>
                    <a:pt x="537" y="172"/>
                  </a:cubicBezTo>
                  <a:cubicBezTo>
                    <a:pt x="534" y="172"/>
                    <a:pt x="530" y="173"/>
                    <a:pt x="531" y="175"/>
                  </a:cubicBezTo>
                  <a:cubicBezTo>
                    <a:pt x="532" y="179"/>
                    <a:pt x="541" y="180"/>
                    <a:pt x="541" y="184"/>
                  </a:cubicBezTo>
                  <a:cubicBezTo>
                    <a:pt x="547" y="186"/>
                    <a:pt x="554" y="184"/>
                    <a:pt x="559" y="186"/>
                  </a:cubicBezTo>
                  <a:cubicBezTo>
                    <a:pt x="561" y="187"/>
                    <a:pt x="559" y="190"/>
                    <a:pt x="557" y="191"/>
                  </a:cubicBezTo>
                  <a:cubicBezTo>
                    <a:pt x="551" y="191"/>
                    <a:pt x="546" y="189"/>
                    <a:pt x="540" y="190"/>
                  </a:cubicBezTo>
                  <a:cubicBezTo>
                    <a:pt x="539" y="191"/>
                    <a:pt x="539" y="193"/>
                    <a:pt x="540" y="194"/>
                  </a:cubicBezTo>
                  <a:cubicBezTo>
                    <a:pt x="546" y="196"/>
                    <a:pt x="556" y="192"/>
                    <a:pt x="561" y="196"/>
                  </a:cubicBezTo>
                  <a:cubicBezTo>
                    <a:pt x="564" y="198"/>
                    <a:pt x="564" y="206"/>
                    <a:pt x="562" y="209"/>
                  </a:cubicBezTo>
                  <a:cubicBezTo>
                    <a:pt x="559" y="212"/>
                    <a:pt x="555" y="207"/>
                    <a:pt x="551" y="205"/>
                  </a:cubicBezTo>
                  <a:cubicBezTo>
                    <a:pt x="546" y="203"/>
                    <a:pt x="542" y="199"/>
                    <a:pt x="536" y="198"/>
                  </a:cubicBezTo>
                  <a:cubicBezTo>
                    <a:pt x="534" y="198"/>
                    <a:pt x="531" y="201"/>
                    <a:pt x="532" y="202"/>
                  </a:cubicBezTo>
                  <a:cubicBezTo>
                    <a:pt x="537" y="206"/>
                    <a:pt x="547" y="204"/>
                    <a:pt x="550" y="210"/>
                  </a:cubicBezTo>
                  <a:cubicBezTo>
                    <a:pt x="552" y="214"/>
                    <a:pt x="539" y="209"/>
                    <a:pt x="538" y="213"/>
                  </a:cubicBezTo>
                  <a:cubicBezTo>
                    <a:pt x="537" y="217"/>
                    <a:pt x="546" y="211"/>
                    <a:pt x="549" y="213"/>
                  </a:cubicBezTo>
                  <a:cubicBezTo>
                    <a:pt x="551" y="214"/>
                    <a:pt x="549" y="217"/>
                    <a:pt x="549" y="219"/>
                  </a:cubicBezTo>
                  <a:cubicBezTo>
                    <a:pt x="548" y="220"/>
                    <a:pt x="545" y="222"/>
                    <a:pt x="546" y="222"/>
                  </a:cubicBezTo>
                  <a:cubicBezTo>
                    <a:pt x="551" y="224"/>
                    <a:pt x="557" y="222"/>
                    <a:pt x="562" y="224"/>
                  </a:cubicBezTo>
                  <a:cubicBezTo>
                    <a:pt x="563" y="224"/>
                    <a:pt x="565" y="227"/>
                    <a:pt x="565" y="228"/>
                  </a:cubicBezTo>
                  <a:cubicBezTo>
                    <a:pt x="564" y="230"/>
                    <a:pt x="561" y="231"/>
                    <a:pt x="559" y="231"/>
                  </a:cubicBezTo>
                  <a:cubicBezTo>
                    <a:pt x="554" y="230"/>
                    <a:pt x="550" y="227"/>
                    <a:pt x="546" y="226"/>
                  </a:cubicBezTo>
                  <a:cubicBezTo>
                    <a:pt x="543" y="225"/>
                    <a:pt x="539" y="226"/>
                    <a:pt x="536" y="225"/>
                  </a:cubicBezTo>
                  <a:cubicBezTo>
                    <a:pt x="534" y="225"/>
                    <a:pt x="533" y="228"/>
                    <a:pt x="533" y="230"/>
                  </a:cubicBezTo>
                  <a:cubicBezTo>
                    <a:pt x="532" y="234"/>
                    <a:pt x="531" y="239"/>
                    <a:pt x="534" y="242"/>
                  </a:cubicBezTo>
                  <a:cubicBezTo>
                    <a:pt x="536" y="244"/>
                    <a:pt x="534" y="235"/>
                    <a:pt x="537" y="235"/>
                  </a:cubicBezTo>
                  <a:cubicBezTo>
                    <a:pt x="542" y="235"/>
                    <a:pt x="544" y="239"/>
                    <a:pt x="551" y="240"/>
                  </a:cubicBezTo>
                  <a:cubicBezTo>
                    <a:pt x="552" y="242"/>
                    <a:pt x="549" y="246"/>
                    <a:pt x="549" y="248"/>
                  </a:cubicBezTo>
                  <a:cubicBezTo>
                    <a:pt x="545" y="250"/>
                    <a:pt x="541" y="248"/>
                    <a:pt x="537" y="249"/>
                  </a:cubicBezTo>
                  <a:cubicBezTo>
                    <a:pt x="535" y="250"/>
                    <a:pt x="533" y="253"/>
                    <a:pt x="531" y="252"/>
                  </a:cubicBezTo>
                  <a:cubicBezTo>
                    <a:pt x="524" y="252"/>
                    <a:pt x="516" y="249"/>
                    <a:pt x="510" y="246"/>
                  </a:cubicBezTo>
                  <a:cubicBezTo>
                    <a:pt x="508" y="245"/>
                    <a:pt x="510" y="241"/>
                    <a:pt x="507" y="241"/>
                  </a:cubicBezTo>
                  <a:cubicBezTo>
                    <a:pt x="505" y="241"/>
                    <a:pt x="505" y="247"/>
                    <a:pt x="503" y="246"/>
                  </a:cubicBezTo>
                  <a:cubicBezTo>
                    <a:pt x="499" y="246"/>
                    <a:pt x="498" y="238"/>
                    <a:pt x="494" y="238"/>
                  </a:cubicBezTo>
                  <a:cubicBezTo>
                    <a:pt x="492" y="241"/>
                    <a:pt x="497" y="244"/>
                    <a:pt x="498" y="247"/>
                  </a:cubicBezTo>
                  <a:cubicBezTo>
                    <a:pt x="498" y="248"/>
                    <a:pt x="493" y="250"/>
                    <a:pt x="490" y="253"/>
                  </a:cubicBezTo>
                  <a:cubicBezTo>
                    <a:pt x="485" y="256"/>
                    <a:pt x="478" y="246"/>
                    <a:pt x="473" y="249"/>
                  </a:cubicBezTo>
                  <a:cubicBezTo>
                    <a:pt x="470" y="251"/>
                    <a:pt x="478" y="252"/>
                    <a:pt x="484" y="254"/>
                  </a:cubicBezTo>
                  <a:cubicBezTo>
                    <a:pt x="480" y="255"/>
                    <a:pt x="474" y="253"/>
                    <a:pt x="472" y="256"/>
                  </a:cubicBezTo>
                  <a:cubicBezTo>
                    <a:pt x="478" y="257"/>
                    <a:pt x="490" y="256"/>
                    <a:pt x="495" y="258"/>
                  </a:cubicBezTo>
                  <a:cubicBezTo>
                    <a:pt x="497" y="258"/>
                    <a:pt x="495" y="260"/>
                    <a:pt x="494" y="261"/>
                  </a:cubicBezTo>
                  <a:cubicBezTo>
                    <a:pt x="488" y="262"/>
                    <a:pt x="478" y="259"/>
                    <a:pt x="472" y="261"/>
                  </a:cubicBezTo>
                  <a:cubicBezTo>
                    <a:pt x="474" y="264"/>
                    <a:pt x="478" y="263"/>
                    <a:pt x="480" y="264"/>
                  </a:cubicBezTo>
                  <a:cubicBezTo>
                    <a:pt x="483" y="264"/>
                    <a:pt x="480" y="268"/>
                    <a:pt x="491" y="264"/>
                  </a:cubicBezTo>
                  <a:cubicBezTo>
                    <a:pt x="495" y="265"/>
                    <a:pt x="501" y="266"/>
                    <a:pt x="499" y="270"/>
                  </a:cubicBezTo>
                  <a:cubicBezTo>
                    <a:pt x="496" y="274"/>
                    <a:pt x="489" y="270"/>
                    <a:pt x="484" y="271"/>
                  </a:cubicBezTo>
                  <a:cubicBezTo>
                    <a:pt x="483" y="274"/>
                    <a:pt x="490" y="272"/>
                    <a:pt x="491" y="274"/>
                  </a:cubicBezTo>
                  <a:cubicBezTo>
                    <a:pt x="492" y="275"/>
                    <a:pt x="488" y="278"/>
                    <a:pt x="490" y="278"/>
                  </a:cubicBezTo>
                  <a:cubicBezTo>
                    <a:pt x="493" y="279"/>
                    <a:pt x="496" y="273"/>
                    <a:pt x="498" y="273"/>
                  </a:cubicBezTo>
                  <a:cubicBezTo>
                    <a:pt x="508" y="275"/>
                    <a:pt x="516" y="278"/>
                    <a:pt x="524" y="283"/>
                  </a:cubicBezTo>
                  <a:cubicBezTo>
                    <a:pt x="526" y="284"/>
                    <a:pt x="519" y="286"/>
                    <a:pt x="518" y="289"/>
                  </a:cubicBezTo>
                  <a:cubicBezTo>
                    <a:pt x="519" y="292"/>
                    <a:pt x="529" y="286"/>
                    <a:pt x="530" y="288"/>
                  </a:cubicBezTo>
                  <a:cubicBezTo>
                    <a:pt x="532" y="291"/>
                    <a:pt x="523" y="296"/>
                    <a:pt x="525" y="299"/>
                  </a:cubicBezTo>
                  <a:cubicBezTo>
                    <a:pt x="527" y="301"/>
                    <a:pt x="530" y="294"/>
                    <a:pt x="533" y="295"/>
                  </a:cubicBezTo>
                  <a:cubicBezTo>
                    <a:pt x="535" y="295"/>
                    <a:pt x="534" y="299"/>
                    <a:pt x="533" y="301"/>
                  </a:cubicBezTo>
                  <a:cubicBezTo>
                    <a:pt x="532" y="302"/>
                    <a:pt x="527" y="299"/>
                    <a:pt x="528" y="301"/>
                  </a:cubicBezTo>
                  <a:cubicBezTo>
                    <a:pt x="528" y="305"/>
                    <a:pt x="535" y="307"/>
                    <a:pt x="534" y="311"/>
                  </a:cubicBezTo>
                  <a:cubicBezTo>
                    <a:pt x="534" y="313"/>
                    <a:pt x="529" y="314"/>
                    <a:pt x="526" y="313"/>
                  </a:cubicBezTo>
                  <a:cubicBezTo>
                    <a:pt x="523" y="312"/>
                    <a:pt x="525" y="305"/>
                    <a:pt x="522" y="305"/>
                  </a:cubicBezTo>
                  <a:cubicBezTo>
                    <a:pt x="519" y="305"/>
                    <a:pt x="521" y="312"/>
                    <a:pt x="518" y="313"/>
                  </a:cubicBezTo>
                  <a:cubicBezTo>
                    <a:pt x="514" y="314"/>
                    <a:pt x="509" y="312"/>
                    <a:pt x="506" y="309"/>
                  </a:cubicBezTo>
                  <a:cubicBezTo>
                    <a:pt x="502" y="305"/>
                    <a:pt x="503" y="298"/>
                    <a:pt x="499" y="294"/>
                  </a:cubicBezTo>
                  <a:cubicBezTo>
                    <a:pt x="497" y="292"/>
                    <a:pt x="494" y="294"/>
                    <a:pt x="491" y="293"/>
                  </a:cubicBezTo>
                  <a:cubicBezTo>
                    <a:pt x="486" y="292"/>
                    <a:pt x="479" y="289"/>
                    <a:pt x="474" y="287"/>
                  </a:cubicBezTo>
                  <a:cubicBezTo>
                    <a:pt x="470" y="285"/>
                    <a:pt x="467" y="280"/>
                    <a:pt x="462" y="280"/>
                  </a:cubicBezTo>
                  <a:cubicBezTo>
                    <a:pt x="460" y="280"/>
                    <a:pt x="466" y="285"/>
                    <a:pt x="465" y="286"/>
                  </a:cubicBezTo>
                  <a:cubicBezTo>
                    <a:pt x="464" y="288"/>
                    <a:pt x="460" y="288"/>
                    <a:pt x="461" y="289"/>
                  </a:cubicBezTo>
                  <a:cubicBezTo>
                    <a:pt x="464" y="291"/>
                    <a:pt x="468" y="292"/>
                    <a:pt x="472" y="293"/>
                  </a:cubicBezTo>
                  <a:cubicBezTo>
                    <a:pt x="477" y="294"/>
                    <a:pt x="481" y="293"/>
                    <a:pt x="485" y="294"/>
                  </a:cubicBezTo>
                  <a:cubicBezTo>
                    <a:pt x="487" y="295"/>
                    <a:pt x="488" y="298"/>
                    <a:pt x="487" y="299"/>
                  </a:cubicBezTo>
                  <a:cubicBezTo>
                    <a:pt x="482" y="301"/>
                    <a:pt x="474" y="303"/>
                    <a:pt x="469" y="303"/>
                  </a:cubicBezTo>
                  <a:cubicBezTo>
                    <a:pt x="467" y="303"/>
                    <a:pt x="468" y="299"/>
                    <a:pt x="466" y="299"/>
                  </a:cubicBezTo>
                  <a:cubicBezTo>
                    <a:pt x="463" y="300"/>
                    <a:pt x="459" y="302"/>
                    <a:pt x="458" y="305"/>
                  </a:cubicBezTo>
                  <a:cubicBezTo>
                    <a:pt x="464" y="306"/>
                    <a:pt x="461" y="309"/>
                    <a:pt x="460" y="311"/>
                  </a:cubicBezTo>
                  <a:cubicBezTo>
                    <a:pt x="458" y="314"/>
                    <a:pt x="447" y="314"/>
                    <a:pt x="450" y="316"/>
                  </a:cubicBezTo>
                  <a:cubicBezTo>
                    <a:pt x="455" y="316"/>
                    <a:pt x="462" y="316"/>
                    <a:pt x="468" y="316"/>
                  </a:cubicBezTo>
                  <a:cubicBezTo>
                    <a:pt x="469" y="316"/>
                    <a:pt x="479" y="316"/>
                    <a:pt x="478" y="317"/>
                  </a:cubicBezTo>
                  <a:cubicBezTo>
                    <a:pt x="474" y="319"/>
                    <a:pt x="458" y="318"/>
                    <a:pt x="456" y="323"/>
                  </a:cubicBezTo>
                  <a:cubicBezTo>
                    <a:pt x="460" y="324"/>
                    <a:pt x="466" y="324"/>
                    <a:pt x="468" y="325"/>
                  </a:cubicBezTo>
                  <a:cubicBezTo>
                    <a:pt x="471" y="321"/>
                    <a:pt x="478" y="320"/>
                    <a:pt x="483" y="319"/>
                  </a:cubicBezTo>
                  <a:cubicBezTo>
                    <a:pt x="488" y="318"/>
                    <a:pt x="493" y="318"/>
                    <a:pt x="497" y="318"/>
                  </a:cubicBezTo>
                  <a:cubicBezTo>
                    <a:pt x="505" y="319"/>
                    <a:pt x="513" y="321"/>
                    <a:pt x="521" y="322"/>
                  </a:cubicBezTo>
                  <a:cubicBezTo>
                    <a:pt x="523" y="323"/>
                    <a:pt x="529" y="320"/>
                    <a:pt x="527" y="323"/>
                  </a:cubicBezTo>
                  <a:cubicBezTo>
                    <a:pt x="521" y="328"/>
                    <a:pt x="515" y="327"/>
                    <a:pt x="508" y="330"/>
                  </a:cubicBezTo>
                  <a:cubicBezTo>
                    <a:pt x="508" y="335"/>
                    <a:pt x="501" y="334"/>
                    <a:pt x="498" y="337"/>
                  </a:cubicBezTo>
                  <a:cubicBezTo>
                    <a:pt x="493" y="342"/>
                    <a:pt x="488" y="348"/>
                    <a:pt x="481" y="351"/>
                  </a:cubicBezTo>
                  <a:cubicBezTo>
                    <a:pt x="472" y="355"/>
                    <a:pt x="461" y="355"/>
                    <a:pt x="451" y="357"/>
                  </a:cubicBezTo>
                  <a:cubicBezTo>
                    <a:pt x="444" y="359"/>
                    <a:pt x="437" y="362"/>
                    <a:pt x="430" y="363"/>
                  </a:cubicBezTo>
                  <a:cubicBezTo>
                    <a:pt x="426" y="364"/>
                    <a:pt x="422" y="364"/>
                    <a:pt x="418" y="363"/>
                  </a:cubicBezTo>
                  <a:cubicBezTo>
                    <a:pt x="414" y="362"/>
                    <a:pt x="410" y="356"/>
                    <a:pt x="406" y="357"/>
                  </a:cubicBezTo>
                  <a:cubicBezTo>
                    <a:pt x="403" y="358"/>
                    <a:pt x="413" y="363"/>
                    <a:pt x="411" y="366"/>
                  </a:cubicBezTo>
                  <a:cubicBezTo>
                    <a:pt x="409" y="370"/>
                    <a:pt x="400" y="369"/>
                    <a:pt x="397" y="373"/>
                  </a:cubicBezTo>
                  <a:cubicBezTo>
                    <a:pt x="391" y="379"/>
                    <a:pt x="391" y="389"/>
                    <a:pt x="386" y="395"/>
                  </a:cubicBezTo>
                  <a:cubicBezTo>
                    <a:pt x="382" y="400"/>
                    <a:pt x="375" y="400"/>
                    <a:pt x="370" y="403"/>
                  </a:cubicBezTo>
                  <a:cubicBezTo>
                    <a:pt x="367" y="405"/>
                    <a:pt x="366" y="411"/>
                    <a:pt x="362" y="410"/>
                  </a:cubicBezTo>
                  <a:cubicBezTo>
                    <a:pt x="358" y="409"/>
                    <a:pt x="348" y="413"/>
                    <a:pt x="344" y="410"/>
                  </a:cubicBezTo>
                  <a:cubicBezTo>
                    <a:pt x="342" y="408"/>
                    <a:pt x="354" y="404"/>
                    <a:pt x="352" y="402"/>
                  </a:cubicBezTo>
                  <a:cubicBezTo>
                    <a:pt x="349" y="399"/>
                    <a:pt x="344" y="400"/>
                    <a:pt x="341" y="402"/>
                  </a:cubicBezTo>
                  <a:cubicBezTo>
                    <a:pt x="338" y="404"/>
                    <a:pt x="339" y="408"/>
                    <a:pt x="338" y="411"/>
                  </a:cubicBezTo>
                  <a:cubicBezTo>
                    <a:pt x="338" y="413"/>
                    <a:pt x="339" y="415"/>
                    <a:pt x="338" y="416"/>
                  </a:cubicBezTo>
                  <a:cubicBezTo>
                    <a:pt x="335" y="417"/>
                    <a:pt x="330" y="415"/>
                    <a:pt x="327" y="416"/>
                  </a:cubicBezTo>
                  <a:cubicBezTo>
                    <a:pt x="323" y="416"/>
                    <a:pt x="318" y="416"/>
                    <a:pt x="316" y="419"/>
                  </a:cubicBezTo>
                  <a:cubicBezTo>
                    <a:pt x="315" y="421"/>
                    <a:pt x="321" y="424"/>
                    <a:pt x="319" y="425"/>
                  </a:cubicBezTo>
                  <a:cubicBezTo>
                    <a:pt x="316" y="428"/>
                    <a:pt x="308" y="423"/>
                    <a:pt x="307" y="427"/>
                  </a:cubicBezTo>
                  <a:cubicBezTo>
                    <a:pt x="305" y="432"/>
                    <a:pt x="316" y="437"/>
                    <a:pt x="314" y="442"/>
                  </a:cubicBezTo>
                  <a:cubicBezTo>
                    <a:pt x="313" y="446"/>
                    <a:pt x="303" y="438"/>
                    <a:pt x="302" y="442"/>
                  </a:cubicBezTo>
                  <a:cubicBezTo>
                    <a:pt x="300" y="447"/>
                    <a:pt x="310" y="450"/>
                    <a:pt x="309" y="456"/>
                  </a:cubicBezTo>
                  <a:cubicBezTo>
                    <a:pt x="309" y="460"/>
                    <a:pt x="302" y="459"/>
                    <a:pt x="299" y="462"/>
                  </a:cubicBezTo>
                  <a:cubicBezTo>
                    <a:pt x="295" y="466"/>
                    <a:pt x="292" y="470"/>
                    <a:pt x="290" y="474"/>
                  </a:cubicBezTo>
                  <a:cubicBezTo>
                    <a:pt x="288" y="480"/>
                    <a:pt x="289" y="486"/>
                    <a:pt x="287" y="491"/>
                  </a:cubicBezTo>
                  <a:cubicBezTo>
                    <a:pt x="285" y="496"/>
                    <a:pt x="280" y="499"/>
                    <a:pt x="278" y="503"/>
                  </a:cubicBezTo>
                  <a:cubicBezTo>
                    <a:pt x="276" y="507"/>
                    <a:pt x="275" y="512"/>
                    <a:pt x="274" y="517"/>
                  </a:cubicBezTo>
                  <a:cubicBezTo>
                    <a:pt x="273" y="521"/>
                    <a:pt x="275" y="527"/>
                    <a:pt x="271" y="530"/>
                  </a:cubicBezTo>
                  <a:cubicBezTo>
                    <a:pt x="266" y="532"/>
                    <a:pt x="259" y="531"/>
                    <a:pt x="254" y="527"/>
                  </a:cubicBezTo>
                  <a:cubicBezTo>
                    <a:pt x="250" y="524"/>
                    <a:pt x="252" y="516"/>
                    <a:pt x="249" y="511"/>
                  </a:cubicBezTo>
                  <a:cubicBezTo>
                    <a:pt x="247" y="509"/>
                    <a:pt x="244" y="511"/>
                    <a:pt x="241" y="511"/>
                  </a:cubicBezTo>
                  <a:cubicBezTo>
                    <a:pt x="235" y="511"/>
                    <a:pt x="227" y="515"/>
                    <a:pt x="221" y="512"/>
                  </a:cubicBezTo>
                  <a:cubicBezTo>
                    <a:pt x="216" y="510"/>
                    <a:pt x="214" y="504"/>
                    <a:pt x="211" y="499"/>
                  </a:cubicBezTo>
                  <a:cubicBezTo>
                    <a:pt x="206" y="493"/>
                    <a:pt x="200" y="488"/>
                    <a:pt x="197" y="481"/>
                  </a:cubicBezTo>
                  <a:cubicBezTo>
                    <a:pt x="195" y="478"/>
                    <a:pt x="199" y="474"/>
                    <a:pt x="198" y="470"/>
                  </a:cubicBezTo>
                  <a:cubicBezTo>
                    <a:pt x="197" y="467"/>
                    <a:pt x="193" y="466"/>
                    <a:pt x="192" y="463"/>
                  </a:cubicBezTo>
                  <a:cubicBezTo>
                    <a:pt x="189" y="460"/>
                    <a:pt x="189" y="456"/>
                    <a:pt x="187" y="452"/>
                  </a:cubicBezTo>
                  <a:cubicBezTo>
                    <a:pt x="185" y="447"/>
                    <a:pt x="182" y="442"/>
                    <a:pt x="181" y="437"/>
                  </a:cubicBezTo>
                  <a:cubicBezTo>
                    <a:pt x="180" y="431"/>
                    <a:pt x="184" y="426"/>
                    <a:pt x="182" y="421"/>
                  </a:cubicBezTo>
                  <a:cubicBezTo>
                    <a:pt x="182" y="417"/>
                    <a:pt x="177" y="415"/>
                    <a:pt x="175" y="411"/>
                  </a:cubicBezTo>
                  <a:cubicBezTo>
                    <a:pt x="173" y="408"/>
                    <a:pt x="171" y="404"/>
                    <a:pt x="172" y="400"/>
                  </a:cubicBezTo>
                  <a:cubicBezTo>
                    <a:pt x="173" y="396"/>
                    <a:pt x="180" y="394"/>
                    <a:pt x="179" y="390"/>
                  </a:cubicBezTo>
                  <a:cubicBezTo>
                    <a:pt x="179" y="386"/>
                    <a:pt x="172" y="388"/>
                    <a:pt x="170" y="385"/>
                  </a:cubicBezTo>
                  <a:cubicBezTo>
                    <a:pt x="169" y="382"/>
                    <a:pt x="170" y="379"/>
                    <a:pt x="170" y="376"/>
                  </a:cubicBezTo>
                  <a:cubicBezTo>
                    <a:pt x="171" y="372"/>
                    <a:pt x="170" y="367"/>
                    <a:pt x="173" y="364"/>
                  </a:cubicBezTo>
                  <a:cubicBezTo>
                    <a:pt x="175" y="362"/>
                    <a:pt x="181" y="365"/>
                    <a:pt x="184" y="363"/>
                  </a:cubicBezTo>
                  <a:cubicBezTo>
                    <a:pt x="186" y="361"/>
                    <a:pt x="184" y="356"/>
                    <a:pt x="187" y="354"/>
                  </a:cubicBezTo>
                  <a:cubicBezTo>
                    <a:pt x="192" y="352"/>
                    <a:pt x="198" y="357"/>
                    <a:pt x="202" y="354"/>
                  </a:cubicBezTo>
                  <a:cubicBezTo>
                    <a:pt x="206" y="351"/>
                    <a:pt x="206" y="344"/>
                    <a:pt x="207" y="339"/>
                  </a:cubicBezTo>
                  <a:cubicBezTo>
                    <a:pt x="209" y="335"/>
                    <a:pt x="212" y="330"/>
                    <a:pt x="211" y="326"/>
                  </a:cubicBezTo>
                  <a:cubicBezTo>
                    <a:pt x="211" y="324"/>
                    <a:pt x="208" y="323"/>
                    <a:pt x="206" y="323"/>
                  </a:cubicBezTo>
                  <a:cubicBezTo>
                    <a:pt x="202" y="322"/>
                    <a:pt x="198" y="323"/>
                    <a:pt x="195" y="322"/>
                  </a:cubicBezTo>
                  <a:cubicBezTo>
                    <a:pt x="188" y="321"/>
                    <a:pt x="182" y="319"/>
                    <a:pt x="176" y="317"/>
                  </a:cubicBezTo>
                  <a:cubicBezTo>
                    <a:pt x="174" y="315"/>
                    <a:pt x="168" y="312"/>
                    <a:pt x="170" y="310"/>
                  </a:cubicBezTo>
                  <a:cubicBezTo>
                    <a:pt x="174" y="306"/>
                    <a:pt x="180" y="308"/>
                    <a:pt x="185" y="308"/>
                  </a:cubicBezTo>
                  <a:cubicBezTo>
                    <a:pt x="195" y="310"/>
                    <a:pt x="204" y="320"/>
                    <a:pt x="213" y="317"/>
                  </a:cubicBezTo>
                  <a:cubicBezTo>
                    <a:pt x="219" y="315"/>
                    <a:pt x="208" y="306"/>
                    <a:pt x="204" y="302"/>
                  </a:cubicBezTo>
                  <a:cubicBezTo>
                    <a:pt x="201" y="298"/>
                    <a:pt x="196" y="296"/>
                    <a:pt x="193" y="293"/>
                  </a:cubicBezTo>
                  <a:cubicBezTo>
                    <a:pt x="190" y="291"/>
                    <a:pt x="190" y="285"/>
                    <a:pt x="186" y="285"/>
                  </a:cubicBezTo>
                  <a:cubicBezTo>
                    <a:pt x="183" y="285"/>
                    <a:pt x="184" y="292"/>
                    <a:pt x="181" y="293"/>
                  </a:cubicBezTo>
                  <a:cubicBezTo>
                    <a:pt x="174" y="293"/>
                    <a:pt x="166" y="292"/>
                    <a:pt x="161" y="287"/>
                  </a:cubicBezTo>
                  <a:cubicBezTo>
                    <a:pt x="158" y="284"/>
                    <a:pt x="162" y="279"/>
                    <a:pt x="164" y="275"/>
                  </a:cubicBezTo>
                  <a:cubicBezTo>
                    <a:pt x="165" y="271"/>
                    <a:pt x="171" y="268"/>
                    <a:pt x="171" y="264"/>
                  </a:cubicBezTo>
                  <a:cubicBezTo>
                    <a:pt x="172" y="258"/>
                    <a:pt x="169" y="253"/>
                    <a:pt x="167" y="247"/>
                  </a:cubicBezTo>
                  <a:cubicBezTo>
                    <a:pt x="165" y="240"/>
                    <a:pt x="164" y="232"/>
                    <a:pt x="161" y="225"/>
                  </a:cubicBezTo>
                  <a:cubicBezTo>
                    <a:pt x="156" y="217"/>
                    <a:pt x="148" y="212"/>
                    <a:pt x="142" y="204"/>
                  </a:cubicBezTo>
                  <a:cubicBezTo>
                    <a:pt x="141" y="202"/>
                    <a:pt x="142" y="198"/>
                    <a:pt x="139" y="197"/>
                  </a:cubicBezTo>
                  <a:cubicBezTo>
                    <a:pt x="133" y="193"/>
                    <a:pt x="125" y="191"/>
                    <a:pt x="118" y="189"/>
                  </a:cubicBezTo>
                  <a:cubicBezTo>
                    <a:pt x="110" y="187"/>
                    <a:pt x="102" y="184"/>
                    <a:pt x="93" y="183"/>
                  </a:cubicBezTo>
                  <a:cubicBezTo>
                    <a:pt x="86" y="182"/>
                    <a:pt x="79" y="183"/>
                    <a:pt x="71" y="184"/>
                  </a:cubicBezTo>
                  <a:cubicBezTo>
                    <a:pt x="67" y="184"/>
                    <a:pt x="61" y="183"/>
                    <a:pt x="57" y="185"/>
                  </a:cubicBezTo>
                  <a:cubicBezTo>
                    <a:pt x="55" y="186"/>
                    <a:pt x="58" y="191"/>
                    <a:pt x="56" y="191"/>
                  </a:cubicBezTo>
                  <a:cubicBezTo>
                    <a:pt x="49" y="193"/>
                    <a:pt x="41" y="192"/>
                    <a:pt x="34" y="189"/>
                  </a:cubicBezTo>
                  <a:cubicBezTo>
                    <a:pt x="31" y="188"/>
                    <a:pt x="28" y="184"/>
                    <a:pt x="29" y="182"/>
                  </a:cubicBezTo>
                  <a:cubicBezTo>
                    <a:pt x="32" y="178"/>
                    <a:pt x="43" y="181"/>
                    <a:pt x="42" y="176"/>
                  </a:cubicBezTo>
                  <a:cubicBezTo>
                    <a:pt x="41" y="171"/>
                    <a:pt x="32" y="175"/>
                    <a:pt x="28" y="173"/>
                  </a:cubicBezTo>
                  <a:cubicBezTo>
                    <a:pt x="26" y="172"/>
                    <a:pt x="27" y="168"/>
                    <a:pt x="25" y="168"/>
                  </a:cubicBezTo>
                  <a:cubicBezTo>
                    <a:pt x="22" y="168"/>
                    <a:pt x="20" y="175"/>
                    <a:pt x="17" y="174"/>
                  </a:cubicBezTo>
                  <a:cubicBezTo>
                    <a:pt x="14" y="173"/>
                    <a:pt x="11" y="168"/>
                    <a:pt x="13" y="166"/>
                  </a:cubicBezTo>
                  <a:cubicBezTo>
                    <a:pt x="17" y="162"/>
                    <a:pt x="23" y="162"/>
                    <a:pt x="28" y="162"/>
                  </a:cubicBezTo>
                  <a:cubicBezTo>
                    <a:pt x="34" y="161"/>
                    <a:pt x="40" y="163"/>
                    <a:pt x="47" y="163"/>
                  </a:cubicBezTo>
                  <a:cubicBezTo>
                    <a:pt x="54" y="164"/>
                    <a:pt x="62" y="167"/>
                    <a:pt x="68" y="163"/>
                  </a:cubicBezTo>
                  <a:cubicBezTo>
                    <a:pt x="71" y="162"/>
                    <a:pt x="63" y="158"/>
                    <a:pt x="64" y="155"/>
                  </a:cubicBezTo>
                  <a:cubicBezTo>
                    <a:pt x="65" y="151"/>
                    <a:pt x="77" y="149"/>
                    <a:pt x="74" y="148"/>
                  </a:cubicBezTo>
                  <a:cubicBezTo>
                    <a:pt x="68" y="145"/>
                    <a:pt x="61" y="150"/>
                    <a:pt x="54" y="151"/>
                  </a:cubicBezTo>
                  <a:cubicBezTo>
                    <a:pt x="49" y="151"/>
                    <a:pt x="43" y="152"/>
                    <a:pt x="37" y="151"/>
                  </a:cubicBezTo>
                  <a:cubicBezTo>
                    <a:pt x="31" y="151"/>
                    <a:pt x="24" y="150"/>
                    <a:pt x="18" y="148"/>
                  </a:cubicBezTo>
                  <a:cubicBezTo>
                    <a:pt x="12" y="147"/>
                    <a:pt x="6" y="145"/>
                    <a:pt x="2" y="140"/>
                  </a:cubicBezTo>
                  <a:cubicBezTo>
                    <a:pt x="0" y="138"/>
                    <a:pt x="0" y="132"/>
                    <a:pt x="3" y="131"/>
                  </a:cubicBezTo>
                  <a:cubicBezTo>
                    <a:pt x="11" y="126"/>
                    <a:pt x="22" y="125"/>
                    <a:pt x="31" y="123"/>
                  </a:cubicBezTo>
                  <a:cubicBezTo>
                    <a:pt x="36" y="121"/>
                    <a:pt x="41" y="119"/>
                    <a:pt x="47" y="118"/>
                  </a:cubicBezTo>
                  <a:cubicBezTo>
                    <a:pt x="56" y="117"/>
                    <a:pt x="66" y="119"/>
                    <a:pt x="75" y="116"/>
                  </a:cubicBezTo>
                  <a:cubicBezTo>
                    <a:pt x="81" y="114"/>
                    <a:pt x="86" y="110"/>
                    <a:pt x="90" y="105"/>
                  </a:cubicBezTo>
                  <a:cubicBezTo>
                    <a:pt x="92" y="103"/>
                    <a:pt x="89" y="100"/>
                    <a:pt x="90" y="98"/>
                  </a:cubicBezTo>
                  <a:cubicBezTo>
                    <a:pt x="93" y="94"/>
                    <a:pt x="104" y="92"/>
                    <a:pt x="102" y="88"/>
                  </a:cubicBezTo>
                  <a:cubicBezTo>
                    <a:pt x="99" y="83"/>
                    <a:pt x="92" y="90"/>
                    <a:pt x="87" y="91"/>
                  </a:cubicBezTo>
                  <a:cubicBezTo>
                    <a:pt x="83" y="91"/>
                    <a:pt x="80" y="91"/>
                    <a:pt x="77" y="91"/>
                  </a:cubicBezTo>
                  <a:cubicBezTo>
                    <a:pt x="74" y="91"/>
                    <a:pt x="66" y="91"/>
                    <a:pt x="68" y="89"/>
                  </a:cubicBezTo>
                  <a:cubicBezTo>
                    <a:pt x="73" y="82"/>
                    <a:pt x="82" y="80"/>
                    <a:pt x="89" y="77"/>
                  </a:cubicBezTo>
                  <a:cubicBezTo>
                    <a:pt x="96" y="73"/>
                    <a:pt x="102" y="68"/>
                    <a:pt x="110" y="66"/>
                  </a:cubicBezTo>
                  <a:cubicBezTo>
                    <a:pt x="115" y="64"/>
                    <a:pt x="122" y="68"/>
                    <a:pt x="127" y="65"/>
                  </a:cubicBezTo>
                  <a:cubicBezTo>
                    <a:pt x="134" y="62"/>
                    <a:pt x="138" y="54"/>
                    <a:pt x="145" y="50"/>
                  </a:cubicBezTo>
                  <a:cubicBezTo>
                    <a:pt x="153" y="46"/>
                    <a:pt x="163" y="44"/>
                    <a:pt x="172" y="41"/>
                  </a:cubicBezTo>
                  <a:cubicBezTo>
                    <a:pt x="181" y="39"/>
                    <a:pt x="189" y="36"/>
                    <a:pt x="198" y="35"/>
                  </a:cubicBezTo>
                  <a:cubicBezTo>
                    <a:pt x="203" y="34"/>
                    <a:pt x="209" y="32"/>
                    <a:pt x="212" y="36"/>
                  </a:cubicBezTo>
                  <a:cubicBezTo>
                    <a:pt x="215" y="40"/>
                    <a:pt x="208" y="48"/>
                    <a:pt x="213" y="51"/>
                  </a:cubicBezTo>
                  <a:cubicBezTo>
                    <a:pt x="216" y="53"/>
                    <a:pt x="217" y="42"/>
                    <a:pt x="221" y="42"/>
                  </a:cubicBezTo>
                  <a:cubicBezTo>
                    <a:pt x="229" y="42"/>
                    <a:pt x="234" y="50"/>
                    <a:pt x="241" y="52"/>
                  </a:cubicBezTo>
                  <a:cubicBezTo>
                    <a:pt x="243" y="52"/>
                    <a:pt x="238" y="47"/>
                    <a:pt x="240" y="46"/>
                  </a:cubicBezTo>
                  <a:cubicBezTo>
                    <a:pt x="243" y="44"/>
                    <a:pt x="250" y="50"/>
                    <a:pt x="250" y="46"/>
                  </a:cubicBezTo>
                  <a:cubicBezTo>
                    <a:pt x="250" y="40"/>
                    <a:pt x="238" y="38"/>
                    <a:pt x="240" y="32"/>
                  </a:cubicBezTo>
                  <a:cubicBezTo>
                    <a:pt x="241" y="27"/>
                    <a:pt x="250" y="32"/>
                    <a:pt x="255" y="33"/>
                  </a:cubicBezTo>
                  <a:cubicBezTo>
                    <a:pt x="264" y="35"/>
                    <a:pt x="274" y="36"/>
                    <a:pt x="282" y="40"/>
                  </a:cubicBezTo>
                  <a:cubicBezTo>
                    <a:pt x="286" y="42"/>
                    <a:pt x="287" y="48"/>
                    <a:pt x="291" y="49"/>
                  </a:cubicBezTo>
                  <a:cubicBezTo>
                    <a:pt x="294" y="51"/>
                    <a:pt x="299" y="53"/>
                    <a:pt x="302" y="51"/>
                  </a:cubicBezTo>
                  <a:cubicBezTo>
                    <a:pt x="304" y="50"/>
                    <a:pt x="300" y="45"/>
                    <a:pt x="300" y="43"/>
                  </a:cubicBezTo>
                  <a:cubicBezTo>
                    <a:pt x="301" y="40"/>
                    <a:pt x="301" y="37"/>
                    <a:pt x="303" y="37"/>
                  </a:cubicBezTo>
                  <a:cubicBezTo>
                    <a:pt x="306" y="35"/>
                    <a:pt x="319" y="40"/>
                    <a:pt x="317" y="37"/>
                  </a:cubicBezTo>
                  <a:cubicBezTo>
                    <a:pt x="312" y="32"/>
                    <a:pt x="292" y="32"/>
                    <a:pt x="296" y="27"/>
                  </a:cubicBezTo>
                  <a:cubicBezTo>
                    <a:pt x="303" y="26"/>
                    <a:pt x="314" y="27"/>
                    <a:pt x="323" y="27"/>
                  </a:cubicBezTo>
                  <a:cubicBezTo>
                    <a:pt x="328" y="26"/>
                    <a:pt x="344" y="26"/>
                    <a:pt x="339" y="25"/>
                  </a:cubicBezTo>
                  <a:cubicBezTo>
                    <a:pt x="330" y="23"/>
                    <a:pt x="320" y="26"/>
                    <a:pt x="312" y="24"/>
                  </a:cubicBezTo>
                  <a:cubicBezTo>
                    <a:pt x="306" y="22"/>
                    <a:pt x="291" y="20"/>
                    <a:pt x="293" y="14"/>
                  </a:cubicBezTo>
                  <a:cubicBezTo>
                    <a:pt x="301" y="12"/>
                    <a:pt x="313" y="17"/>
                    <a:pt x="319" y="11"/>
                  </a:cubicBezTo>
                  <a:cubicBezTo>
                    <a:pt x="327" y="11"/>
                    <a:pt x="331" y="16"/>
                    <a:pt x="339" y="17"/>
                  </a:cubicBezTo>
                  <a:cubicBezTo>
                    <a:pt x="345" y="18"/>
                    <a:pt x="351" y="18"/>
                    <a:pt x="358" y="18"/>
                  </a:cubicBezTo>
                  <a:cubicBezTo>
                    <a:pt x="362" y="17"/>
                    <a:pt x="369" y="18"/>
                    <a:pt x="370" y="14"/>
                  </a:cubicBezTo>
                  <a:cubicBezTo>
                    <a:pt x="372" y="11"/>
                    <a:pt x="359" y="15"/>
                    <a:pt x="361" y="12"/>
                  </a:cubicBezTo>
                  <a:cubicBezTo>
                    <a:pt x="364" y="7"/>
                    <a:pt x="368" y="6"/>
                    <a:pt x="373" y="6"/>
                  </a:cubicBezTo>
                  <a:cubicBezTo>
                    <a:pt x="376" y="5"/>
                    <a:pt x="380" y="9"/>
                    <a:pt x="382" y="9"/>
                  </a:cubicBezTo>
                  <a:cubicBezTo>
                    <a:pt x="385" y="8"/>
                    <a:pt x="378" y="4"/>
                    <a:pt x="381" y="3"/>
                  </a:cubicBezTo>
                  <a:cubicBezTo>
                    <a:pt x="388" y="1"/>
                    <a:pt x="403" y="2"/>
                    <a:pt x="410" y="2"/>
                  </a:cubicBezTo>
                  <a:cubicBezTo>
                    <a:pt x="416" y="2"/>
                    <a:pt x="422" y="2"/>
                    <a:pt x="429" y="2"/>
                  </a:cubicBezTo>
                  <a:cubicBezTo>
                    <a:pt x="440" y="2"/>
                    <a:pt x="451" y="0"/>
                    <a:pt x="463" y="1"/>
                  </a:cubicBezTo>
                  <a:cubicBezTo>
                    <a:pt x="473" y="2"/>
                    <a:pt x="483" y="3"/>
                    <a:pt x="493" y="6"/>
                  </a:cubicBezTo>
                  <a:cubicBezTo>
                    <a:pt x="497" y="7"/>
                    <a:pt x="507" y="11"/>
                    <a:pt x="507" y="15"/>
                  </a:cubicBezTo>
                  <a:cubicBezTo>
                    <a:pt x="503" y="19"/>
                    <a:pt x="496" y="18"/>
                    <a:pt x="492" y="19"/>
                  </a:cubicBezTo>
                  <a:cubicBezTo>
                    <a:pt x="485" y="21"/>
                    <a:pt x="477" y="19"/>
                    <a:pt x="470" y="19"/>
                  </a:cubicBezTo>
                  <a:cubicBezTo>
                    <a:pt x="461" y="19"/>
                    <a:pt x="453" y="19"/>
                    <a:pt x="444" y="19"/>
                  </a:cubicBezTo>
                  <a:cubicBezTo>
                    <a:pt x="441" y="19"/>
                    <a:pt x="432" y="20"/>
                    <a:pt x="435" y="21"/>
                  </a:cubicBezTo>
                  <a:cubicBezTo>
                    <a:pt x="444" y="22"/>
                    <a:pt x="453" y="22"/>
                    <a:pt x="462" y="22"/>
                  </a:cubicBezTo>
                  <a:cubicBezTo>
                    <a:pt x="475" y="23"/>
                    <a:pt x="488" y="24"/>
                    <a:pt x="500" y="24"/>
                  </a:cubicBezTo>
                  <a:cubicBezTo>
                    <a:pt x="506" y="24"/>
                    <a:pt x="511" y="20"/>
                    <a:pt x="517" y="20"/>
                  </a:cubicBezTo>
                  <a:cubicBezTo>
                    <a:pt x="523" y="20"/>
                    <a:pt x="529" y="20"/>
                    <a:pt x="534" y="20"/>
                  </a:cubicBezTo>
                  <a:cubicBezTo>
                    <a:pt x="538" y="21"/>
                    <a:pt x="544" y="21"/>
                    <a:pt x="546" y="25"/>
                  </a:cubicBezTo>
                  <a:cubicBezTo>
                    <a:pt x="545" y="31"/>
                    <a:pt x="537" y="32"/>
                    <a:pt x="531" y="34"/>
                  </a:cubicBezTo>
                  <a:cubicBezTo>
                    <a:pt x="524" y="36"/>
                    <a:pt x="517" y="35"/>
                    <a:pt x="509" y="36"/>
                  </a:cubicBezTo>
                  <a:cubicBezTo>
                    <a:pt x="502" y="37"/>
                    <a:pt x="495" y="39"/>
                    <a:pt x="488" y="40"/>
                  </a:cubicBezTo>
                  <a:cubicBezTo>
                    <a:pt x="475" y="40"/>
                    <a:pt x="463" y="38"/>
                    <a:pt x="450" y="40"/>
                  </a:cubicBezTo>
                  <a:cubicBezTo>
                    <a:pt x="441" y="40"/>
                    <a:pt x="431" y="43"/>
                    <a:pt x="423" y="46"/>
                  </a:cubicBezTo>
                  <a:cubicBezTo>
                    <a:pt x="420" y="46"/>
                    <a:pt x="416" y="50"/>
                    <a:pt x="418" y="51"/>
                  </a:cubicBezTo>
                  <a:cubicBezTo>
                    <a:pt x="431" y="54"/>
                    <a:pt x="444" y="53"/>
                    <a:pt x="457" y="53"/>
                  </a:cubicBezTo>
                  <a:cubicBezTo>
                    <a:pt x="469" y="54"/>
                    <a:pt x="482" y="55"/>
                    <a:pt x="494" y="55"/>
                  </a:cubicBezTo>
                  <a:cubicBezTo>
                    <a:pt x="501" y="54"/>
                    <a:pt x="507" y="53"/>
                    <a:pt x="513" y="50"/>
                  </a:cubicBezTo>
                  <a:cubicBezTo>
                    <a:pt x="516" y="49"/>
                    <a:pt x="516" y="45"/>
                    <a:pt x="518" y="43"/>
                  </a:cubicBezTo>
                  <a:cubicBezTo>
                    <a:pt x="523" y="41"/>
                    <a:pt x="529" y="39"/>
                    <a:pt x="534" y="41"/>
                  </a:cubicBezTo>
                  <a:cubicBezTo>
                    <a:pt x="537" y="43"/>
                    <a:pt x="540" y="48"/>
                    <a:pt x="539" y="52"/>
                  </a:cubicBezTo>
                  <a:cubicBezTo>
                    <a:pt x="537" y="57"/>
                    <a:pt x="530" y="60"/>
                    <a:pt x="525" y="64"/>
                  </a:cubicBezTo>
                  <a:cubicBezTo>
                    <a:pt x="519" y="79"/>
                    <a:pt x="507" y="80"/>
                    <a:pt x="500" y="89"/>
                  </a:cubicBezTo>
                  <a:cubicBezTo>
                    <a:pt x="507" y="90"/>
                    <a:pt x="519" y="77"/>
                    <a:pt x="528" y="71"/>
                  </a:cubicBezTo>
                  <a:cubicBezTo>
                    <a:pt x="537" y="66"/>
                    <a:pt x="544" y="62"/>
                    <a:pt x="552" y="56"/>
                  </a:cubicBezTo>
                  <a:cubicBezTo>
                    <a:pt x="555" y="54"/>
                    <a:pt x="556" y="49"/>
                    <a:pt x="559" y="50"/>
                  </a:cubicBezTo>
                  <a:cubicBezTo>
                    <a:pt x="563" y="50"/>
                    <a:pt x="557" y="57"/>
                    <a:pt x="560" y="58"/>
                  </a:cubicBezTo>
                  <a:cubicBezTo>
                    <a:pt x="564" y="60"/>
                    <a:pt x="567" y="54"/>
                    <a:pt x="571" y="54"/>
                  </a:cubicBezTo>
                  <a:cubicBezTo>
                    <a:pt x="574" y="54"/>
                    <a:pt x="581" y="57"/>
                    <a:pt x="584" y="55"/>
                  </a:cubicBezTo>
                  <a:cubicBezTo>
                    <a:pt x="591" y="54"/>
                    <a:pt x="595" y="47"/>
                    <a:pt x="602" y="46"/>
                  </a:cubicBezTo>
                  <a:cubicBezTo>
                    <a:pt x="609" y="44"/>
                    <a:pt x="617" y="46"/>
                    <a:pt x="624" y="47"/>
                  </a:cubicBezTo>
                  <a:cubicBezTo>
                    <a:pt x="631" y="48"/>
                    <a:pt x="635" y="50"/>
                    <a:pt x="645" y="5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6" name="Freeform 1107"/>
            <p:cNvSpPr>
              <a:spLocks noChangeAspect="1"/>
            </p:cNvSpPr>
            <p:nvPr/>
          </p:nvSpPr>
          <p:spPr bwMode="auto">
            <a:xfrm>
              <a:off x="3376613" y="1973263"/>
              <a:ext cx="66675" cy="47625"/>
            </a:xfrm>
            <a:custGeom>
              <a:avLst/>
              <a:gdLst>
                <a:gd name="T0" fmla="*/ 11430 w 35"/>
                <a:gd name="T1" fmla="*/ 0 h 25"/>
                <a:gd name="T2" fmla="*/ 36195 w 35"/>
                <a:gd name="T3" fmla="*/ 5715 h 25"/>
                <a:gd name="T4" fmla="*/ 53340 w 35"/>
                <a:gd name="T5" fmla="*/ 17145 h 25"/>
                <a:gd name="T6" fmla="*/ 64770 w 35"/>
                <a:gd name="T7" fmla="*/ 22860 h 25"/>
                <a:gd name="T8" fmla="*/ 57150 w 35"/>
                <a:gd name="T9" fmla="*/ 40005 h 25"/>
                <a:gd name="T10" fmla="*/ 28575 w 35"/>
                <a:gd name="T11" fmla="*/ 45720 h 25"/>
                <a:gd name="T12" fmla="*/ 15240 w 35"/>
                <a:gd name="T13" fmla="*/ 41910 h 25"/>
                <a:gd name="T14" fmla="*/ 28575 w 35"/>
                <a:gd name="T15" fmla="*/ 34290 h 25"/>
                <a:gd name="T16" fmla="*/ 3810 w 35"/>
                <a:gd name="T17" fmla="*/ 30480 h 25"/>
                <a:gd name="T18" fmla="*/ 5715 w 35"/>
                <a:gd name="T19" fmla="*/ 22860 h 25"/>
                <a:gd name="T20" fmla="*/ 5715 w 35"/>
                <a:gd name="T21" fmla="*/ 15240 h 25"/>
                <a:gd name="T22" fmla="*/ 13335 w 35"/>
                <a:gd name="T23" fmla="*/ 15240 h 25"/>
                <a:gd name="T24" fmla="*/ 5715 w 35"/>
                <a:gd name="T25" fmla="*/ 7620 h 25"/>
                <a:gd name="T26" fmla="*/ 11430 w 35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5"/>
                <a:gd name="T43" fmla="*/ 0 h 25"/>
                <a:gd name="T44" fmla="*/ 35 w 35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5" h="25">
                  <a:moveTo>
                    <a:pt x="6" y="0"/>
                  </a:moveTo>
                  <a:cubicBezTo>
                    <a:pt x="11" y="0"/>
                    <a:pt x="15" y="1"/>
                    <a:pt x="19" y="3"/>
                  </a:cubicBezTo>
                  <a:cubicBezTo>
                    <a:pt x="22" y="4"/>
                    <a:pt x="24" y="7"/>
                    <a:pt x="28" y="9"/>
                  </a:cubicBezTo>
                  <a:cubicBezTo>
                    <a:pt x="30" y="11"/>
                    <a:pt x="34" y="10"/>
                    <a:pt x="34" y="12"/>
                  </a:cubicBezTo>
                  <a:cubicBezTo>
                    <a:pt x="35" y="15"/>
                    <a:pt x="33" y="19"/>
                    <a:pt x="30" y="21"/>
                  </a:cubicBezTo>
                  <a:cubicBezTo>
                    <a:pt x="26" y="24"/>
                    <a:pt x="20" y="24"/>
                    <a:pt x="15" y="24"/>
                  </a:cubicBezTo>
                  <a:cubicBezTo>
                    <a:pt x="13" y="25"/>
                    <a:pt x="8" y="25"/>
                    <a:pt x="8" y="22"/>
                  </a:cubicBezTo>
                  <a:cubicBezTo>
                    <a:pt x="8" y="20"/>
                    <a:pt x="17" y="20"/>
                    <a:pt x="15" y="18"/>
                  </a:cubicBezTo>
                  <a:cubicBezTo>
                    <a:pt x="12" y="15"/>
                    <a:pt x="6" y="18"/>
                    <a:pt x="2" y="16"/>
                  </a:cubicBezTo>
                  <a:cubicBezTo>
                    <a:pt x="0" y="15"/>
                    <a:pt x="3" y="13"/>
                    <a:pt x="3" y="12"/>
                  </a:cubicBezTo>
                  <a:cubicBezTo>
                    <a:pt x="3" y="10"/>
                    <a:pt x="3" y="9"/>
                    <a:pt x="3" y="8"/>
                  </a:cubicBezTo>
                  <a:cubicBezTo>
                    <a:pt x="4" y="7"/>
                    <a:pt x="7" y="9"/>
                    <a:pt x="7" y="8"/>
                  </a:cubicBezTo>
                  <a:cubicBezTo>
                    <a:pt x="7" y="6"/>
                    <a:pt x="3" y="6"/>
                    <a:pt x="3" y="4"/>
                  </a:cubicBezTo>
                  <a:cubicBezTo>
                    <a:pt x="3" y="2"/>
                    <a:pt x="5" y="0"/>
                    <a:pt x="6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7" name="Freeform 1108"/>
            <p:cNvSpPr>
              <a:spLocks noChangeAspect="1"/>
            </p:cNvSpPr>
            <p:nvPr/>
          </p:nvSpPr>
          <p:spPr bwMode="auto">
            <a:xfrm>
              <a:off x="3136900" y="1665288"/>
              <a:ext cx="55563" cy="14287"/>
            </a:xfrm>
            <a:custGeom>
              <a:avLst/>
              <a:gdLst>
                <a:gd name="T0" fmla="*/ 9580 w 29"/>
                <a:gd name="T1" fmla="*/ 2041 h 7"/>
                <a:gd name="T2" fmla="*/ 1916 w 29"/>
                <a:gd name="T3" fmla="*/ 6123 h 7"/>
                <a:gd name="T4" fmla="*/ 19160 w 29"/>
                <a:gd name="T5" fmla="*/ 10205 h 7"/>
                <a:gd name="T6" fmla="*/ 40235 w 29"/>
                <a:gd name="T7" fmla="*/ 12246 h 7"/>
                <a:gd name="T8" fmla="*/ 55563 w 29"/>
                <a:gd name="T9" fmla="*/ 14287 h 7"/>
                <a:gd name="T10" fmla="*/ 55563 w 29"/>
                <a:gd name="T11" fmla="*/ 10205 h 7"/>
                <a:gd name="T12" fmla="*/ 38319 w 29"/>
                <a:gd name="T13" fmla="*/ 2041 h 7"/>
                <a:gd name="T14" fmla="*/ 21076 w 29"/>
                <a:gd name="T15" fmla="*/ 4082 h 7"/>
                <a:gd name="T16" fmla="*/ 9580 w 29"/>
                <a:gd name="T17" fmla="*/ 2041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"/>
                <a:gd name="T28" fmla="*/ 0 h 7"/>
                <a:gd name="T29" fmla="*/ 29 w 29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" h="7">
                  <a:moveTo>
                    <a:pt x="5" y="1"/>
                  </a:moveTo>
                  <a:cubicBezTo>
                    <a:pt x="4" y="2"/>
                    <a:pt x="0" y="2"/>
                    <a:pt x="1" y="3"/>
                  </a:cubicBezTo>
                  <a:cubicBezTo>
                    <a:pt x="4" y="5"/>
                    <a:pt x="7" y="4"/>
                    <a:pt x="10" y="5"/>
                  </a:cubicBezTo>
                  <a:cubicBezTo>
                    <a:pt x="14" y="5"/>
                    <a:pt x="17" y="6"/>
                    <a:pt x="21" y="6"/>
                  </a:cubicBezTo>
                  <a:cubicBezTo>
                    <a:pt x="24" y="6"/>
                    <a:pt x="26" y="7"/>
                    <a:pt x="29" y="7"/>
                  </a:cubicBezTo>
                  <a:cubicBezTo>
                    <a:pt x="29" y="6"/>
                    <a:pt x="29" y="5"/>
                    <a:pt x="29" y="5"/>
                  </a:cubicBezTo>
                  <a:cubicBezTo>
                    <a:pt x="26" y="3"/>
                    <a:pt x="23" y="1"/>
                    <a:pt x="20" y="1"/>
                  </a:cubicBezTo>
                  <a:cubicBezTo>
                    <a:pt x="17" y="0"/>
                    <a:pt x="14" y="2"/>
                    <a:pt x="11" y="2"/>
                  </a:cubicBezTo>
                  <a:cubicBezTo>
                    <a:pt x="9" y="2"/>
                    <a:pt x="7" y="1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8" name="Freeform 1109"/>
            <p:cNvSpPr>
              <a:spLocks noChangeAspect="1"/>
            </p:cNvSpPr>
            <p:nvPr/>
          </p:nvSpPr>
          <p:spPr bwMode="auto">
            <a:xfrm>
              <a:off x="3089275" y="1663700"/>
              <a:ext cx="26988" cy="7938"/>
            </a:xfrm>
            <a:custGeom>
              <a:avLst/>
              <a:gdLst>
                <a:gd name="T0" fmla="*/ 13494 w 14"/>
                <a:gd name="T1" fmla="*/ 1985 h 4"/>
                <a:gd name="T2" fmla="*/ 25060 w 14"/>
                <a:gd name="T3" fmla="*/ 3969 h 4"/>
                <a:gd name="T4" fmla="*/ 25060 w 14"/>
                <a:gd name="T5" fmla="*/ 7938 h 4"/>
                <a:gd name="T6" fmla="*/ 7711 w 14"/>
                <a:gd name="T7" fmla="*/ 7938 h 4"/>
                <a:gd name="T8" fmla="*/ 1928 w 14"/>
                <a:gd name="T9" fmla="*/ 3969 h 4"/>
                <a:gd name="T10" fmla="*/ 13494 w 14"/>
                <a:gd name="T11" fmla="*/ 1985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4"/>
                <a:gd name="T20" fmla="*/ 14 w 14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4">
                  <a:moveTo>
                    <a:pt x="7" y="1"/>
                  </a:moveTo>
                  <a:cubicBezTo>
                    <a:pt x="9" y="1"/>
                    <a:pt x="11" y="1"/>
                    <a:pt x="13" y="2"/>
                  </a:cubicBezTo>
                  <a:cubicBezTo>
                    <a:pt x="14" y="2"/>
                    <a:pt x="14" y="4"/>
                    <a:pt x="13" y="4"/>
                  </a:cubicBezTo>
                  <a:cubicBezTo>
                    <a:pt x="10" y="4"/>
                    <a:pt x="7" y="4"/>
                    <a:pt x="4" y="4"/>
                  </a:cubicBezTo>
                  <a:cubicBezTo>
                    <a:pt x="3" y="4"/>
                    <a:pt x="0" y="2"/>
                    <a:pt x="1" y="2"/>
                  </a:cubicBezTo>
                  <a:cubicBezTo>
                    <a:pt x="2" y="0"/>
                    <a:pt x="5" y="1"/>
                    <a:pt x="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09" name="Freeform 1110"/>
            <p:cNvSpPr>
              <a:spLocks noChangeAspect="1"/>
            </p:cNvSpPr>
            <p:nvPr/>
          </p:nvSpPr>
          <p:spPr bwMode="auto">
            <a:xfrm>
              <a:off x="3062288" y="1670050"/>
              <a:ext cx="25400" cy="7938"/>
            </a:xfrm>
            <a:custGeom>
              <a:avLst/>
              <a:gdLst>
                <a:gd name="T0" fmla="*/ 5862 w 13"/>
                <a:gd name="T1" fmla="*/ 0 h 4"/>
                <a:gd name="T2" fmla="*/ 19538 w 13"/>
                <a:gd name="T3" fmla="*/ 1985 h 4"/>
                <a:gd name="T4" fmla="*/ 25400 w 13"/>
                <a:gd name="T5" fmla="*/ 3969 h 4"/>
                <a:gd name="T6" fmla="*/ 19538 w 13"/>
                <a:gd name="T7" fmla="*/ 7938 h 4"/>
                <a:gd name="T8" fmla="*/ 7815 w 13"/>
                <a:gd name="T9" fmla="*/ 3969 h 4"/>
                <a:gd name="T10" fmla="*/ 0 w 13"/>
                <a:gd name="T11" fmla="*/ 1985 h 4"/>
                <a:gd name="T12" fmla="*/ 5862 w 13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3" y="0"/>
                  </a:moveTo>
                  <a:cubicBezTo>
                    <a:pt x="5" y="0"/>
                    <a:pt x="8" y="0"/>
                    <a:pt x="10" y="1"/>
                  </a:cubicBezTo>
                  <a:cubicBezTo>
                    <a:pt x="11" y="1"/>
                    <a:pt x="13" y="1"/>
                    <a:pt x="13" y="2"/>
                  </a:cubicBezTo>
                  <a:cubicBezTo>
                    <a:pt x="13" y="3"/>
                    <a:pt x="11" y="4"/>
                    <a:pt x="10" y="4"/>
                  </a:cubicBezTo>
                  <a:cubicBezTo>
                    <a:pt x="8" y="4"/>
                    <a:pt x="6" y="3"/>
                    <a:pt x="4" y="2"/>
                  </a:cubicBezTo>
                  <a:cubicBezTo>
                    <a:pt x="3" y="2"/>
                    <a:pt x="1" y="2"/>
                    <a:pt x="0" y="1"/>
                  </a:cubicBezTo>
                  <a:cubicBezTo>
                    <a:pt x="0" y="0"/>
                    <a:pt x="2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0" name="Freeform 1111"/>
            <p:cNvSpPr>
              <a:spLocks noChangeAspect="1"/>
            </p:cNvSpPr>
            <p:nvPr/>
          </p:nvSpPr>
          <p:spPr bwMode="auto">
            <a:xfrm>
              <a:off x="3479800" y="1430338"/>
              <a:ext cx="34925" cy="22225"/>
            </a:xfrm>
            <a:custGeom>
              <a:avLst/>
              <a:gdLst>
                <a:gd name="T0" fmla="*/ 1940 w 18"/>
                <a:gd name="T1" fmla="*/ 0 h 12"/>
                <a:gd name="T2" fmla="*/ 1940 w 18"/>
                <a:gd name="T3" fmla="*/ 9260 h 12"/>
                <a:gd name="T4" fmla="*/ 25224 w 18"/>
                <a:gd name="T5" fmla="*/ 18521 h 12"/>
                <a:gd name="T6" fmla="*/ 34925 w 18"/>
                <a:gd name="T7" fmla="*/ 18521 h 12"/>
                <a:gd name="T8" fmla="*/ 27164 w 18"/>
                <a:gd name="T9" fmla="*/ 12965 h 12"/>
                <a:gd name="T10" fmla="*/ 13582 w 18"/>
                <a:gd name="T11" fmla="*/ 7408 h 12"/>
                <a:gd name="T12" fmla="*/ 1940 w 18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12"/>
                <a:gd name="T23" fmla="*/ 18 w 18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12">
                  <a:moveTo>
                    <a:pt x="1" y="0"/>
                  </a:moveTo>
                  <a:cubicBezTo>
                    <a:pt x="0" y="1"/>
                    <a:pt x="0" y="4"/>
                    <a:pt x="1" y="5"/>
                  </a:cubicBezTo>
                  <a:cubicBezTo>
                    <a:pt x="5" y="8"/>
                    <a:pt x="9" y="9"/>
                    <a:pt x="13" y="10"/>
                  </a:cubicBezTo>
                  <a:cubicBezTo>
                    <a:pt x="14" y="11"/>
                    <a:pt x="17" y="12"/>
                    <a:pt x="18" y="10"/>
                  </a:cubicBezTo>
                  <a:cubicBezTo>
                    <a:pt x="18" y="9"/>
                    <a:pt x="16" y="8"/>
                    <a:pt x="14" y="7"/>
                  </a:cubicBezTo>
                  <a:cubicBezTo>
                    <a:pt x="12" y="6"/>
                    <a:pt x="10" y="5"/>
                    <a:pt x="7" y="4"/>
                  </a:cubicBezTo>
                  <a:cubicBezTo>
                    <a:pt x="5" y="3"/>
                    <a:pt x="4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1" name="Freeform 1112"/>
            <p:cNvSpPr>
              <a:spLocks noChangeAspect="1"/>
            </p:cNvSpPr>
            <p:nvPr/>
          </p:nvSpPr>
          <p:spPr bwMode="auto">
            <a:xfrm>
              <a:off x="3586163" y="1423988"/>
              <a:ext cx="55562" cy="26987"/>
            </a:xfrm>
            <a:custGeom>
              <a:avLst/>
              <a:gdLst>
                <a:gd name="T0" fmla="*/ 3832 w 29"/>
                <a:gd name="T1" fmla="*/ 0 h 14"/>
                <a:gd name="T2" fmla="*/ 15327 w 29"/>
                <a:gd name="T3" fmla="*/ 0 h 14"/>
                <a:gd name="T4" fmla="*/ 32571 w 29"/>
                <a:gd name="T5" fmla="*/ 1928 h 14"/>
                <a:gd name="T6" fmla="*/ 53646 w 29"/>
                <a:gd name="T7" fmla="*/ 7711 h 14"/>
                <a:gd name="T8" fmla="*/ 55562 w 29"/>
                <a:gd name="T9" fmla="*/ 11566 h 14"/>
                <a:gd name="T10" fmla="*/ 45982 w 29"/>
                <a:gd name="T11" fmla="*/ 15421 h 14"/>
                <a:gd name="T12" fmla="*/ 49814 w 29"/>
                <a:gd name="T13" fmla="*/ 21204 h 14"/>
                <a:gd name="T14" fmla="*/ 44066 w 29"/>
                <a:gd name="T15" fmla="*/ 26987 h 14"/>
                <a:gd name="T16" fmla="*/ 13412 w 29"/>
                <a:gd name="T17" fmla="*/ 9638 h 14"/>
                <a:gd name="T18" fmla="*/ 1916 w 29"/>
                <a:gd name="T19" fmla="*/ 1928 h 14"/>
                <a:gd name="T20" fmla="*/ 3832 w 29"/>
                <a:gd name="T21" fmla="*/ 0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9"/>
                <a:gd name="T34" fmla="*/ 0 h 14"/>
                <a:gd name="T35" fmla="*/ 29 w 29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9" h="14">
                  <a:moveTo>
                    <a:pt x="2" y="0"/>
                  </a:moveTo>
                  <a:cubicBezTo>
                    <a:pt x="4" y="0"/>
                    <a:pt x="6" y="0"/>
                    <a:pt x="8" y="0"/>
                  </a:cubicBezTo>
                  <a:cubicBezTo>
                    <a:pt x="11" y="0"/>
                    <a:pt x="14" y="0"/>
                    <a:pt x="17" y="1"/>
                  </a:cubicBezTo>
                  <a:cubicBezTo>
                    <a:pt x="21" y="2"/>
                    <a:pt x="24" y="3"/>
                    <a:pt x="28" y="4"/>
                  </a:cubicBezTo>
                  <a:cubicBezTo>
                    <a:pt x="28" y="4"/>
                    <a:pt x="29" y="5"/>
                    <a:pt x="29" y="6"/>
                  </a:cubicBezTo>
                  <a:cubicBezTo>
                    <a:pt x="28" y="7"/>
                    <a:pt x="25" y="6"/>
                    <a:pt x="24" y="8"/>
                  </a:cubicBezTo>
                  <a:cubicBezTo>
                    <a:pt x="23" y="9"/>
                    <a:pt x="26" y="10"/>
                    <a:pt x="26" y="11"/>
                  </a:cubicBezTo>
                  <a:cubicBezTo>
                    <a:pt x="25" y="12"/>
                    <a:pt x="24" y="14"/>
                    <a:pt x="23" y="14"/>
                  </a:cubicBezTo>
                  <a:cubicBezTo>
                    <a:pt x="17" y="12"/>
                    <a:pt x="12" y="8"/>
                    <a:pt x="7" y="5"/>
                  </a:cubicBezTo>
                  <a:cubicBezTo>
                    <a:pt x="5" y="4"/>
                    <a:pt x="2" y="3"/>
                    <a:pt x="1" y="1"/>
                  </a:cubicBezTo>
                  <a:cubicBezTo>
                    <a:pt x="0" y="1"/>
                    <a:pt x="1" y="1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2" name="Freeform 1113"/>
            <p:cNvSpPr>
              <a:spLocks noChangeAspect="1"/>
            </p:cNvSpPr>
            <p:nvPr/>
          </p:nvSpPr>
          <p:spPr bwMode="auto">
            <a:xfrm>
              <a:off x="3573463" y="1408113"/>
              <a:ext cx="12700" cy="12700"/>
            </a:xfrm>
            <a:custGeom>
              <a:avLst/>
              <a:gdLst>
                <a:gd name="T0" fmla="*/ 1814 w 7"/>
                <a:gd name="T1" fmla="*/ 0 h 6"/>
                <a:gd name="T2" fmla="*/ 1814 w 7"/>
                <a:gd name="T3" fmla="*/ 8467 h 6"/>
                <a:gd name="T4" fmla="*/ 12700 w 7"/>
                <a:gd name="T5" fmla="*/ 8467 h 6"/>
                <a:gd name="T6" fmla="*/ 1814 w 7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6"/>
                <a:gd name="T14" fmla="*/ 7 w 7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6">
                  <a:moveTo>
                    <a:pt x="1" y="0"/>
                  </a:moveTo>
                  <a:cubicBezTo>
                    <a:pt x="0" y="1"/>
                    <a:pt x="0" y="3"/>
                    <a:pt x="1" y="4"/>
                  </a:cubicBezTo>
                  <a:cubicBezTo>
                    <a:pt x="3" y="5"/>
                    <a:pt x="7" y="6"/>
                    <a:pt x="7" y="4"/>
                  </a:cubicBezTo>
                  <a:cubicBezTo>
                    <a:pt x="7" y="1"/>
                    <a:pt x="4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3" name="Freeform 1114"/>
            <p:cNvSpPr>
              <a:spLocks noChangeAspect="1"/>
            </p:cNvSpPr>
            <p:nvPr/>
          </p:nvSpPr>
          <p:spPr bwMode="auto">
            <a:xfrm>
              <a:off x="3600450" y="1393825"/>
              <a:ext cx="38100" cy="26988"/>
            </a:xfrm>
            <a:custGeom>
              <a:avLst/>
              <a:gdLst>
                <a:gd name="T0" fmla="*/ 1905 w 20"/>
                <a:gd name="T1" fmla="*/ 13494 h 14"/>
                <a:gd name="T2" fmla="*/ 17145 w 20"/>
                <a:gd name="T3" fmla="*/ 26988 h 14"/>
                <a:gd name="T4" fmla="*/ 36195 w 20"/>
                <a:gd name="T5" fmla="*/ 21205 h 14"/>
                <a:gd name="T6" fmla="*/ 24765 w 20"/>
                <a:gd name="T7" fmla="*/ 11566 h 14"/>
                <a:gd name="T8" fmla="*/ 17145 w 20"/>
                <a:gd name="T9" fmla="*/ 1928 h 14"/>
                <a:gd name="T10" fmla="*/ 7620 w 20"/>
                <a:gd name="T11" fmla="*/ 7711 h 14"/>
                <a:gd name="T12" fmla="*/ 13335 w 20"/>
                <a:gd name="T13" fmla="*/ 15422 h 14"/>
                <a:gd name="T14" fmla="*/ 1905 w 20"/>
                <a:gd name="T15" fmla="*/ 13494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14"/>
                <a:gd name="T26" fmla="*/ 20 w 20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14">
                  <a:moveTo>
                    <a:pt x="1" y="7"/>
                  </a:moveTo>
                  <a:cubicBezTo>
                    <a:pt x="2" y="10"/>
                    <a:pt x="6" y="13"/>
                    <a:pt x="9" y="14"/>
                  </a:cubicBezTo>
                  <a:cubicBezTo>
                    <a:pt x="12" y="14"/>
                    <a:pt x="17" y="14"/>
                    <a:pt x="19" y="11"/>
                  </a:cubicBezTo>
                  <a:cubicBezTo>
                    <a:pt x="20" y="9"/>
                    <a:pt x="15" y="8"/>
                    <a:pt x="13" y="6"/>
                  </a:cubicBezTo>
                  <a:cubicBezTo>
                    <a:pt x="12" y="4"/>
                    <a:pt x="11" y="1"/>
                    <a:pt x="9" y="1"/>
                  </a:cubicBezTo>
                  <a:cubicBezTo>
                    <a:pt x="7" y="0"/>
                    <a:pt x="5" y="2"/>
                    <a:pt x="4" y="4"/>
                  </a:cubicBezTo>
                  <a:cubicBezTo>
                    <a:pt x="4" y="6"/>
                    <a:pt x="8" y="7"/>
                    <a:pt x="7" y="8"/>
                  </a:cubicBezTo>
                  <a:cubicBezTo>
                    <a:pt x="5" y="9"/>
                    <a:pt x="0" y="5"/>
                    <a:pt x="1" y="7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4" name="Freeform 1115"/>
            <p:cNvSpPr>
              <a:spLocks noChangeAspect="1"/>
            </p:cNvSpPr>
            <p:nvPr/>
          </p:nvSpPr>
          <p:spPr bwMode="auto">
            <a:xfrm>
              <a:off x="4003675" y="1847850"/>
              <a:ext cx="60325" cy="11113"/>
            </a:xfrm>
            <a:custGeom>
              <a:avLst/>
              <a:gdLst>
                <a:gd name="T0" fmla="*/ 7541 w 32"/>
                <a:gd name="T1" fmla="*/ 1852 h 6"/>
                <a:gd name="T2" fmla="*/ 1885 w 32"/>
                <a:gd name="T3" fmla="*/ 7409 h 6"/>
                <a:gd name="T4" fmla="*/ 22622 w 32"/>
                <a:gd name="T5" fmla="*/ 11113 h 6"/>
                <a:gd name="T6" fmla="*/ 49014 w 32"/>
                <a:gd name="T7" fmla="*/ 11113 h 6"/>
                <a:gd name="T8" fmla="*/ 58440 w 32"/>
                <a:gd name="T9" fmla="*/ 9261 h 6"/>
                <a:gd name="T10" fmla="*/ 47129 w 32"/>
                <a:gd name="T11" fmla="*/ 7409 h 6"/>
                <a:gd name="T12" fmla="*/ 22622 w 32"/>
                <a:gd name="T13" fmla="*/ 5557 h 6"/>
                <a:gd name="T14" fmla="*/ 20737 w 32"/>
                <a:gd name="T15" fmla="*/ 3704 h 6"/>
                <a:gd name="T16" fmla="*/ 45244 w 32"/>
                <a:gd name="T17" fmla="*/ 5557 h 6"/>
                <a:gd name="T18" fmla="*/ 45244 w 32"/>
                <a:gd name="T19" fmla="*/ 1852 h 6"/>
                <a:gd name="T20" fmla="*/ 22622 w 32"/>
                <a:gd name="T21" fmla="*/ 0 h 6"/>
                <a:gd name="T22" fmla="*/ 7541 w 32"/>
                <a:gd name="T23" fmla="*/ 1852 h 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6"/>
                <a:gd name="T38" fmla="*/ 32 w 32"/>
                <a:gd name="T39" fmla="*/ 6 h 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6">
                  <a:moveTo>
                    <a:pt x="4" y="1"/>
                  </a:moveTo>
                  <a:cubicBezTo>
                    <a:pt x="3" y="2"/>
                    <a:pt x="0" y="4"/>
                    <a:pt x="1" y="4"/>
                  </a:cubicBezTo>
                  <a:cubicBezTo>
                    <a:pt x="5" y="6"/>
                    <a:pt x="9" y="6"/>
                    <a:pt x="12" y="6"/>
                  </a:cubicBezTo>
                  <a:cubicBezTo>
                    <a:pt x="17" y="6"/>
                    <a:pt x="21" y="6"/>
                    <a:pt x="26" y="6"/>
                  </a:cubicBezTo>
                  <a:cubicBezTo>
                    <a:pt x="28" y="6"/>
                    <a:pt x="32" y="6"/>
                    <a:pt x="31" y="5"/>
                  </a:cubicBezTo>
                  <a:cubicBezTo>
                    <a:pt x="29" y="4"/>
                    <a:pt x="27" y="4"/>
                    <a:pt x="25" y="4"/>
                  </a:cubicBezTo>
                  <a:cubicBezTo>
                    <a:pt x="21" y="4"/>
                    <a:pt x="16" y="4"/>
                    <a:pt x="12" y="3"/>
                  </a:cubicBezTo>
                  <a:cubicBezTo>
                    <a:pt x="11" y="3"/>
                    <a:pt x="10" y="2"/>
                    <a:pt x="11" y="2"/>
                  </a:cubicBezTo>
                  <a:cubicBezTo>
                    <a:pt x="15" y="1"/>
                    <a:pt x="20" y="3"/>
                    <a:pt x="24" y="3"/>
                  </a:cubicBezTo>
                  <a:cubicBezTo>
                    <a:pt x="25" y="3"/>
                    <a:pt x="25" y="1"/>
                    <a:pt x="24" y="1"/>
                  </a:cubicBezTo>
                  <a:cubicBezTo>
                    <a:pt x="20" y="0"/>
                    <a:pt x="16" y="0"/>
                    <a:pt x="12" y="0"/>
                  </a:cubicBezTo>
                  <a:cubicBezTo>
                    <a:pt x="9" y="0"/>
                    <a:pt x="6" y="0"/>
                    <a:pt x="4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5" name="Freeform 1116"/>
            <p:cNvSpPr>
              <a:spLocks noChangeAspect="1"/>
            </p:cNvSpPr>
            <p:nvPr/>
          </p:nvSpPr>
          <p:spPr bwMode="auto">
            <a:xfrm>
              <a:off x="3946525" y="1944688"/>
              <a:ext cx="63500" cy="23812"/>
            </a:xfrm>
            <a:custGeom>
              <a:avLst/>
              <a:gdLst>
                <a:gd name="T0" fmla="*/ 9621 w 33"/>
                <a:gd name="T1" fmla="*/ 16485 h 13"/>
                <a:gd name="T2" fmla="*/ 21167 w 33"/>
                <a:gd name="T3" fmla="*/ 7327 h 13"/>
                <a:gd name="T4" fmla="*/ 34636 w 33"/>
                <a:gd name="T5" fmla="*/ 5495 h 13"/>
                <a:gd name="T6" fmla="*/ 46182 w 33"/>
                <a:gd name="T7" fmla="*/ 0 h 13"/>
                <a:gd name="T8" fmla="*/ 57727 w 33"/>
                <a:gd name="T9" fmla="*/ 3663 h 13"/>
                <a:gd name="T10" fmla="*/ 53879 w 33"/>
                <a:gd name="T11" fmla="*/ 9158 h 13"/>
                <a:gd name="T12" fmla="*/ 61576 w 33"/>
                <a:gd name="T13" fmla="*/ 16485 h 13"/>
                <a:gd name="T14" fmla="*/ 40409 w 33"/>
                <a:gd name="T15" fmla="*/ 20149 h 13"/>
                <a:gd name="T16" fmla="*/ 34636 w 33"/>
                <a:gd name="T17" fmla="*/ 18317 h 13"/>
                <a:gd name="T18" fmla="*/ 23091 w 33"/>
                <a:gd name="T19" fmla="*/ 21980 h 13"/>
                <a:gd name="T20" fmla="*/ 13470 w 33"/>
                <a:gd name="T21" fmla="*/ 23812 h 13"/>
                <a:gd name="T22" fmla="*/ 1924 w 33"/>
                <a:gd name="T23" fmla="*/ 21980 h 13"/>
                <a:gd name="T24" fmla="*/ 3848 w 33"/>
                <a:gd name="T25" fmla="*/ 18317 h 13"/>
                <a:gd name="T26" fmla="*/ 9621 w 33"/>
                <a:gd name="T27" fmla="*/ 16485 h 1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3"/>
                <a:gd name="T43" fmla="*/ 0 h 13"/>
                <a:gd name="T44" fmla="*/ 33 w 33"/>
                <a:gd name="T45" fmla="*/ 13 h 1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3" h="13">
                  <a:moveTo>
                    <a:pt x="5" y="9"/>
                  </a:moveTo>
                  <a:cubicBezTo>
                    <a:pt x="7" y="8"/>
                    <a:pt x="8" y="5"/>
                    <a:pt x="11" y="4"/>
                  </a:cubicBezTo>
                  <a:cubicBezTo>
                    <a:pt x="13" y="3"/>
                    <a:pt x="16" y="4"/>
                    <a:pt x="18" y="3"/>
                  </a:cubicBezTo>
                  <a:cubicBezTo>
                    <a:pt x="20" y="3"/>
                    <a:pt x="22" y="0"/>
                    <a:pt x="24" y="0"/>
                  </a:cubicBezTo>
                  <a:cubicBezTo>
                    <a:pt x="26" y="0"/>
                    <a:pt x="29" y="1"/>
                    <a:pt x="30" y="2"/>
                  </a:cubicBezTo>
                  <a:cubicBezTo>
                    <a:pt x="31" y="3"/>
                    <a:pt x="28" y="4"/>
                    <a:pt x="28" y="5"/>
                  </a:cubicBezTo>
                  <a:cubicBezTo>
                    <a:pt x="29" y="7"/>
                    <a:pt x="33" y="8"/>
                    <a:pt x="32" y="9"/>
                  </a:cubicBezTo>
                  <a:cubicBezTo>
                    <a:pt x="29" y="11"/>
                    <a:pt x="25" y="10"/>
                    <a:pt x="21" y="11"/>
                  </a:cubicBezTo>
                  <a:cubicBezTo>
                    <a:pt x="20" y="11"/>
                    <a:pt x="19" y="10"/>
                    <a:pt x="18" y="10"/>
                  </a:cubicBezTo>
                  <a:cubicBezTo>
                    <a:pt x="16" y="10"/>
                    <a:pt x="14" y="11"/>
                    <a:pt x="12" y="12"/>
                  </a:cubicBezTo>
                  <a:cubicBezTo>
                    <a:pt x="10" y="12"/>
                    <a:pt x="9" y="12"/>
                    <a:pt x="7" y="13"/>
                  </a:cubicBezTo>
                  <a:cubicBezTo>
                    <a:pt x="5" y="13"/>
                    <a:pt x="3" y="13"/>
                    <a:pt x="1" y="12"/>
                  </a:cubicBezTo>
                  <a:cubicBezTo>
                    <a:pt x="0" y="12"/>
                    <a:pt x="1" y="10"/>
                    <a:pt x="2" y="10"/>
                  </a:cubicBezTo>
                  <a:cubicBezTo>
                    <a:pt x="3" y="9"/>
                    <a:pt x="4" y="10"/>
                    <a:pt x="5" y="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6" name="Freeform 1117"/>
            <p:cNvSpPr>
              <a:spLocks noChangeAspect="1"/>
            </p:cNvSpPr>
            <p:nvPr/>
          </p:nvSpPr>
          <p:spPr bwMode="auto">
            <a:xfrm>
              <a:off x="1633538" y="2689225"/>
              <a:ext cx="93662" cy="88900"/>
            </a:xfrm>
            <a:custGeom>
              <a:avLst/>
              <a:gdLst>
                <a:gd name="T0" fmla="*/ 5734 w 49"/>
                <a:gd name="T1" fmla="*/ 1891 h 47"/>
                <a:gd name="T2" fmla="*/ 47787 w 49"/>
                <a:gd name="T3" fmla="*/ 18915 h 47"/>
                <a:gd name="T4" fmla="*/ 57344 w 49"/>
                <a:gd name="T5" fmla="*/ 20806 h 47"/>
                <a:gd name="T6" fmla="*/ 64990 w 49"/>
                <a:gd name="T7" fmla="*/ 39721 h 47"/>
                <a:gd name="T8" fmla="*/ 64990 w 49"/>
                <a:gd name="T9" fmla="*/ 47287 h 47"/>
                <a:gd name="T10" fmla="*/ 82193 w 49"/>
                <a:gd name="T11" fmla="*/ 52962 h 47"/>
                <a:gd name="T12" fmla="*/ 89839 w 49"/>
                <a:gd name="T13" fmla="*/ 73768 h 47"/>
                <a:gd name="T14" fmla="*/ 89839 w 49"/>
                <a:gd name="T15" fmla="*/ 85117 h 47"/>
                <a:gd name="T16" fmla="*/ 74547 w 49"/>
                <a:gd name="T17" fmla="*/ 87009 h 47"/>
                <a:gd name="T18" fmla="*/ 55433 w 49"/>
                <a:gd name="T19" fmla="*/ 75660 h 47"/>
                <a:gd name="T20" fmla="*/ 61167 w 49"/>
                <a:gd name="T21" fmla="*/ 66202 h 47"/>
                <a:gd name="T22" fmla="*/ 45875 w 49"/>
                <a:gd name="T23" fmla="*/ 66202 h 47"/>
                <a:gd name="T24" fmla="*/ 38229 w 49"/>
                <a:gd name="T25" fmla="*/ 60528 h 47"/>
                <a:gd name="T26" fmla="*/ 36318 w 49"/>
                <a:gd name="T27" fmla="*/ 51070 h 47"/>
                <a:gd name="T28" fmla="*/ 26761 w 49"/>
                <a:gd name="T29" fmla="*/ 43504 h 47"/>
                <a:gd name="T30" fmla="*/ 19115 w 49"/>
                <a:gd name="T31" fmla="*/ 32155 h 47"/>
                <a:gd name="T32" fmla="*/ 19115 w 49"/>
                <a:gd name="T33" fmla="*/ 24589 h 47"/>
                <a:gd name="T34" fmla="*/ 7646 w 49"/>
                <a:gd name="T35" fmla="*/ 24589 h 47"/>
                <a:gd name="T36" fmla="*/ 13380 w 49"/>
                <a:gd name="T37" fmla="*/ 15132 h 47"/>
                <a:gd name="T38" fmla="*/ 3823 w 49"/>
                <a:gd name="T39" fmla="*/ 11349 h 47"/>
                <a:gd name="T40" fmla="*/ 0 w 49"/>
                <a:gd name="T41" fmla="*/ 3783 h 47"/>
                <a:gd name="T42" fmla="*/ 5734 w 49"/>
                <a:gd name="T43" fmla="*/ 1891 h 4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9"/>
                <a:gd name="T67" fmla="*/ 0 h 47"/>
                <a:gd name="T68" fmla="*/ 49 w 49"/>
                <a:gd name="T69" fmla="*/ 47 h 4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9" h="47">
                  <a:moveTo>
                    <a:pt x="3" y="1"/>
                  </a:moveTo>
                  <a:cubicBezTo>
                    <a:pt x="11" y="3"/>
                    <a:pt x="18" y="7"/>
                    <a:pt x="25" y="10"/>
                  </a:cubicBezTo>
                  <a:cubicBezTo>
                    <a:pt x="27" y="11"/>
                    <a:pt x="29" y="10"/>
                    <a:pt x="30" y="11"/>
                  </a:cubicBezTo>
                  <a:cubicBezTo>
                    <a:pt x="33" y="14"/>
                    <a:pt x="33" y="18"/>
                    <a:pt x="34" y="21"/>
                  </a:cubicBezTo>
                  <a:cubicBezTo>
                    <a:pt x="34" y="23"/>
                    <a:pt x="33" y="24"/>
                    <a:pt x="34" y="25"/>
                  </a:cubicBezTo>
                  <a:cubicBezTo>
                    <a:pt x="37" y="27"/>
                    <a:pt x="41" y="26"/>
                    <a:pt x="43" y="28"/>
                  </a:cubicBezTo>
                  <a:cubicBezTo>
                    <a:pt x="46" y="31"/>
                    <a:pt x="47" y="35"/>
                    <a:pt x="47" y="39"/>
                  </a:cubicBezTo>
                  <a:cubicBezTo>
                    <a:pt x="48" y="41"/>
                    <a:pt x="49" y="44"/>
                    <a:pt x="47" y="45"/>
                  </a:cubicBezTo>
                  <a:cubicBezTo>
                    <a:pt x="45" y="47"/>
                    <a:pt x="42" y="47"/>
                    <a:pt x="39" y="46"/>
                  </a:cubicBezTo>
                  <a:cubicBezTo>
                    <a:pt x="35" y="45"/>
                    <a:pt x="31" y="43"/>
                    <a:pt x="29" y="40"/>
                  </a:cubicBezTo>
                  <a:cubicBezTo>
                    <a:pt x="28" y="38"/>
                    <a:pt x="33" y="36"/>
                    <a:pt x="32" y="35"/>
                  </a:cubicBezTo>
                  <a:cubicBezTo>
                    <a:pt x="30" y="33"/>
                    <a:pt x="26" y="35"/>
                    <a:pt x="24" y="35"/>
                  </a:cubicBezTo>
                  <a:cubicBezTo>
                    <a:pt x="22" y="34"/>
                    <a:pt x="20" y="33"/>
                    <a:pt x="20" y="32"/>
                  </a:cubicBezTo>
                  <a:cubicBezTo>
                    <a:pt x="19" y="30"/>
                    <a:pt x="20" y="28"/>
                    <a:pt x="19" y="27"/>
                  </a:cubicBezTo>
                  <a:cubicBezTo>
                    <a:pt x="18" y="25"/>
                    <a:pt x="15" y="24"/>
                    <a:pt x="14" y="23"/>
                  </a:cubicBezTo>
                  <a:cubicBezTo>
                    <a:pt x="12" y="21"/>
                    <a:pt x="11" y="19"/>
                    <a:pt x="10" y="17"/>
                  </a:cubicBezTo>
                  <a:cubicBezTo>
                    <a:pt x="9" y="16"/>
                    <a:pt x="11" y="14"/>
                    <a:pt x="10" y="13"/>
                  </a:cubicBezTo>
                  <a:cubicBezTo>
                    <a:pt x="8" y="12"/>
                    <a:pt x="5" y="15"/>
                    <a:pt x="4" y="13"/>
                  </a:cubicBezTo>
                  <a:cubicBezTo>
                    <a:pt x="3" y="12"/>
                    <a:pt x="7" y="10"/>
                    <a:pt x="7" y="8"/>
                  </a:cubicBezTo>
                  <a:cubicBezTo>
                    <a:pt x="6" y="7"/>
                    <a:pt x="3" y="8"/>
                    <a:pt x="2" y="6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2"/>
                    <a:pt x="3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7" name="Freeform 1118"/>
            <p:cNvSpPr>
              <a:spLocks noChangeAspect="1"/>
            </p:cNvSpPr>
            <p:nvPr/>
          </p:nvSpPr>
          <p:spPr bwMode="auto">
            <a:xfrm>
              <a:off x="1550988" y="2576513"/>
              <a:ext cx="33337" cy="36512"/>
            </a:xfrm>
            <a:custGeom>
              <a:avLst/>
              <a:gdLst>
                <a:gd name="T0" fmla="*/ 33337 w 17"/>
                <a:gd name="T1" fmla="*/ 5765 h 19"/>
                <a:gd name="T2" fmla="*/ 25493 w 17"/>
                <a:gd name="T3" fmla="*/ 21139 h 19"/>
                <a:gd name="T4" fmla="*/ 19610 w 17"/>
                <a:gd name="T5" fmla="*/ 34590 h 19"/>
                <a:gd name="T6" fmla="*/ 7844 w 17"/>
                <a:gd name="T7" fmla="*/ 36512 h 19"/>
                <a:gd name="T8" fmla="*/ 1961 w 17"/>
                <a:gd name="T9" fmla="*/ 28825 h 19"/>
                <a:gd name="T10" fmla="*/ 3922 w 17"/>
                <a:gd name="T11" fmla="*/ 11530 h 19"/>
                <a:gd name="T12" fmla="*/ 3922 w 17"/>
                <a:gd name="T13" fmla="*/ 1922 h 19"/>
                <a:gd name="T14" fmla="*/ 23532 w 17"/>
                <a:gd name="T15" fmla="*/ 5765 h 19"/>
                <a:gd name="T16" fmla="*/ 33337 w 17"/>
                <a:gd name="T17" fmla="*/ 5765 h 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19"/>
                <a:gd name="T29" fmla="*/ 17 w 17"/>
                <a:gd name="T30" fmla="*/ 19 h 1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19">
                  <a:moveTo>
                    <a:pt x="17" y="3"/>
                  </a:moveTo>
                  <a:cubicBezTo>
                    <a:pt x="17" y="6"/>
                    <a:pt x="14" y="8"/>
                    <a:pt x="13" y="11"/>
                  </a:cubicBezTo>
                  <a:cubicBezTo>
                    <a:pt x="12" y="13"/>
                    <a:pt x="12" y="16"/>
                    <a:pt x="10" y="18"/>
                  </a:cubicBezTo>
                  <a:cubicBezTo>
                    <a:pt x="9" y="19"/>
                    <a:pt x="6" y="19"/>
                    <a:pt x="4" y="19"/>
                  </a:cubicBezTo>
                  <a:cubicBezTo>
                    <a:pt x="3" y="18"/>
                    <a:pt x="1" y="17"/>
                    <a:pt x="1" y="15"/>
                  </a:cubicBezTo>
                  <a:cubicBezTo>
                    <a:pt x="1" y="12"/>
                    <a:pt x="2" y="9"/>
                    <a:pt x="2" y="6"/>
                  </a:cubicBezTo>
                  <a:cubicBezTo>
                    <a:pt x="2" y="5"/>
                    <a:pt x="0" y="2"/>
                    <a:pt x="2" y="1"/>
                  </a:cubicBezTo>
                  <a:cubicBezTo>
                    <a:pt x="5" y="0"/>
                    <a:pt x="9" y="2"/>
                    <a:pt x="12" y="3"/>
                  </a:cubicBezTo>
                  <a:cubicBezTo>
                    <a:pt x="13" y="3"/>
                    <a:pt x="16" y="2"/>
                    <a:pt x="17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8" name="Freeform 1119"/>
            <p:cNvSpPr>
              <a:spLocks noChangeAspect="1"/>
            </p:cNvSpPr>
            <p:nvPr/>
          </p:nvSpPr>
          <p:spPr bwMode="auto">
            <a:xfrm>
              <a:off x="1557338" y="2611438"/>
              <a:ext cx="28575" cy="42862"/>
            </a:xfrm>
            <a:custGeom>
              <a:avLst/>
              <a:gdLst>
                <a:gd name="T0" fmla="*/ 19050 w 15"/>
                <a:gd name="T1" fmla="*/ 1864 h 23"/>
                <a:gd name="T2" fmla="*/ 1905 w 15"/>
                <a:gd name="T3" fmla="*/ 5591 h 23"/>
                <a:gd name="T4" fmla="*/ 9525 w 15"/>
                <a:gd name="T5" fmla="*/ 11181 h 23"/>
                <a:gd name="T6" fmla="*/ 11430 w 15"/>
                <a:gd name="T7" fmla="*/ 24226 h 23"/>
                <a:gd name="T8" fmla="*/ 24765 w 15"/>
                <a:gd name="T9" fmla="*/ 40998 h 23"/>
                <a:gd name="T10" fmla="*/ 26670 w 15"/>
                <a:gd name="T11" fmla="*/ 37271 h 23"/>
                <a:gd name="T12" fmla="*/ 19050 w 15"/>
                <a:gd name="T13" fmla="*/ 27953 h 23"/>
                <a:gd name="T14" fmla="*/ 15240 w 15"/>
                <a:gd name="T15" fmla="*/ 11181 h 23"/>
                <a:gd name="T16" fmla="*/ 19050 w 15"/>
                <a:gd name="T17" fmla="*/ 1864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23"/>
                <a:gd name="T29" fmla="*/ 15 w 15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23">
                  <a:moveTo>
                    <a:pt x="10" y="1"/>
                  </a:moveTo>
                  <a:cubicBezTo>
                    <a:pt x="7" y="0"/>
                    <a:pt x="3" y="1"/>
                    <a:pt x="1" y="3"/>
                  </a:cubicBezTo>
                  <a:cubicBezTo>
                    <a:pt x="0" y="4"/>
                    <a:pt x="4" y="4"/>
                    <a:pt x="5" y="6"/>
                  </a:cubicBezTo>
                  <a:cubicBezTo>
                    <a:pt x="6" y="8"/>
                    <a:pt x="5" y="11"/>
                    <a:pt x="6" y="13"/>
                  </a:cubicBezTo>
                  <a:cubicBezTo>
                    <a:pt x="8" y="17"/>
                    <a:pt x="10" y="20"/>
                    <a:pt x="13" y="22"/>
                  </a:cubicBezTo>
                  <a:cubicBezTo>
                    <a:pt x="13" y="23"/>
                    <a:pt x="15" y="21"/>
                    <a:pt x="14" y="20"/>
                  </a:cubicBezTo>
                  <a:cubicBezTo>
                    <a:pt x="13" y="18"/>
                    <a:pt x="11" y="17"/>
                    <a:pt x="10" y="15"/>
                  </a:cubicBezTo>
                  <a:cubicBezTo>
                    <a:pt x="9" y="12"/>
                    <a:pt x="8" y="9"/>
                    <a:pt x="8" y="6"/>
                  </a:cubicBezTo>
                  <a:cubicBezTo>
                    <a:pt x="8" y="4"/>
                    <a:pt x="11" y="2"/>
                    <a:pt x="10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19" name="Freeform 1120"/>
            <p:cNvSpPr>
              <a:spLocks noChangeAspect="1"/>
            </p:cNvSpPr>
            <p:nvPr/>
          </p:nvSpPr>
          <p:spPr bwMode="auto">
            <a:xfrm>
              <a:off x="804863" y="2228850"/>
              <a:ext cx="65087" cy="30163"/>
            </a:xfrm>
            <a:custGeom>
              <a:avLst/>
              <a:gdLst>
                <a:gd name="T0" fmla="*/ 7657 w 34"/>
                <a:gd name="T1" fmla="*/ 3770 h 16"/>
                <a:gd name="T2" fmla="*/ 1914 w 34"/>
                <a:gd name="T3" fmla="*/ 20737 h 16"/>
                <a:gd name="T4" fmla="*/ 15315 w 34"/>
                <a:gd name="T5" fmla="*/ 20737 h 16"/>
                <a:gd name="T6" fmla="*/ 26801 w 34"/>
                <a:gd name="T7" fmla="*/ 18852 h 16"/>
                <a:gd name="T8" fmla="*/ 38286 w 34"/>
                <a:gd name="T9" fmla="*/ 24507 h 16"/>
                <a:gd name="T10" fmla="*/ 47858 w 34"/>
                <a:gd name="T11" fmla="*/ 30163 h 16"/>
                <a:gd name="T12" fmla="*/ 65087 w 34"/>
                <a:gd name="T13" fmla="*/ 20737 h 16"/>
                <a:gd name="T14" fmla="*/ 47858 w 34"/>
                <a:gd name="T15" fmla="*/ 13196 h 16"/>
                <a:gd name="T16" fmla="*/ 44029 w 34"/>
                <a:gd name="T17" fmla="*/ 7541 h 16"/>
                <a:gd name="T18" fmla="*/ 36372 w 34"/>
                <a:gd name="T19" fmla="*/ 7541 h 16"/>
                <a:gd name="T20" fmla="*/ 24886 w 34"/>
                <a:gd name="T21" fmla="*/ 13196 h 16"/>
                <a:gd name="T22" fmla="*/ 11486 w 34"/>
                <a:gd name="T23" fmla="*/ 13196 h 16"/>
                <a:gd name="T24" fmla="*/ 7657 w 34"/>
                <a:gd name="T25" fmla="*/ 3770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16"/>
                <a:gd name="T41" fmla="*/ 34 w 34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16">
                  <a:moveTo>
                    <a:pt x="4" y="2"/>
                  </a:moveTo>
                  <a:cubicBezTo>
                    <a:pt x="2" y="4"/>
                    <a:pt x="0" y="8"/>
                    <a:pt x="1" y="11"/>
                  </a:cubicBezTo>
                  <a:cubicBezTo>
                    <a:pt x="2" y="13"/>
                    <a:pt x="6" y="11"/>
                    <a:pt x="8" y="11"/>
                  </a:cubicBezTo>
                  <a:cubicBezTo>
                    <a:pt x="10" y="11"/>
                    <a:pt x="12" y="10"/>
                    <a:pt x="14" y="10"/>
                  </a:cubicBezTo>
                  <a:cubicBezTo>
                    <a:pt x="16" y="11"/>
                    <a:pt x="18" y="12"/>
                    <a:pt x="20" y="13"/>
                  </a:cubicBezTo>
                  <a:cubicBezTo>
                    <a:pt x="21" y="14"/>
                    <a:pt x="23" y="16"/>
                    <a:pt x="25" y="16"/>
                  </a:cubicBezTo>
                  <a:cubicBezTo>
                    <a:pt x="29" y="15"/>
                    <a:pt x="34" y="14"/>
                    <a:pt x="34" y="11"/>
                  </a:cubicBezTo>
                  <a:cubicBezTo>
                    <a:pt x="34" y="7"/>
                    <a:pt x="28" y="9"/>
                    <a:pt x="25" y="7"/>
                  </a:cubicBezTo>
                  <a:cubicBezTo>
                    <a:pt x="24" y="7"/>
                    <a:pt x="24" y="5"/>
                    <a:pt x="23" y="4"/>
                  </a:cubicBezTo>
                  <a:cubicBezTo>
                    <a:pt x="22" y="3"/>
                    <a:pt x="20" y="3"/>
                    <a:pt x="19" y="4"/>
                  </a:cubicBezTo>
                  <a:cubicBezTo>
                    <a:pt x="17" y="4"/>
                    <a:pt x="15" y="6"/>
                    <a:pt x="13" y="7"/>
                  </a:cubicBezTo>
                  <a:cubicBezTo>
                    <a:pt x="11" y="7"/>
                    <a:pt x="8" y="8"/>
                    <a:pt x="6" y="7"/>
                  </a:cubicBezTo>
                  <a:cubicBezTo>
                    <a:pt x="5" y="6"/>
                    <a:pt x="6" y="0"/>
                    <a:pt x="4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0" name="Freeform 1121"/>
            <p:cNvSpPr>
              <a:spLocks noChangeAspect="1"/>
            </p:cNvSpPr>
            <p:nvPr/>
          </p:nvSpPr>
          <p:spPr bwMode="auto">
            <a:xfrm>
              <a:off x="1549400" y="2505075"/>
              <a:ext cx="34925" cy="57150"/>
            </a:xfrm>
            <a:custGeom>
              <a:avLst/>
              <a:gdLst>
                <a:gd name="T0" fmla="*/ 21343 w 18"/>
                <a:gd name="T1" fmla="*/ 5715 h 30"/>
                <a:gd name="T2" fmla="*/ 32985 w 18"/>
                <a:gd name="T3" fmla="*/ 26670 h 30"/>
                <a:gd name="T4" fmla="*/ 34925 w 18"/>
                <a:gd name="T5" fmla="*/ 49530 h 30"/>
                <a:gd name="T6" fmla="*/ 31044 w 18"/>
                <a:gd name="T7" fmla="*/ 55245 h 30"/>
                <a:gd name="T8" fmla="*/ 19403 w 18"/>
                <a:gd name="T9" fmla="*/ 41910 h 30"/>
                <a:gd name="T10" fmla="*/ 11642 w 18"/>
                <a:gd name="T11" fmla="*/ 38100 h 30"/>
                <a:gd name="T12" fmla="*/ 15522 w 18"/>
                <a:gd name="T13" fmla="*/ 26670 h 30"/>
                <a:gd name="T14" fmla="*/ 9701 w 18"/>
                <a:gd name="T15" fmla="*/ 22860 h 30"/>
                <a:gd name="T16" fmla="*/ 17463 w 18"/>
                <a:gd name="T17" fmla="*/ 13335 h 30"/>
                <a:gd name="T18" fmla="*/ 1940 w 18"/>
                <a:gd name="T19" fmla="*/ 15240 h 30"/>
                <a:gd name="T20" fmla="*/ 9701 w 18"/>
                <a:gd name="T21" fmla="*/ 1905 h 30"/>
                <a:gd name="T22" fmla="*/ 21343 w 18"/>
                <a:gd name="T23" fmla="*/ 5715 h 3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30"/>
                <a:gd name="T38" fmla="*/ 18 w 18"/>
                <a:gd name="T39" fmla="*/ 30 h 3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30">
                  <a:moveTo>
                    <a:pt x="11" y="3"/>
                  </a:moveTo>
                  <a:cubicBezTo>
                    <a:pt x="14" y="6"/>
                    <a:pt x="15" y="10"/>
                    <a:pt x="17" y="14"/>
                  </a:cubicBezTo>
                  <a:cubicBezTo>
                    <a:pt x="18" y="18"/>
                    <a:pt x="18" y="22"/>
                    <a:pt x="18" y="26"/>
                  </a:cubicBezTo>
                  <a:cubicBezTo>
                    <a:pt x="18" y="27"/>
                    <a:pt x="17" y="30"/>
                    <a:pt x="16" y="29"/>
                  </a:cubicBezTo>
                  <a:cubicBezTo>
                    <a:pt x="13" y="28"/>
                    <a:pt x="12" y="24"/>
                    <a:pt x="10" y="22"/>
                  </a:cubicBezTo>
                  <a:cubicBezTo>
                    <a:pt x="8" y="21"/>
                    <a:pt x="6" y="22"/>
                    <a:pt x="6" y="20"/>
                  </a:cubicBezTo>
                  <a:cubicBezTo>
                    <a:pt x="5" y="18"/>
                    <a:pt x="8" y="16"/>
                    <a:pt x="8" y="14"/>
                  </a:cubicBezTo>
                  <a:cubicBezTo>
                    <a:pt x="8" y="12"/>
                    <a:pt x="4" y="13"/>
                    <a:pt x="5" y="12"/>
                  </a:cubicBezTo>
                  <a:cubicBezTo>
                    <a:pt x="5" y="10"/>
                    <a:pt x="10" y="9"/>
                    <a:pt x="9" y="7"/>
                  </a:cubicBezTo>
                  <a:cubicBezTo>
                    <a:pt x="7" y="5"/>
                    <a:pt x="3" y="10"/>
                    <a:pt x="1" y="8"/>
                  </a:cubicBezTo>
                  <a:cubicBezTo>
                    <a:pt x="0" y="6"/>
                    <a:pt x="3" y="2"/>
                    <a:pt x="5" y="1"/>
                  </a:cubicBezTo>
                  <a:cubicBezTo>
                    <a:pt x="7" y="0"/>
                    <a:pt x="10" y="1"/>
                    <a:pt x="1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1" name="Freeform 1122"/>
            <p:cNvSpPr>
              <a:spLocks noChangeAspect="1"/>
            </p:cNvSpPr>
            <p:nvPr/>
          </p:nvSpPr>
          <p:spPr bwMode="auto">
            <a:xfrm>
              <a:off x="1558925" y="2479675"/>
              <a:ext cx="28575" cy="25400"/>
            </a:xfrm>
            <a:custGeom>
              <a:avLst/>
              <a:gdLst>
                <a:gd name="T0" fmla="*/ 1905 w 15"/>
                <a:gd name="T1" fmla="*/ 3908 h 13"/>
                <a:gd name="T2" fmla="*/ 1905 w 15"/>
                <a:gd name="T3" fmla="*/ 23446 h 13"/>
                <a:gd name="T4" fmla="*/ 15240 w 15"/>
                <a:gd name="T5" fmla="*/ 21492 h 13"/>
                <a:gd name="T6" fmla="*/ 15240 w 15"/>
                <a:gd name="T7" fmla="*/ 15631 h 13"/>
                <a:gd name="T8" fmla="*/ 22860 w 15"/>
                <a:gd name="T9" fmla="*/ 19538 h 13"/>
                <a:gd name="T10" fmla="*/ 26670 w 15"/>
                <a:gd name="T11" fmla="*/ 19538 h 13"/>
                <a:gd name="T12" fmla="*/ 19050 w 15"/>
                <a:gd name="T13" fmla="*/ 7815 h 13"/>
                <a:gd name="T14" fmla="*/ 9525 w 15"/>
                <a:gd name="T15" fmla="*/ 5862 h 13"/>
                <a:gd name="T16" fmla="*/ 1905 w 15"/>
                <a:gd name="T17" fmla="*/ 3908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13"/>
                <a:gd name="T29" fmla="*/ 15 w 15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13">
                  <a:moveTo>
                    <a:pt x="1" y="2"/>
                  </a:moveTo>
                  <a:cubicBezTo>
                    <a:pt x="0" y="5"/>
                    <a:pt x="0" y="9"/>
                    <a:pt x="1" y="12"/>
                  </a:cubicBezTo>
                  <a:cubicBezTo>
                    <a:pt x="2" y="13"/>
                    <a:pt x="6" y="12"/>
                    <a:pt x="8" y="11"/>
                  </a:cubicBezTo>
                  <a:cubicBezTo>
                    <a:pt x="9" y="10"/>
                    <a:pt x="6" y="8"/>
                    <a:pt x="8" y="8"/>
                  </a:cubicBezTo>
                  <a:cubicBezTo>
                    <a:pt x="9" y="7"/>
                    <a:pt x="10" y="10"/>
                    <a:pt x="12" y="10"/>
                  </a:cubicBezTo>
                  <a:cubicBezTo>
                    <a:pt x="12" y="10"/>
                    <a:pt x="15" y="11"/>
                    <a:pt x="14" y="10"/>
                  </a:cubicBezTo>
                  <a:cubicBezTo>
                    <a:pt x="14" y="7"/>
                    <a:pt x="12" y="5"/>
                    <a:pt x="10" y="4"/>
                  </a:cubicBezTo>
                  <a:cubicBezTo>
                    <a:pt x="9" y="3"/>
                    <a:pt x="7" y="3"/>
                    <a:pt x="5" y="3"/>
                  </a:cubicBezTo>
                  <a:cubicBezTo>
                    <a:pt x="4" y="3"/>
                    <a:pt x="2" y="0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2" name="Freeform 1123"/>
            <p:cNvSpPr>
              <a:spLocks noChangeAspect="1"/>
            </p:cNvSpPr>
            <p:nvPr/>
          </p:nvSpPr>
          <p:spPr bwMode="auto">
            <a:xfrm>
              <a:off x="1543050" y="2486025"/>
              <a:ext cx="14288" cy="28575"/>
            </a:xfrm>
            <a:custGeom>
              <a:avLst/>
              <a:gdLst>
                <a:gd name="T0" fmla="*/ 6123 w 7"/>
                <a:gd name="T1" fmla="*/ 1905 h 15"/>
                <a:gd name="T2" fmla="*/ 4082 w 7"/>
                <a:gd name="T3" fmla="*/ 17145 h 15"/>
                <a:gd name="T4" fmla="*/ 4082 w 7"/>
                <a:gd name="T5" fmla="*/ 28575 h 15"/>
                <a:gd name="T6" fmla="*/ 12247 w 7"/>
                <a:gd name="T7" fmla="*/ 17145 h 15"/>
                <a:gd name="T8" fmla="*/ 12247 w 7"/>
                <a:gd name="T9" fmla="*/ 7620 h 15"/>
                <a:gd name="T10" fmla="*/ 10206 w 7"/>
                <a:gd name="T11" fmla="*/ 1905 h 15"/>
                <a:gd name="T12" fmla="*/ 6123 w 7"/>
                <a:gd name="T13" fmla="*/ 1905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15"/>
                <a:gd name="T23" fmla="*/ 7 w 7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15">
                  <a:moveTo>
                    <a:pt x="3" y="1"/>
                  </a:moveTo>
                  <a:cubicBezTo>
                    <a:pt x="2" y="4"/>
                    <a:pt x="2" y="6"/>
                    <a:pt x="2" y="9"/>
                  </a:cubicBezTo>
                  <a:cubicBezTo>
                    <a:pt x="2" y="11"/>
                    <a:pt x="0" y="15"/>
                    <a:pt x="2" y="15"/>
                  </a:cubicBezTo>
                  <a:cubicBezTo>
                    <a:pt x="4" y="14"/>
                    <a:pt x="5" y="11"/>
                    <a:pt x="6" y="9"/>
                  </a:cubicBezTo>
                  <a:cubicBezTo>
                    <a:pt x="7" y="7"/>
                    <a:pt x="6" y="5"/>
                    <a:pt x="6" y="4"/>
                  </a:cubicBezTo>
                  <a:cubicBezTo>
                    <a:pt x="6" y="3"/>
                    <a:pt x="6" y="2"/>
                    <a:pt x="5" y="1"/>
                  </a:cubicBezTo>
                  <a:cubicBezTo>
                    <a:pt x="5" y="0"/>
                    <a:pt x="3" y="0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3" name="Freeform 1124"/>
            <p:cNvSpPr>
              <a:spLocks noChangeAspect="1"/>
            </p:cNvSpPr>
            <p:nvPr/>
          </p:nvSpPr>
          <p:spPr bwMode="auto">
            <a:xfrm>
              <a:off x="1527175" y="2470150"/>
              <a:ext cx="15875" cy="38100"/>
            </a:xfrm>
            <a:custGeom>
              <a:avLst/>
              <a:gdLst>
                <a:gd name="T0" fmla="*/ 1764 w 9"/>
                <a:gd name="T1" fmla="*/ 0 h 20"/>
                <a:gd name="T2" fmla="*/ 1764 w 9"/>
                <a:gd name="T3" fmla="*/ 5715 h 20"/>
                <a:gd name="T4" fmla="*/ 5292 w 9"/>
                <a:gd name="T5" fmla="*/ 26670 h 20"/>
                <a:gd name="T6" fmla="*/ 8819 w 9"/>
                <a:gd name="T7" fmla="*/ 38100 h 20"/>
                <a:gd name="T8" fmla="*/ 15875 w 9"/>
                <a:gd name="T9" fmla="*/ 24765 h 20"/>
                <a:gd name="T10" fmla="*/ 12347 w 9"/>
                <a:gd name="T11" fmla="*/ 5715 h 20"/>
                <a:gd name="T12" fmla="*/ 7056 w 9"/>
                <a:gd name="T13" fmla="*/ 1905 h 20"/>
                <a:gd name="T14" fmla="*/ 1764 w 9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"/>
                <a:gd name="T25" fmla="*/ 0 h 20"/>
                <a:gd name="T26" fmla="*/ 9 w 9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" h="20">
                  <a:moveTo>
                    <a:pt x="1" y="0"/>
                  </a:moveTo>
                  <a:cubicBezTo>
                    <a:pt x="0" y="1"/>
                    <a:pt x="1" y="2"/>
                    <a:pt x="1" y="3"/>
                  </a:cubicBezTo>
                  <a:cubicBezTo>
                    <a:pt x="1" y="7"/>
                    <a:pt x="3" y="10"/>
                    <a:pt x="3" y="14"/>
                  </a:cubicBezTo>
                  <a:cubicBezTo>
                    <a:pt x="4" y="16"/>
                    <a:pt x="3" y="20"/>
                    <a:pt x="5" y="20"/>
                  </a:cubicBezTo>
                  <a:cubicBezTo>
                    <a:pt x="7" y="19"/>
                    <a:pt x="8" y="15"/>
                    <a:pt x="9" y="13"/>
                  </a:cubicBezTo>
                  <a:cubicBezTo>
                    <a:pt x="9" y="10"/>
                    <a:pt x="8" y="6"/>
                    <a:pt x="7" y="3"/>
                  </a:cubicBezTo>
                  <a:cubicBezTo>
                    <a:pt x="7" y="2"/>
                    <a:pt x="6" y="2"/>
                    <a:pt x="4" y="1"/>
                  </a:cubicBezTo>
                  <a:cubicBezTo>
                    <a:pt x="3" y="0"/>
                    <a:pt x="2" y="0"/>
                    <a:pt x="1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4" name="Freeform 1125"/>
            <p:cNvSpPr>
              <a:spLocks noChangeAspect="1"/>
            </p:cNvSpPr>
            <p:nvPr/>
          </p:nvSpPr>
          <p:spPr bwMode="auto">
            <a:xfrm>
              <a:off x="1509713" y="2444750"/>
              <a:ext cx="38100" cy="28575"/>
            </a:xfrm>
            <a:custGeom>
              <a:avLst/>
              <a:gdLst>
                <a:gd name="T0" fmla="*/ 1905 w 20"/>
                <a:gd name="T1" fmla="*/ 3810 h 15"/>
                <a:gd name="T2" fmla="*/ 1905 w 20"/>
                <a:gd name="T3" fmla="*/ 9525 h 15"/>
                <a:gd name="T4" fmla="*/ 15240 w 20"/>
                <a:gd name="T5" fmla="*/ 26670 h 15"/>
                <a:gd name="T6" fmla="*/ 17145 w 20"/>
                <a:gd name="T7" fmla="*/ 20955 h 15"/>
                <a:gd name="T8" fmla="*/ 17145 w 20"/>
                <a:gd name="T9" fmla="*/ 17145 h 15"/>
                <a:gd name="T10" fmla="*/ 34290 w 20"/>
                <a:gd name="T11" fmla="*/ 22860 h 15"/>
                <a:gd name="T12" fmla="*/ 34290 w 20"/>
                <a:gd name="T13" fmla="*/ 15240 h 15"/>
                <a:gd name="T14" fmla="*/ 20955 w 20"/>
                <a:gd name="T15" fmla="*/ 9525 h 15"/>
                <a:gd name="T16" fmla="*/ 26670 w 20"/>
                <a:gd name="T17" fmla="*/ 9525 h 15"/>
                <a:gd name="T18" fmla="*/ 36195 w 20"/>
                <a:gd name="T19" fmla="*/ 11430 h 15"/>
                <a:gd name="T20" fmla="*/ 34290 w 20"/>
                <a:gd name="T21" fmla="*/ 3810 h 15"/>
                <a:gd name="T22" fmla="*/ 20955 w 20"/>
                <a:gd name="T23" fmla="*/ 0 h 15"/>
                <a:gd name="T24" fmla="*/ 7620 w 20"/>
                <a:gd name="T25" fmla="*/ 3810 h 15"/>
                <a:gd name="T26" fmla="*/ 1905 w 20"/>
                <a:gd name="T27" fmla="*/ 3810 h 1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"/>
                <a:gd name="T43" fmla="*/ 0 h 15"/>
                <a:gd name="T44" fmla="*/ 20 w 20"/>
                <a:gd name="T45" fmla="*/ 15 h 1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" h="15">
                  <a:moveTo>
                    <a:pt x="1" y="2"/>
                  </a:moveTo>
                  <a:cubicBezTo>
                    <a:pt x="0" y="3"/>
                    <a:pt x="0" y="4"/>
                    <a:pt x="1" y="5"/>
                  </a:cubicBezTo>
                  <a:cubicBezTo>
                    <a:pt x="3" y="8"/>
                    <a:pt x="5" y="12"/>
                    <a:pt x="8" y="14"/>
                  </a:cubicBezTo>
                  <a:cubicBezTo>
                    <a:pt x="9" y="15"/>
                    <a:pt x="9" y="12"/>
                    <a:pt x="9" y="11"/>
                  </a:cubicBezTo>
                  <a:cubicBezTo>
                    <a:pt x="9" y="11"/>
                    <a:pt x="8" y="9"/>
                    <a:pt x="9" y="9"/>
                  </a:cubicBezTo>
                  <a:cubicBezTo>
                    <a:pt x="12" y="10"/>
                    <a:pt x="15" y="12"/>
                    <a:pt x="18" y="12"/>
                  </a:cubicBezTo>
                  <a:cubicBezTo>
                    <a:pt x="19" y="12"/>
                    <a:pt x="19" y="9"/>
                    <a:pt x="18" y="8"/>
                  </a:cubicBezTo>
                  <a:cubicBezTo>
                    <a:pt x="16" y="6"/>
                    <a:pt x="13" y="6"/>
                    <a:pt x="11" y="5"/>
                  </a:cubicBezTo>
                  <a:cubicBezTo>
                    <a:pt x="10" y="4"/>
                    <a:pt x="13" y="5"/>
                    <a:pt x="14" y="5"/>
                  </a:cubicBezTo>
                  <a:cubicBezTo>
                    <a:pt x="16" y="5"/>
                    <a:pt x="17" y="7"/>
                    <a:pt x="19" y="6"/>
                  </a:cubicBezTo>
                  <a:cubicBezTo>
                    <a:pt x="20" y="6"/>
                    <a:pt x="19" y="3"/>
                    <a:pt x="18" y="2"/>
                  </a:cubicBezTo>
                  <a:cubicBezTo>
                    <a:pt x="17" y="1"/>
                    <a:pt x="14" y="0"/>
                    <a:pt x="11" y="0"/>
                  </a:cubicBezTo>
                  <a:cubicBezTo>
                    <a:pt x="9" y="0"/>
                    <a:pt x="7" y="2"/>
                    <a:pt x="4" y="2"/>
                  </a:cubicBezTo>
                  <a:cubicBezTo>
                    <a:pt x="3" y="3"/>
                    <a:pt x="2" y="2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5" name="Freeform 1126"/>
            <p:cNvSpPr>
              <a:spLocks noChangeAspect="1"/>
            </p:cNvSpPr>
            <p:nvPr/>
          </p:nvSpPr>
          <p:spPr bwMode="auto">
            <a:xfrm>
              <a:off x="1595438" y="2517775"/>
              <a:ext cx="19050" cy="26988"/>
            </a:xfrm>
            <a:custGeom>
              <a:avLst/>
              <a:gdLst>
                <a:gd name="T0" fmla="*/ 5715 w 10"/>
                <a:gd name="T1" fmla="*/ 5783 h 14"/>
                <a:gd name="T2" fmla="*/ 1905 w 10"/>
                <a:gd name="T3" fmla="*/ 19277 h 14"/>
                <a:gd name="T4" fmla="*/ 13335 w 10"/>
                <a:gd name="T5" fmla="*/ 25060 h 14"/>
                <a:gd name="T6" fmla="*/ 19050 w 10"/>
                <a:gd name="T7" fmla="*/ 9639 h 14"/>
                <a:gd name="T8" fmla="*/ 17145 w 10"/>
                <a:gd name="T9" fmla="*/ 1928 h 14"/>
                <a:gd name="T10" fmla="*/ 5715 w 10"/>
                <a:gd name="T11" fmla="*/ 5783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4"/>
                <a:gd name="T20" fmla="*/ 10 w 10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4">
                  <a:moveTo>
                    <a:pt x="3" y="3"/>
                  </a:moveTo>
                  <a:cubicBezTo>
                    <a:pt x="1" y="5"/>
                    <a:pt x="0" y="8"/>
                    <a:pt x="1" y="10"/>
                  </a:cubicBezTo>
                  <a:cubicBezTo>
                    <a:pt x="2" y="12"/>
                    <a:pt x="5" y="14"/>
                    <a:pt x="7" y="13"/>
                  </a:cubicBezTo>
                  <a:cubicBezTo>
                    <a:pt x="10" y="12"/>
                    <a:pt x="9" y="8"/>
                    <a:pt x="10" y="5"/>
                  </a:cubicBezTo>
                  <a:cubicBezTo>
                    <a:pt x="10" y="4"/>
                    <a:pt x="10" y="1"/>
                    <a:pt x="9" y="1"/>
                  </a:cubicBezTo>
                  <a:cubicBezTo>
                    <a:pt x="7" y="0"/>
                    <a:pt x="4" y="1"/>
                    <a:pt x="3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6" name="Freeform 1127"/>
            <p:cNvSpPr>
              <a:spLocks noChangeAspect="1"/>
            </p:cNvSpPr>
            <p:nvPr/>
          </p:nvSpPr>
          <p:spPr bwMode="auto">
            <a:xfrm>
              <a:off x="1576388" y="2506663"/>
              <a:ext cx="11112" cy="12700"/>
            </a:xfrm>
            <a:custGeom>
              <a:avLst/>
              <a:gdLst>
                <a:gd name="T0" fmla="*/ 5556 w 6"/>
                <a:gd name="T1" fmla="*/ 1814 h 7"/>
                <a:gd name="T2" fmla="*/ 0 w 6"/>
                <a:gd name="T3" fmla="*/ 5443 h 7"/>
                <a:gd name="T4" fmla="*/ 5556 w 6"/>
                <a:gd name="T5" fmla="*/ 10886 h 7"/>
                <a:gd name="T6" fmla="*/ 11112 w 6"/>
                <a:gd name="T7" fmla="*/ 7257 h 7"/>
                <a:gd name="T8" fmla="*/ 5556 w 6"/>
                <a:gd name="T9" fmla="*/ 1814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3" y="1"/>
                  </a:moveTo>
                  <a:cubicBezTo>
                    <a:pt x="2" y="0"/>
                    <a:pt x="0" y="2"/>
                    <a:pt x="0" y="3"/>
                  </a:cubicBezTo>
                  <a:cubicBezTo>
                    <a:pt x="0" y="4"/>
                    <a:pt x="2" y="6"/>
                    <a:pt x="3" y="6"/>
                  </a:cubicBezTo>
                  <a:cubicBezTo>
                    <a:pt x="4" y="7"/>
                    <a:pt x="6" y="5"/>
                    <a:pt x="6" y="4"/>
                  </a:cubicBezTo>
                  <a:cubicBezTo>
                    <a:pt x="6" y="2"/>
                    <a:pt x="5" y="1"/>
                    <a:pt x="3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7" name="Freeform 1128"/>
            <p:cNvSpPr>
              <a:spLocks noChangeAspect="1"/>
            </p:cNvSpPr>
            <p:nvPr/>
          </p:nvSpPr>
          <p:spPr bwMode="auto">
            <a:xfrm>
              <a:off x="1281113" y="2362200"/>
              <a:ext cx="28575" cy="23813"/>
            </a:xfrm>
            <a:custGeom>
              <a:avLst/>
              <a:gdLst>
                <a:gd name="T0" fmla="*/ 1905 w 15"/>
                <a:gd name="T1" fmla="*/ 18318 h 13"/>
                <a:gd name="T2" fmla="*/ 7620 w 15"/>
                <a:gd name="T3" fmla="*/ 23813 h 13"/>
                <a:gd name="T4" fmla="*/ 28575 w 15"/>
                <a:gd name="T5" fmla="*/ 1832 h 13"/>
                <a:gd name="T6" fmla="*/ 26670 w 15"/>
                <a:gd name="T7" fmla="*/ 0 h 13"/>
                <a:gd name="T8" fmla="*/ 1905 w 15"/>
                <a:gd name="T9" fmla="*/ 18318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13"/>
                <a:gd name="T17" fmla="*/ 15 w 15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13">
                  <a:moveTo>
                    <a:pt x="1" y="10"/>
                  </a:moveTo>
                  <a:cubicBezTo>
                    <a:pt x="0" y="11"/>
                    <a:pt x="3" y="13"/>
                    <a:pt x="4" y="13"/>
                  </a:cubicBezTo>
                  <a:cubicBezTo>
                    <a:pt x="8" y="10"/>
                    <a:pt x="11" y="5"/>
                    <a:pt x="15" y="1"/>
                  </a:cubicBezTo>
                  <a:cubicBezTo>
                    <a:pt x="15" y="1"/>
                    <a:pt x="15" y="0"/>
                    <a:pt x="14" y="0"/>
                  </a:cubicBezTo>
                  <a:cubicBezTo>
                    <a:pt x="10" y="3"/>
                    <a:pt x="5" y="6"/>
                    <a:pt x="1" y="1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8" name="Freeform 1129"/>
            <p:cNvSpPr>
              <a:spLocks noChangeAspect="1"/>
            </p:cNvSpPr>
            <p:nvPr/>
          </p:nvSpPr>
          <p:spPr bwMode="auto">
            <a:xfrm>
              <a:off x="1100138" y="2454275"/>
              <a:ext cx="65087" cy="41275"/>
            </a:xfrm>
            <a:custGeom>
              <a:avLst/>
              <a:gdLst>
                <a:gd name="T0" fmla="*/ 1914 w 34"/>
                <a:gd name="T1" fmla="*/ 11793 h 21"/>
                <a:gd name="T2" fmla="*/ 0 w 34"/>
                <a:gd name="T3" fmla="*/ 21620 h 21"/>
                <a:gd name="T4" fmla="*/ 3829 w 34"/>
                <a:gd name="T5" fmla="*/ 31448 h 21"/>
                <a:gd name="T6" fmla="*/ 3829 w 34"/>
                <a:gd name="T7" fmla="*/ 41275 h 21"/>
                <a:gd name="T8" fmla="*/ 13400 w 34"/>
                <a:gd name="T9" fmla="*/ 35379 h 21"/>
                <a:gd name="T10" fmla="*/ 22972 w 34"/>
                <a:gd name="T11" fmla="*/ 39310 h 21"/>
                <a:gd name="T12" fmla="*/ 40201 w 34"/>
                <a:gd name="T13" fmla="*/ 25551 h 21"/>
                <a:gd name="T14" fmla="*/ 61258 w 34"/>
                <a:gd name="T15" fmla="*/ 15724 h 21"/>
                <a:gd name="T16" fmla="*/ 59344 w 34"/>
                <a:gd name="T17" fmla="*/ 1965 h 21"/>
                <a:gd name="T18" fmla="*/ 47858 w 34"/>
                <a:gd name="T19" fmla="*/ 1965 h 21"/>
                <a:gd name="T20" fmla="*/ 36372 w 34"/>
                <a:gd name="T21" fmla="*/ 5896 h 21"/>
                <a:gd name="T22" fmla="*/ 28715 w 34"/>
                <a:gd name="T23" fmla="*/ 1965 h 21"/>
                <a:gd name="T24" fmla="*/ 24886 w 34"/>
                <a:gd name="T25" fmla="*/ 13758 h 21"/>
                <a:gd name="T26" fmla="*/ 21058 w 34"/>
                <a:gd name="T27" fmla="*/ 19655 h 21"/>
                <a:gd name="T28" fmla="*/ 21058 w 34"/>
                <a:gd name="T29" fmla="*/ 9827 h 21"/>
                <a:gd name="T30" fmla="*/ 9572 w 34"/>
                <a:gd name="T31" fmla="*/ 9827 h 21"/>
                <a:gd name="T32" fmla="*/ 1914 w 34"/>
                <a:gd name="T33" fmla="*/ 11793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21"/>
                <a:gd name="T53" fmla="*/ 34 w 34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21">
                  <a:moveTo>
                    <a:pt x="1" y="6"/>
                  </a:moveTo>
                  <a:cubicBezTo>
                    <a:pt x="0" y="8"/>
                    <a:pt x="0" y="9"/>
                    <a:pt x="0" y="11"/>
                  </a:cubicBezTo>
                  <a:cubicBezTo>
                    <a:pt x="0" y="13"/>
                    <a:pt x="1" y="14"/>
                    <a:pt x="2" y="16"/>
                  </a:cubicBezTo>
                  <a:cubicBezTo>
                    <a:pt x="2" y="17"/>
                    <a:pt x="0" y="20"/>
                    <a:pt x="2" y="21"/>
                  </a:cubicBezTo>
                  <a:cubicBezTo>
                    <a:pt x="4" y="21"/>
                    <a:pt x="5" y="18"/>
                    <a:pt x="7" y="18"/>
                  </a:cubicBezTo>
                  <a:cubicBezTo>
                    <a:pt x="9" y="18"/>
                    <a:pt x="10" y="21"/>
                    <a:pt x="12" y="20"/>
                  </a:cubicBezTo>
                  <a:cubicBezTo>
                    <a:pt x="15" y="19"/>
                    <a:pt x="18" y="15"/>
                    <a:pt x="21" y="13"/>
                  </a:cubicBezTo>
                  <a:cubicBezTo>
                    <a:pt x="25" y="11"/>
                    <a:pt x="30" y="11"/>
                    <a:pt x="32" y="8"/>
                  </a:cubicBezTo>
                  <a:cubicBezTo>
                    <a:pt x="34" y="7"/>
                    <a:pt x="33" y="3"/>
                    <a:pt x="31" y="1"/>
                  </a:cubicBezTo>
                  <a:cubicBezTo>
                    <a:pt x="30" y="0"/>
                    <a:pt x="27" y="0"/>
                    <a:pt x="25" y="1"/>
                  </a:cubicBezTo>
                  <a:cubicBezTo>
                    <a:pt x="23" y="1"/>
                    <a:pt x="21" y="3"/>
                    <a:pt x="19" y="3"/>
                  </a:cubicBezTo>
                  <a:cubicBezTo>
                    <a:pt x="18" y="3"/>
                    <a:pt x="16" y="0"/>
                    <a:pt x="15" y="1"/>
                  </a:cubicBezTo>
                  <a:cubicBezTo>
                    <a:pt x="13" y="2"/>
                    <a:pt x="14" y="5"/>
                    <a:pt x="13" y="7"/>
                  </a:cubicBezTo>
                  <a:cubicBezTo>
                    <a:pt x="13" y="8"/>
                    <a:pt x="13" y="11"/>
                    <a:pt x="11" y="10"/>
                  </a:cubicBezTo>
                  <a:cubicBezTo>
                    <a:pt x="10" y="9"/>
                    <a:pt x="12" y="6"/>
                    <a:pt x="11" y="5"/>
                  </a:cubicBezTo>
                  <a:cubicBezTo>
                    <a:pt x="9" y="4"/>
                    <a:pt x="7" y="5"/>
                    <a:pt x="5" y="5"/>
                  </a:cubicBezTo>
                  <a:cubicBezTo>
                    <a:pt x="4" y="6"/>
                    <a:pt x="2" y="5"/>
                    <a:pt x="1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29" name="Freeform 1130"/>
            <p:cNvSpPr>
              <a:spLocks noChangeAspect="1"/>
            </p:cNvSpPr>
            <p:nvPr/>
          </p:nvSpPr>
          <p:spPr bwMode="auto">
            <a:xfrm>
              <a:off x="1146175" y="2435225"/>
              <a:ext cx="30163" cy="17463"/>
            </a:xfrm>
            <a:custGeom>
              <a:avLst/>
              <a:gdLst>
                <a:gd name="T0" fmla="*/ 18852 w 16"/>
                <a:gd name="T1" fmla="*/ 0 h 9"/>
                <a:gd name="T2" fmla="*/ 1885 w 16"/>
                <a:gd name="T3" fmla="*/ 11642 h 9"/>
                <a:gd name="T4" fmla="*/ 9426 w 16"/>
                <a:gd name="T5" fmla="*/ 17463 h 9"/>
                <a:gd name="T6" fmla="*/ 28278 w 16"/>
                <a:gd name="T7" fmla="*/ 9702 h 9"/>
                <a:gd name="T8" fmla="*/ 20737 w 16"/>
                <a:gd name="T9" fmla="*/ 3881 h 9"/>
                <a:gd name="T10" fmla="*/ 18852 w 16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9"/>
                <a:gd name="T20" fmla="*/ 16 w 1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9">
                  <a:moveTo>
                    <a:pt x="10" y="0"/>
                  </a:moveTo>
                  <a:cubicBezTo>
                    <a:pt x="7" y="2"/>
                    <a:pt x="3" y="3"/>
                    <a:pt x="1" y="6"/>
                  </a:cubicBezTo>
                  <a:cubicBezTo>
                    <a:pt x="0" y="7"/>
                    <a:pt x="3" y="9"/>
                    <a:pt x="5" y="9"/>
                  </a:cubicBezTo>
                  <a:cubicBezTo>
                    <a:pt x="8" y="9"/>
                    <a:pt x="13" y="8"/>
                    <a:pt x="15" y="5"/>
                  </a:cubicBezTo>
                  <a:cubicBezTo>
                    <a:pt x="16" y="4"/>
                    <a:pt x="12" y="3"/>
                    <a:pt x="11" y="2"/>
                  </a:cubicBezTo>
                  <a:cubicBezTo>
                    <a:pt x="10" y="2"/>
                    <a:pt x="10" y="0"/>
                    <a:pt x="10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0" name="Freeform 1131"/>
            <p:cNvSpPr>
              <a:spLocks noChangeAspect="1"/>
            </p:cNvSpPr>
            <p:nvPr/>
          </p:nvSpPr>
          <p:spPr bwMode="auto">
            <a:xfrm>
              <a:off x="846138" y="2549525"/>
              <a:ext cx="36512" cy="23813"/>
            </a:xfrm>
            <a:custGeom>
              <a:avLst/>
              <a:gdLst>
                <a:gd name="T0" fmla="*/ 36512 w 19"/>
                <a:gd name="T1" fmla="*/ 0 h 12"/>
                <a:gd name="T2" fmla="*/ 36512 w 19"/>
                <a:gd name="T3" fmla="*/ 11907 h 12"/>
                <a:gd name="T4" fmla="*/ 15373 w 19"/>
                <a:gd name="T5" fmla="*/ 15875 h 12"/>
                <a:gd name="T6" fmla="*/ 3843 w 19"/>
                <a:gd name="T7" fmla="*/ 23813 h 12"/>
                <a:gd name="T8" fmla="*/ 1922 w 19"/>
                <a:gd name="T9" fmla="*/ 17860 h 12"/>
                <a:gd name="T10" fmla="*/ 13452 w 19"/>
                <a:gd name="T11" fmla="*/ 5953 h 12"/>
                <a:gd name="T12" fmla="*/ 24982 w 19"/>
                <a:gd name="T13" fmla="*/ 3969 h 12"/>
                <a:gd name="T14" fmla="*/ 36512 w 19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12"/>
                <a:gd name="T26" fmla="*/ 19 w 19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12">
                  <a:moveTo>
                    <a:pt x="19" y="0"/>
                  </a:moveTo>
                  <a:cubicBezTo>
                    <a:pt x="19" y="2"/>
                    <a:pt x="19" y="4"/>
                    <a:pt x="19" y="6"/>
                  </a:cubicBezTo>
                  <a:cubicBezTo>
                    <a:pt x="16" y="7"/>
                    <a:pt x="12" y="7"/>
                    <a:pt x="8" y="8"/>
                  </a:cubicBezTo>
                  <a:cubicBezTo>
                    <a:pt x="6" y="9"/>
                    <a:pt x="5" y="12"/>
                    <a:pt x="2" y="12"/>
                  </a:cubicBezTo>
                  <a:cubicBezTo>
                    <a:pt x="1" y="12"/>
                    <a:pt x="0" y="10"/>
                    <a:pt x="1" y="9"/>
                  </a:cubicBezTo>
                  <a:cubicBezTo>
                    <a:pt x="2" y="6"/>
                    <a:pt x="5" y="4"/>
                    <a:pt x="7" y="3"/>
                  </a:cubicBezTo>
                  <a:cubicBezTo>
                    <a:pt x="9" y="2"/>
                    <a:pt x="11" y="2"/>
                    <a:pt x="13" y="2"/>
                  </a:cubicBezTo>
                  <a:cubicBezTo>
                    <a:pt x="15" y="1"/>
                    <a:pt x="17" y="0"/>
                    <a:pt x="19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1" name="Freeform 1132"/>
            <p:cNvSpPr>
              <a:spLocks noChangeAspect="1"/>
            </p:cNvSpPr>
            <p:nvPr/>
          </p:nvSpPr>
          <p:spPr bwMode="auto">
            <a:xfrm>
              <a:off x="769938" y="2581275"/>
              <a:ext cx="39687" cy="28575"/>
            </a:xfrm>
            <a:custGeom>
              <a:avLst/>
              <a:gdLst>
                <a:gd name="T0" fmla="*/ 37797 w 21"/>
                <a:gd name="T1" fmla="*/ 11430 h 15"/>
                <a:gd name="T2" fmla="*/ 1890 w 21"/>
                <a:gd name="T3" fmla="*/ 26670 h 15"/>
                <a:gd name="T4" fmla="*/ 3780 w 21"/>
                <a:gd name="T5" fmla="*/ 20955 h 15"/>
                <a:gd name="T6" fmla="*/ 17009 w 21"/>
                <a:gd name="T7" fmla="*/ 15240 h 15"/>
                <a:gd name="T8" fmla="*/ 26458 w 21"/>
                <a:gd name="T9" fmla="*/ 9525 h 15"/>
                <a:gd name="T10" fmla="*/ 17009 w 21"/>
                <a:gd name="T11" fmla="*/ 3810 h 15"/>
                <a:gd name="T12" fmla="*/ 34017 w 21"/>
                <a:gd name="T13" fmla="*/ 1905 h 15"/>
                <a:gd name="T14" fmla="*/ 32128 w 21"/>
                <a:gd name="T15" fmla="*/ 9525 h 15"/>
                <a:gd name="T16" fmla="*/ 37797 w 21"/>
                <a:gd name="T17" fmla="*/ 1143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"/>
                <a:gd name="T28" fmla="*/ 0 h 15"/>
                <a:gd name="T29" fmla="*/ 21 w 21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" h="15">
                  <a:moveTo>
                    <a:pt x="20" y="6"/>
                  </a:moveTo>
                  <a:cubicBezTo>
                    <a:pt x="14" y="10"/>
                    <a:pt x="7" y="12"/>
                    <a:pt x="1" y="14"/>
                  </a:cubicBezTo>
                  <a:cubicBezTo>
                    <a:pt x="0" y="15"/>
                    <a:pt x="1" y="12"/>
                    <a:pt x="2" y="11"/>
                  </a:cubicBezTo>
                  <a:cubicBezTo>
                    <a:pt x="4" y="10"/>
                    <a:pt x="7" y="9"/>
                    <a:pt x="9" y="8"/>
                  </a:cubicBezTo>
                  <a:cubicBezTo>
                    <a:pt x="11" y="7"/>
                    <a:pt x="14" y="7"/>
                    <a:pt x="14" y="5"/>
                  </a:cubicBezTo>
                  <a:cubicBezTo>
                    <a:pt x="14" y="3"/>
                    <a:pt x="8" y="3"/>
                    <a:pt x="9" y="2"/>
                  </a:cubicBezTo>
                  <a:cubicBezTo>
                    <a:pt x="11" y="0"/>
                    <a:pt x="15" y="0"/>
                    <a:pt x="18" y="1"/>
                  </a:cubicBezTo>
                  <a:cubicBezTo>
                    <a:pt x="19" y="1"/>
                    <a:pt x="16" y="3"/>
                    <a:pt x="17" y="5"/>
                  </a:cubicBezTo>
                  <a:cubicBezTo>
                    <a:pt x="17" y="6"/>
                    <a:pt x="21" y="6"/>
                    <a:pt x="20" y="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2" name="Freeform 1133"/>
            <p:cNvSpPr>
              <a:spLocks noChangeAspect="1"/>
            </p:cNvSpPr>
            <p:nvPr/>
          </p:nvSpPr>
          <p:spPr bwMode="auto">
            <a:xfrm>
              <a:off x="738188" y="2592388"/>
              <a:ext cx="31750" cy="26987"/>
            </a:xfrm>
            <a:custGeom>
              <a:avLst/>
              <a:gdLst>
                <a:gd name="T0" fmla="*/ 0 w 17"/>
                <a:gd name="T1" fmla="*/ 26987 h 14"/>
                <a:gd name="T2" fmla="*/ 18676 w 17"/>
                <a:gd name="T3" fmla="*/ 13494 h 14"/>
                <a:gd name="T4" fmla="*/ 31750 w 17"/>
                <a:gd name="T5" fmla="*/ 3855 h 14"/>
                <a:gd name="T6" fmla="*/ 22412 w 17"/>
                <a:gd name="T7" fmla="*/ 1928 h 14"/>
                <a:gd name="T8" fmla="*/ 18676 w 17"/>
                <a:gd name="T9" fmla="*/ 13494 h 14"/>
                <a:gd name="T10" fmla="*/ 9338 w 17"/>
                <a:gd name="T11" fmla="*/ 13494 h 14"/>
                <a:gd name="T12" fmla="*/ 0 w 17"/>
                <a:gd name="T13" fmla="*/ 2698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4"/>
                <a:gd name="T23" fmla="*/ 17 w 17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4">
                  <a:moveTo>
                    <a:pt x="0" y="14"/>
                  </a:moveTo>
                  <a:cubicBezTo>
                    <a:pt x="4" y="14"/>
                    <a:pt x="7" y="10"/>
                    <a:pt x="10" y="7"/>
                  </a:cubicBezTo>
                  <a:cubicBezTo>
                    <a:pt x="13" y="6"/>
                    <a:pt x="16" y="5"/>
                    <a:pt x="17" y="2"/>
                  </a:cubicBezTo>
                  <a:cubicBezTo>
                    <a:pt x="17" y="0"/>
                    <a:pt x="14" y="0"/>
                    <a:pt x="12" y="1"/>
                  </a:cubicBezTo>
                  <a:cubicBezTo>
                    <a:pt x="11" y="2"/>
                    <a:pt x="12" y="5"/>
                    <a:pt x="10" y="7"/>
                  </a:cubicBezTo>
                  <a:cubicBezTo>
                    <a:pt x="9" y="8"/>
                    <a:pt x="6" y="6"/>
                    <a:pt x="5" y="7"/>
                  </a:cubicBezTo>
                  <a:cubicBezTo>
                    <a:pt x="3" y="9"/>
                    <a:pt x="1" y="11"/>
                    <a:pt x="0" y="1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3" name="Freeform 1134"/>
            <p:cNvSpPr>
              <a:spLocks noChangeAspect="1"/>
            </p:cNvSpPr>
            <p:nvPr/>
          </p:nvSpPr>
          <p:spPr bwMode="auto">
            <a:xfrm>
              <a:off x="581025" y="2635250"/>
              <a:ext cx="36513" cy="19050"/>
            </a:xfrm>
            <a:custGeom>
              <a:avLst/>
              <a:gdLst>
                <a:gd name="T0" fmla="*/ 32670 w 19"/>
                <a:gd name="T1" fmla="*/ 1905 h 10"/>
                <a:gd name="T2" fmla="*/ 34591 w 19"/>
                <a:gd name="T3" fmla="*/ 9525 h 10"/>
                <a:gd name="T4" fmla="*/ 21139 w 19"/>
                <a:gd name="T5" fmla="*/ 13335 h 10"/>
                <a:gd name="T6" fmla="*/ 3843 w 19"/>
                <a:gd name="T7" fmla="*/ 15240 h 10"/>
                <a:gd name="T8" fmla="*/ 28826 w 19"/>
                <a:gd name="T9" fmla="*/ 5715 h 10"/>
                <a:gd name="T10" fmla="*/ 32670 w 19"/>
                <a:gd name="T11" fmla="*/ 1905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0"/>
                <a:gd name="T20" fmla="*/ 19 w 19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0">
                  <a:moveTo>
                    <a:pt x="17" y="1"/>
                  </a:moveTo>
                  <a:cubicBezTo>
                    <a:pt x="18" y="1"/>
                    <a:pt x="19" y="4"/>
                    <a:pt x="18" y="5"/>
                  </a:cubicBezTo>
                  <a:cubicBezTo>
                    <a:pt x="17" y="7"/>
                    <a:pt x="13" y="6"/>
                    <a:pt x="11" y="7"/>
                  </a:cubicBezTo>
                  <a:cubicBezTo>
                    <a:pt x="8" y="8"/>
                    <a:pt x="0" y="10"/>
                    <a:pt x="2" y="8"/>
                  </a:cubicBezTo>
                  <a:cubicBezTo>
                    <a:pt x="6" y="5"/>
                    <a:pt x="11" y="5"/>
                    <a:pt x="15" y="3"/>
                  </a:cubicBezTo>
                  <a:cubicBezTo>
                    <a:pt x="16" y="2"/>
                    <a:pt x="16" y="0"/>
                    <a:pt x="17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4" name="Freeform 1135"/>
            <p:cNvSpPr>
              <a:spLocks noChangeAspect="1"/>
            </p:cNvSpPr>
            <p:nvPr/>
          </p:nvSpPr>
          <p:spPr bwMode="auto">
            <a:xfrm>
              <a:off x="560388" y="2647950"/>
              <a:ext cx="11112" cy="11113"/>
            </a:xfrm>
            <a:custGeom>
              <a:avLst/>
              <a:gdLst>
                <a:gd name="T0" fmla="*/ 5556 w 6"/>
                <a:gd name="T1" fmla="*/ 0 h 6"/>
                <a:gd name="T2" fmla="*/ 1852 w 6"/>
                <a:gd name="T3" fmla="*/ 3704 h 6"/>
                <a:gd name="T4" fmla="*/ 5556 w 6"/>
                <a:gd name="T5" fmla="*/ 9261 h 6"/>
                <a:gd name="T6" fmla="*/ 11112 w 6"/>
                <a:gd name="T7" fmla="*/ 3704 h 6"/>
                <a:gd name="T8" fmla="*/ 5556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0"/>
                  </a:moveTo>
                  <a:cubicBezTo>
                    <a:pt x="2" y="0"/>
                    <a:pt x="0" y="1"/>
                    <a:pt x="1" y="2"/>
                  </a:cubicBezTo>
                  <a:cubicBezTo>
                    <a:pt x="1" y="4"/>
                    <a:pt x="2" y="6"/>
                    <a:pt x="3" y="5"/>
                  </a:cubicBezTo>
                  <a:cubicBezTo>
                    <a:pt x="5" y="5"/>
                    <a:pt x="6" y="3"/>
                    <a:pt x="6" y="2"/>
                  </a:cubicBezTo>
                  <a:cubicBezTo>
                    <a:pt x="6" y="0"/>
                    <a:pt x="4" y="0"/>
                    <a:pt x="3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5" name="Freeform 1136"/>
            <p:cNvSpPr>
              <a:spLocks noChangeAspect="1"/>
            </p:cNvSpPr>
            <p:nvPr/>
          </p:nvSpPr>
          <p:spPr bwMode="auto">
            <a:xfrm>
              <a:off x="541338" y="2654300"/>
              <a:ext cx="19050" cy="15875"/>
            </a:xfrm>
            <a:custGeom>
              <a:avLst/>
              <a:gdLst>
                <a:gd name="T0" fmla="*/ 9525 w 10"/>
                <a:gd name="T1" fmla="*/ 1984 h 8"/>
                <a:gd name="T2" fmla="*/ 9525 w 10"/>
                <a:gd name="T3" fmla="*/ 5953 h 8"/>
                <a:gd name="T4" fmla="*/ 1905 w 10"/>
                <a:gd name="T5" fmla="*/ 11906 h 8"/>
                <a:gd name="T6" fmla="*/ 13335 w 10"/>
                <a:gd name="T7" fmla="*/ 9922 h 8"/>
                <a:gd name="T8" fmla="*/ 17145 w 10"/>
                <a:gd name="T9" fmla="*/ 1984 h 8"/>
                <a:gd name="T10" fmla="*/ 9525 w 10"/>
                <a:gd name="T11" fmla="*/ 1984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8"/>
                <a:gd name="T20" fmla="*/ 10 w 10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8">
                  <a:moveTo>
                    <a:pt x="5" y="1"/>
                  </a:moveTo>
                  <a:cubicBezTo>
                    <a:pt x="4" y="1"/>
                    <a:pt x="5" y="2"/>
                    <a:pt x="5" y="3"/>
                  </a:cubicBezTo>
                  <a:cubicBezTo>
                    <a:pt x="4" y="4"/>
                    <a:pt x="0" y="5"/>
                    <a:pt x="1" y="6"/>
                  </a:cubicBezTo>
                  <a:cubicBezTo>
                    <a:pt x="2" y="8"/>
                    <a:pt x="5" y="6"/>
                    <a:pt x="7" y="5"/>
                  </a:cubicBezTo>
                  <a:cubicBezTo>
                    <a:pt x="8" y="5"/>
                    <a:pt x="10" y="3"/>
                    <a:pt x="9" y="1"/>
                  </a:cubicBezTo>
                  <a:cubicBezTo>
                    <a:pt x="8" y="0"/>
                    <a:pt x="6" y="0"/>
                    <a:pt x="5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6" name="Freeform 1137"/>
            <p:cNvSpPr>
              <a:spLocks noChangeAspect="1"/>
            </p:cNvSpPr>
            <p:nvPr/>
          </p:nvSpPr>
          <p:spPr bwMode="auto">
            <a:xfrm>
              <a:off x="514350" y="2654300"/>
              <a:ext cx="14288" cy="14288"/>
            </a:xfrm>
            <a:custGeom>
              <a:avLst/>
              <a:gdLst>
                <a:gd name="T0" fmla="*/ 10206 w 7"/>
                <a:gd name="T1" fmla="*/ 0 h 7"/>
                <a:gd name="T2" fmla="*/ 12247 w 7"/>
                <a:gd name="T3" fmla="*/ 6123 h 7"/>
                <a:gd name="T4" fmla="*/ 4082 w 7"/>
                <a:gd name="T5" fmla="*/ 12247 h 7"/>
                <a:gd name="T6" fmla="*/ 0 w 7"/>
                <a:gd name="T7" fmla="*/ 10206 h 7"/>
                <a:gd name="T8" fmla="*/ 4082 w 7"/>
                <a:gd name="T9" fmla="*/ 4082 h 7"/>
                <a:gd name="T10" fmla="*/ 4082 w 7"/>
                <a:gd name="T11" fmla="*/ 2041 h 7"/>
                <a:gd name="T12" fmla="*/ 10206 w 7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"/>
                <a:gd name="T22" fmla="*/ 0 h 7"/>
                <a:gd name="T23" fmla="*/ 7 w 7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" h="7">
                  <a:moveTo>
                    <a:pt x="5" y="0"/>
                  </a:moveTo>
                  <a:cubicBezTo>
                    <a:pt x="6" y="1"/>
                    <a:pt x="7" y="2"/>
                    <a:pt x="6" y="3"/>
                  </a:cubicBezTo>
                  <a:cubicBezTo>
                    <a:pt x="6" y="5"/>
                    <a:pt x="4" y="6"/>
                    <a:pt x="2" y="6"/>
                  </a:cubicBezTo>
                  <a:cubicBezTo>
                    <a:pt x="1" y="7"/>
                    <a:pt x="0" y="6"/>
                    <a:pt x="0" y="5"/>
                  </a:cubicBezTo>
                  <a:cubicBezTo>
                    <a:pt x="0" y="4"/>
                    <a:pt x="2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7" name="Freeform 1138"/>
            <p:cNvSpPr>
              <a:spLocks noChangeAspect="1"/>
            </p:cNvSpPr>
            <p:nvPr/>
          </p:nvSpPr>
          <p:spPr bwMode="auto">
            <a:xfrm>
              <a:off x="430213" y="2657475"/>
              <a:ext cx="17462" cy="14288"/>
            </a:xfrm>
            <a:custGeom>
              <a:avLst/>
              <a:gdLst>
                <a:gd name="T0" fmla="*/ 3880 w 9"/>
                <a:gd name="T1" fmla="*/ 0 h 8"/>
                <a:gd name="T2" fmla="*/ 17462 w 9"/>
                <a:gd name="T3" fmla="*/ 12502 h 8"/>
                <a:gd name="T4" fmla="*/ 13582 w 9"/>
                <a:gd name="T5" fmla="*/ 12502 h 8"/>
                <a:gd name="T6" fmla="*/ 0 w 9"/>
                <a:gd name="T7" fmla="*/ 1786 h 8"/>
                <a:gd name="T8" fmla="*/ 3880 w 9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8"/>
                <a:gd name="T17" fmla="*/ 9 w 9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8">
                  <a:moveTo>
                    <a:pt x="2" y="0"/>
                  </a:moveTo>
                  <a:cubicBezTo>
                    <a:pt x="5" y="2"/>
                    <a:pt x="7" y="4"/>
                    <a:pt x="9" y="7"/>
                  </a:cubicBezTo>
                  <a:cubicBezTo>
                    <a:pt x="9" y="7"/>
                    <a:pt x="7" y="8"/>
                    <a:pt x="7" y="7"/>
                  </a:cubicBezTo>
                  <a:cubicBezTo>
                    <a:pt x="4" y="6"/>
                    <a:pt x="2" y="4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8" name="Freeform 1139"/>
            <p:cNvSpPr>
              <a:spLocks noChangeAspect="1"/>
            </p:cNvSpPr>
            <p:nvPr/>
          </p:nvSpPr>
          <p:spPr bwMode="auto">
            <a:xfrm>
              <a:off x="396875" y="2643188"/>
              <a:ext cx="22225" cy="11112"/>
            </a:xfrm>
            <a:custGeom>
              <a:avLst/>
              <a:gdLst>
                <a:gd name="T0" fmla="*/ 18521 w 12"/>
                <a:gd name="T1" fmla="*/ 5556 h 6"/>
                <a:gd name="T2" fmla="*/ 20373 w 12"/>
                <a:gd name="T3" fmla="*/ 1852 h 6"/>
                <a:gd name="T4" fmla="*/ 11113 w 12"/>
                <a:gd name="T5" fmla="*/ 3704 h 6"/>
                <a:gd name="T6" fmla="*/ 3704 w 12"/>
                <a:gd name="T7" fmla="*/ 9260 h 6"/>
                <a:gd name="T8" fmla="*/ 18521 w 12"/>
                <a:gd name="T9" fmla="*/ 555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"/>
                <a:gd name="T16" fmla="*/ 0 h 6"/>
                <a:gd name="T17" fmla="*/ 12 w 1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" h="6">
                  <a:moveTo>
                    <a:pt x="10" y="3"/>
                  </a:moveTo>
                  <a:cubicBezTo>
                    <a:pt x="11" y="3"/>
                    <a:pt x="12" y="1"/>
                    <a:pt x="11" y="1"/>
                  </a:cubicBezTo>
                  <a:cubicBezTo>
                    <a:pt x="9" y="0"/>
                    <a:pt x="8" y="1"/>
                    <a:pt x="6" y="2"/>
                  </a:cubicBezTo>
                  <a:cubicBezTo>
                    <a:pt x="5" y="3"/>
                    <a:pt x="0" y="5"/>
                    <a:pt x="2" y="5"/>
                  </a:cubicBezTo>
                  <a:cubicBezTo>
                    <a:pt x="5" y="6"/>
                    <a:pt x="8" y="4"/>
                    <a:pt x="10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39" name="Freeform 1140"/>
            <p:cNvSpPr>
              <a:spLocks noChangeAspect="1"/>
            </p:cNvSpPr>
            <p:nvPr/>
          </p:nvSpPr>
          <p:spPr bwMode="auto">
            <a:xfrm>
              <a:off x="860425" y="2359025"/>
              <a:ext cx="38100" cy="26988"/>
            </a:xfrm>
            <a:custGeom>
              <a:avLst/>
              <a:gdLst>
                <a:gd name="T0" fmla="*/ 1905 w 20"/>
                <a:gd name="T1" fmla="*/ 7711 h 14"/>
                <a:gd name="T2" fmla="*/ 1905 w 20"/>
                <a:gd name="T3" fmla="*/ 15422 h 14"/>
                <a:gd name="T4" fmla="*/ 19050 w 20"/>
                <a:gd name="T5" fmla="*/ 26988 h 14"/>
                <a:gd name="T6" fmla="*/ 26670 w 20"/>
                <a:gd name="T7" fmla="*/ 21205 h 14"/>
                <a:gd name="T8" fmla="*/ 32385 w 20"/>
                <a:gd name="T9" fmla="*/ 21205 h 14"/>
                <a:gd name="T10" fmla="*/ 38100 w 20"/>
                <a:gd name="T11" fmla="*/ 3855 h 14"/>
                <a:gd name="T12" fmla="*/ 32385 w 20"/>
                <a:gd name="T13" fmla="*/ 1928 h 14"/>
                <a:gd name="T14" fmla="*/ 17145 w 20"/>
                <a:gd name="T15" fmla="*/ 9639 h 14"/>
                <a:gd name="T16" fmla="*/ 1905 w 20"/>
                <a:gd name="T17" fmla="*/ 7711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1" y="4"/>
                  </a:moveTo>
                  <a:cubicBezTo>
                    <a:pt x="0" y="4"/>
                    <a:pt x="1" y="7"/>
                    <a:pt x="1" y="8"/>
                  </a:cubicBezTo>
                  <a:cubicBezTo>
                    <a:pt x="4" y="10"/>
                    <a:pt x="6" y="13"/>
                    <a:pt x="10" y="14"/>
                  </a:cubicBezTo>
                  <a:cubicBezTo>
                    <a:pt x="11" y="14"/>
                    <a:pt x="13" y="12"/>
                    <a:pt x="14" y="11"/>
                  </a:cubicBezTo>
                  <a:cubicBezTo>
                    <a:pt x="15" y="11"/>
                    <a:pt x="17" y="12"/>
                    <a:pt x="17" y="11"/>
                  </a:cubicBezTo>
                  <a:cubicBezTo>
                    <a:pt x="19" y="8"/>
                    <a:pt x="20" y="5"/>
                    <a:pt x="20" y="2"/>
                  </a:cubicBezTo>
                  <a:cubicBezTo>
                    <a:pt x="20" y="1"/>
                    <a:pt x="18" y="0"/>
                    <a:pt x="17" y="1"/>
                  </a:cubicBezTo>
                  <a:cubicBezTo>
                    <a:pt x="14" y="1"/>
                    <a:pt x="12" y="4"/>
                    <a:pt x="9" y="5"/>
                  </a:cubicBezTo>
                  <a:cubicBezTo>
                    <a:pt x="6" y="5"/>
                    <a:pt x="4" y="3"/>
                    <a:pt x="1" y="4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0" name="Freeform 1141"/>
            <p:cNvSpPr>
              <a:spLocks noChangeAspect="1"/>
            </p:cNvSpPr>
            <p:nvPr/>
          </p:nvSpPr>
          <p:spPr bwMode="auto">
            <a:xfrm>
              <a:off x="722313" y="3573463"/>
              <a:ext cx="17462" cy="15875"/>
            </a:xfrm>
            <a:custGeom>
              <a:avLst/>
              <a:gdLst>
                <a:gd name="T0" fmla="*/ 1940 w 9"/>
                <a:gd name="T1" fmla="*/ 1984 h 8"/>
                <a:gd name="T2" fmla="*/ 1940 w 9"/>
                <a:gd name="T3" fmla="*/ 11906 h 8"/>
                <a:gd name="T4" fmla="*/ 11641 w 9"/>
                <a:gd name="T5" fmla="*/ 13891 h 8"/>
                <a:gd name="T6" fmla="*/ 13582 w 9"/>
                <a:gd name="T7" fmla="*/ 3969 h 8"/>
                <a:gd name="T8" fmla="*/ 1940 w 9"/>
                <a:gd name="T9" fmla="*/ 1984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8"/>
                <a:gd name="T17" fmla="*/ 9 w 9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8">
                  <a:moveTo>
                    <a:pt x="1" y="1"/>
                  </a:moveTo>
                  <a:cubicBezTo>
                    <a:pt x="0" y="2"/>
                    <a:pt x="0" y="5"/>
                    <a:pt x="1" y="6"/>
                  </a:cubicBezTo>
                  <a:cubicBezTo>
                    <a:pt x="2" y="7"/>
                    <a:pt x="5" y="8"/>
                    <a:pt x="6" y="7"/>
                  </a:cubicBezTo>
                  <a:cubicBezTo>
                    <a:pt x="8" y="6"/>
                    <a:pt x="9" y="3"/>
                    <a:pt x="7" y="2"/>
                  </a:cubicBezTo>
                  <a:cubicBezTo>
                    <a:pt x="6" y="0"/>
                    <a:pt x="3" y="0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1" name="Freeform 1142"/>
            <p:cNvSpPr>
              <a:spLocks noChangeAspect="1"/>
            </p:cNvSpPr>
            <p:nvPr/>
          </p:nvSpPr>
          <p:spPr bwMode="auto">
            <a:xfrm>
              <a:off x="757238" y="3589338"/>
              <a:ext cx="19050" cy="12700"/>
            </a:xfrm>
            <a:custGeom>
              <a:avLst/>
              <a:gdLst>
                <a:gd name="T0" fmla="*/ 1905 w 10"/>
                <a:gd name="T1" fmla="*/ 3629 h 7"/>
                <a:gd name="T2" fmla="*/ 11430 w 10"/>
                <a:gd name="T3" fmla="*/ 0 h 7"/>
                <a:gd name="T4" fmla="*/ 19050 w 10"/>
                <a:gd name="T5" fmla="*/ 10886 h 7"/>
                <a:gd name="T6" fmla="*/ 9525 w 10"/>
                <a:gd name="T7" fmla="*/ 10886 h 7"/>
                <a:gd name="T8" fmla="*/ 1905 w 10"/>
                <a:gd name="T9" fmla="*/ 3629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7"/>
                <a:gd name="T17" fmla="*/ 10 w 10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7">
                  <a:moveTo>
                    <a:pt x="1" y="2"/>
                  </a:moveTo>
                  <a:cubicBezTo>
                    <a:pt x="1" y="0"/>
                    <a:pt x="4" y="0"/>
                    <a:pt x="6" y="0"/>
                  </a:cubicBezTo>
                  <a:cubicBezTo>
                    <a:pt x="8" y="1"/>
                    <a:pt x="10" y="4"/>
                    <a:pt x="10" y="6"/>
                  </a:cubicBezTo>
                  <a:cubicBezTo>
                    <a:pt x="10" y="7"/>
                    <a:pt x="7" y="6"/>
                    <a:pt x="5" y="6"/>
                  </a:cubicBezTo>
                  <a:cubicBezTo>
                    <a:pt x="3" y="5"/>
                    <a:pt x="0" y="4"/>
                    <a:pt x="1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2" name="Freeform 1143"/>
            <p:cNvSpPr>
              <a:spLocks noChangeAspect="1"/>
            </p:cNvSpPr>
            <p:nvPr/>
          </p:nvSpPr>
          <p:spPr bwMode="auto">
            <a:xfrm>
              <a:off x="792163" y="3609975"/>
              <a:ext cx="17462" cy="12700"/>
            </a:xfrm>
            <a:custGeom>
              <a:avLst/>
              <a:gdLst>
                <a:gd name="T0" fmla="*/ 1940 w 9"/>
                <a:gd name="T1" fmla="*/ 1814 h 7"/>
                <a:gd name="T2" fmla="*/ 11641 w 9"/>
                <a:gd name="T3" fmla="*/ 3629 h 7"/>
                <a:gd name="T4" fmla="*/ 17462 w 9"/>
                <a:gd name="T5" fmla="*/ 10886 h 7"/>
                <a:gd name="T6" fmla="*/ 5821 w 9"/>
                <a:gd name="T7" fmla="*/ 12700 h 7"/>
                <a:gd name="T8" fmla="*/ 1940 w 9"/>
                <a:gd name="T9" fmla="*/ 7257 h 7"/>
                <a:gd name="T10" fmla="*/ 1940 w 9"/>
                <a:gd name="T11" fmla="*/ 1814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7"/>
                <a:gd name="T20" fmla="*/ 9 w 9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7">
                  <a:moveTo>
                    <a:pt x="1" y="1"/>
                  </a:moveTo>
                  <a:cubicBezTo>
                    <a:pt x="3" y="0"/>
                    <a:pt x="4" y="1"/>
                    <a:pt x="6" y="2"/>
                  </a:cubicBezTo>
                  <a:cubicBezTo>
                    <a:pt x="7" y="3"/>
                    <a:pt x="9" y="4"/>
                    <a:pt x="9" y="6"/>
                  </a:cubicBezTo>
                  <a:cubicBezTo>
                    <a:pt x="8" y="7"/>
                    <a:pt x="5" y="7"/>
                    <a:pt x="3" y="7"/>
                  </a:cubicBezTo>
                  <a:cubicBezTo>
                    <a:pt x="2" y="6"/>
                    <a:pt x="2" y="5"/>
                    <a:pt x="1" y="4"/>
                  </a:cubicBezTo>
                  <a:cubicBezTo>
                    <a:pt x="1" y="3"/>
                    <a:pt x="0" y="1"/>
                    <a:pt x="1" y="1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3" name="Freeform 1144"/>
            <p:cNvSpPr>
              <a:spLocks noChangeAspect="1"/>
            </p:cNvSpPr>
            <p:nvPr/>
          </p:nvSpPr>
          <p:spPr bwMode="auto">
            <a:xfrm>
              <a:off x="801688" y="3633788"/>
              <a:ext cx="33337" cy="36512"/>
            </a:xfrm>
            <a:custGeom>
              <a:avLst/>
              <a:gdLst>
                <a:gd name="T0" fmla="*/ 7844 w 17"/>
                <a:gd name="T1" fmla="*/ 0 h 19"/>
                <a:gd name="T2" fmla="*/ 9805 w 17"/>
                <a:gd name="T3" fmla="*/ 5765 h 19"/>
                <a:gd name="T4" fmla="*/ 0 w 17"/>
                <a:gd name="T5" fmla="*/ 15373 h 19"/>
                <a:gd name="T6" fmla="*/ 5883 w 17"/>
                <a:gd name="T7" fmla="*/ 24982 h 19"/>
                <a:gd name="T8" fmla="*/ 5883 w 17"/>
                <a:gd name="T9" fmla="*/ 36512 h 19"/>
                <a:gd name="T10" fmla="*/ 21571 w 17"/>
                <a:gd name="T11" fmla="*/ 26904 h 19"/>
                <a:gd name="T12" fmla="*/ 31376 w 17"/>
                <a:gd name="T13" fmla="*/ 19217 h 19"/>
                <a:gd name="T14" fmla="*/ 27454 w 17"/>
                <a:gd name="T15" fmla="*/ 13452 h 19"/>
                <a:gd name="T16" fmla="*/ 25493 w 17"/>
                <a:gd name="T17" fmla="*/ 7687 h 19"/>
                <a:gd name="T18" fmla="*/ 7844 w 17"/>
                <a:gd name="T19" fmla="*/ 0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9"/>
                <a:gd name="T32" fmla="*/ 17 w 1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9">
                  <a:moveTo>
                    <a:pt x="4" y="0"/>
                  </a:moveTo>
                  <a:cubicBezTo>
                    <a:pt x="3" y="0"/>
                    <a:pt x="5" y="2"/>
                    <a:pt x="5" y="3"/>
                  </a:cubicBezTo>
                  <a:cubicBezTo>
                    <a:pt x="4" y="5"/>
                    <a:pt x="1" y="6"/>
                    <a:pt x="0" y="8"/>
                  </a:cubicBezTo>
                  <a:cubicBezTo>
                    <a:pt x="0" y="10"/>
                    <a:pt x="2" y="11"/>
                    <a:pt x="3" y="13"/>
                  </a:cubicBezTo>
                  <a:cubicBezTo>
                    <a:pt x="3" y="15"/>
                    <a:pt x="2" y="19"/>
                    <a:pt x="3" y="19"/>
                  </a:cubicBezTo>
                  <a:cubicBezTo>
                    <a:pt x="6" y="19"/>
                    <a:pt x="8" y="16"/>
                    <a:pt x="11" y="14"/>
                  </a:cubicBezTo>
                  <a:cubicBezTo>
                    <a:pt x="13" y="13"/>
                    <a:pt x="15" y="12"/>
                    <a:pt x="16" y="10"/>
                  </a:cubicBezTo>
                  <a:cubicBezTo>
                    <a:pt x="17" y="9"/>
                    <a:pt x="15" y="8"/>
                    <a:pt x="14" y="7"/>
                  </a:cubicBezTo>
                  <a:cubicBezTo>
                    <a:pt x="14" y="6"/>
                    <a:pt x="14" y="4"/>
                    <a:pt x="13" y="4"/>
                  </a:cubicBezTo>
                  <a:cubicBezTo>
                    <a:pt x="10" y="2"/>
                    <a:pt x="8" y="0"/>
                    <a:pt x="4" y="0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4" name="Freeform 1145"/>
            <p:cNvSpPr>
              <a:spLocks noChangeAspect="1"/>
            </p:cNvSpPr>
            <p:nvPr/>
          </p:nvSpPr>
          <p:spPr bwMode="auto">
            <a:xfrm>
              <a:off x="3168650" y="5705475"/>
              <a:ext cx="38100" cy="30163"/>
            </a:xfrm>
            <a:custGeom>
              <a:avLst/>
              <a:gdLst>
                <a:gd name="T0" fmla="*/ 11430 w 20"/>
                <a:gd name="T1" fmla="*/ 28278 h 16"/>
                <a:gd name="T2" fmla="*/ 36195 w 20"/>
                <a:gd name="T3" fmla="*/ 3770 h 16"/>
                <a:gd name="T4" fmla="*/ 32385 w 20"/>
                <a:gd name="T5" fmla="*/ 0 h 16"/>
                <a:gd name="T6" fmla="*/ 20955 w 20"/>
                <a:gd name="T7" fmla="*/ 3770 h 16"/>
                <a:gd name="T8" fmla="*/ 11430 w 20"/>
                <a:gd name="T9" fmla="*/ 1885 h 16"/>
                <a:gd name="T10" fmla="*/ 11430 w 20"/>
                <a:gd name="T11" fmla="*/ 5656 h 16"/>
                <a:gd name="T12" fmla="*/ 7620 w 20"/>
                <a:gd name="T13" fmla="*/ 9426 h 16"/>
                <a:gd name="T14" fmla="*/ 17145 w 20"/>
                <a:gd name="T15" fmla="*/ 11311 h 16"/>
                <a:gd name="T16" fmla="*/ 9525 w 20"/>
                <a:gd name="T17" fmla="*/ 18852 h 16"/>
                <a:gd name="T18" fmla="*/ 0 w 20"/>
                <a:gd name="T19" fmla="*/ 24507 h 16"/>
                <a:gd name="T20" fmla="*/ 11430 w 20"/>
                <a:gd name="T21" fmla="*/ 28278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6"/>
                <a:gd name="T35" fmla="*/ 20 w 20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6">
                  <a:moveTo>
                    <a:pt x="6" y="15"/>
                  </a:moveTo>
                  <a:cubicBezTo>
                    <a:pt x="11" y="12"/>
                    <a:pt x="15" y="7"/>
                    <a:pt x="19" y="2"/>
                  </a:cubicBezTo>
                  <a:cubicBezTo>
                    <a:pt x="20" y="1"/>
                    <a:pt x="18" y="0"/>
                    <a:pt x="17" y="0"/>
                  </a:cubicBezTo>
                  <a:cubicBezTo>
                    <a:pt x="15" y="0"/>
                    <a:pt x="13" y="2"/>
                    <a:pt x="11" y="2"/>
                  </a:cubicBezTo>
                  <a:cubicBezTo>
                    <a:pt x="9" y="2"/>
                    <a:pt x="8" y="1"/>
                    <a:pt x="6" y="1"/>
                  </a:cubicBezTo>
                  <a:cubicBezTo>
                    <a:pt x="6" y="1"/>
                    <a:pt x="7" y="3"/>
                    <a:pt x="6" y="3"/>
                  </a:cubicBezTo>
                  <a:cubicBezTo>
                    <a:pt x="6" y="4"/>
                    <a:pt x="4" y="4"/>
                    <a:pt x="4" y="5"/>
                  </a:cubicBezTo>
                  <a:cubicBezTo>
                    <a:pt x="6" y="6"/>
                    <a:pt x="9" y="4"/>
                    <a:pt x="9" y="6"/>
                  </a:cubicBezTo>
                  <a:cubicBezTo>
                    <a:pt x="10" y="8"/>
                    <a:pt x="6" y="9"/>
                    <a:pt x="5" y="10"/>
                  </a:cubicBezTo>
                  <a:cubicBezTo>
                    <a:pt x="3" y="11"/>
                    <a:pt x="0" y="11"/>
                    <a:pt x="0" y="13"/>
                  </a:cubicBezTo>
                  <a:cubicBezTo>
                    <a:pt x="1" y="15"/>
                    <a:pt x="4" y="16"/>
                    <a:pt x="6" y="15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5" name="Freeform 1146"/>
            <p:cNvSpPr>
              <a:spLocks noChangeAspect="1"/>
            </p:cNvSpPr>
            <p:nvPr/>
          </p:nvSpPr>
          <p:spPr bwMode="auto">
            <a:xfrm>
              <a:off x="3198813" y="5705475"/>
              <a:ext cx="44450" cy="33338"/>
            </a:xfrm>
            <a:custGeom>
              <a:avLst/>
              <a:gdLst>
                <a:gd name="T0" fmla="*/ 1933 w 23"/>
                <a:gd name="T1" fmla="*/ 17650 h 17"/>
                <a:gd name="T2" fmla="*/ 34787 w 23"/>
                <a:gd name="T3" fmla="*/ 1961 h 17"/>
                <a:gd name="T4" fmla="*/ 44450 w 23"/>
                <a:gd name="T5" fmla="*/ 7844 h 17"/>
                <a:gd name="T6" fmla="*/ 36720 w 23"/>
                <a:gd name="T7" fmla="*/ 13727 h 17"/>
                <a:gd name="T8" fmla="*/ 28989 w 23"/>
                <a:gd name="T9" fmla="*/ 15688 h 17"/>
                <a:gd name="T10" fmla="*/ 19326 w 23"/>
                <a:gd name="T11" fmla="*/ 21572 h 17"/>
                <a:gd name="T12" fmla="*/ 11596 w 23"/>
                <a:gd name="T13" fmla="*/ 23533 h 17"/>
                <a:gd name="T14" fmla="*/ 11596 w 23"/>
                <a:gd name="T15" fmla="*/ 29416 h 17"/>
                <a:gd name="T16" fmla="*/ 1933 w 23"/>
                <a:gd name="T17" fmla="*/ 31377 h 17"/>
                <a:gd name="T18" fmla="*/ 1933 w 23"/>
                <a:gd name="T19" fmla="*/ 17650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17"/>
                <a:gd name="T32" fmla="*/ 23 w 23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17">
                  <a:moveTo>
                    <a:pt x="1" y="9"/>
                  </a:moveTo>
                  <a:cubicBezTo>
                    <a:pt x="6" y="5"/>
                    <a:pt x="12" y="2"/>
                    <a:pt x="18" y="1"/>
                  </a:cubicBezTo>
                  <a:cubicBezTo>
                    <a:pt x="20" y="0"/>
                    <a:pt x="22" y="2"/>
                    <a:pt x="23" y="4"/>
                  </a:cubicBezTo>
                  <a:cubicBezTo>
                    <a:pt x="23" y="6"/>
                    <a:pt x="21" y="6"/>
                    <a:pt x="19" y="7"/>
                  </a:cubicBezTo>
                  <a:cubicBezTo>
                    <a:pt x="18" y="7"/>
                    <a:pt x="16" y="7"/>
                    <a:pt x="15" y="8"/>
                  </a:cubicBezTo>
                  <a:cubicBezTo>
                    <a:pt x="13" y="9"/>
                    <a:pt x="12" y="10"/>
                    <a:pt x="10" y="11"/>
                  </a:cubicBezTo>
                  <a:cubicBezTo>
                    <a:pt x="9" y="12"/>
                    <a:pt x="7" y="11"/>
                    <a:pt x="6" y="12"/>
                  </a:cubicBezTo>
                  <a:cubicBezTo>
                    <a:pt x="5" y="12"/>
                    <a:pt x="6" y="14"/>
                    <a:pt x="6" y="15"/>
                  </a:cubicBezTo>
                  <a:cubicBezTo>
                    <a:pt x="4" y="15"/>
                    <a:pt x="2" y="17"/>
                    <a:pt x="1" y="16"/>
                  </a:cubicBezTo>
                  <a:cubicBezTo>
                    <a:pt x="0" y="14"/>
                    <a:pt x="0" y="10"/>
                    <a:pt x="1" y="9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6" name="Freeform 1147"/>
            <p:cNvSpPr>
              <a:spLocks noChangeAspect="1"/>
            </p:cNvSpPr>
            <p:nvPr/>
          </p:nvSpPr>
          <p:spPr bwMode="auto">
            <a:xfrm>
              <a:off x="3692525" y="5795963"/>
              <a:ext cx="50800" cy="33337"/>
            </a:xfrm>
            <a:custGeom>
              <a:avLst/>
              <a:gdLst>
                <a:gd name="T0" fmla="*/ 50800 w 26"/>
                <a:gd name="T1" fmla="*/ 29633 h 18"/>
                <a:gd name="T2" fmla="*/ 42985 w 26"/>
                <a:gd name="T3" fmla="*/ 16669 h 18"/>
                <a:gd name="T4" fmla="*/ 29308 w 26"/>
                <a:gd name="T5" fmla="*/ 3704 h 18"/>
                <a:gd name="T6" fmla="*/ 11723 w 26"/>
                <a:gd name="T7" fmla="*/ 0 h 18"/>
                <a:gd name="T8" fmla="*/ 0 w 26"/>
                <a:gd name="T9" fmla="*/ 0 h 18"/>
                <a:gd name="T10" fmla="*/ 15631 w 26"/>
                <a:gd name="T11" fmla="*/ 7408 h 18"/>
                <a:gd name="T12" fmla="*/ 37123 w 26"/>
                <a:gd name="T13" fmla="*/ 24077 h 18"/>
                <a:gd name="T14" fmla="*/ 46892 w 26"/>
                <a:gd name="T15" fmla="*/ 33337 h 18"/>
                <a:gd name="T16" fmla="*/ 50800 w 26"/>
                <a:gd name="T17" fmla="*/ 29633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18"/>
                <a:gd name="T29" fmla="*/ 26 w 2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18">
                  <a:moveTo>
                    <a:pt x="26" y="16"/>
                  </a:moveTo>
                  <a:cubicBezTo>
                    <a:pt x="25" y="13"/>
                    <a:pt x="24" y="11"/>
                    <a:pt x="22" y="9"/>
                  </a:cubicBezTo>
                  <a:cubicBezTo>
                    <a:pt x="20" y="6"/>
                    <a:pt x="18" y="4"/>
                    <a:pt x="15" y="2"/>
                  </a:cubicBezTo>
                  <a:cubicBezTo>
                    <a:pt x="12" y="1"/>
                    <a:pt x="9" y="1"/>
                    <a:pt x="6" y="0"/>
                  </a:cubicBezTo>
                  <a:cubicBezTo>
                    <a:pt x="4" y="0"/>
                    <a:pt x="2" y="0"/>
                    <a:pt x="0" y="0"/>
                  </a:cubicBezTo>
                  <a:cubicBezTo>
                    <a:pt x="3" y="2"/>
                    <a:pt x="5" y="2"/>
                    <a:pt x="8" y="4"/>
                  </a:cubicBezTo>
                  <a:cubicBezTo>
                    <a:pt x="12" y="7"/>
                    <a:pt x="16" y="10"/>
                    <a:pt x="19" y="13"/>
                  </a:cubicBezTo>
                  <a:cubicBezTo>
                    <a:pt x="21" y="14"/>
                    <a:pt x="23" y="16"/>
                    <a:pt x="24" y="18"/>
                  </a:cubicBezTo>
                  <a:cubicBezTo>
                    <a:pt x="25" y="17"/>
                    <a:pt x="26" y="17"/>
                    <a:pt x="26" y="16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7" name="Freeform 1148"/>
            <p:cNvSpPr>
              <a:spLocks noChangeAspect="1"/>
            </p:cNvSpPr>
            <p:nvPr/>
          </p:nvSpPr>
          <p:spPr bwMode="auto">
            <a:xfrm>
              <a:off x="2479675" y="3875088"/>
              <a:ext cx="4763" cy="4762"/>
            </a:xfrm>
            <a:custGeom>
              <a:avLst/>
              <a:gdLst>
                <a:gd name="T0" fmla="*/ 3175 w 3"/>
                <a:gd name="T1" fmla="*/ 3175 h 3"/>
                <a:gd name="T2" fmla="*/ 4763 w 3"/>
                <a:gd name="T3" fmla="*/ 4762 h 3"/>
                <a:gd name="T4" fmla="*/ 1588 w 3"/>
                <a:gd name="T5" fmla="*/ 3175 h 3"/>
                <a:gd name="T6" fmla="*/ 1588 w 3"/>
                <a:gd name="T7" fmla="*/ 1587 h 3"/>
                <a:gd name="T8" fmla="*/ 3175 w 3"/>
                <a:gd name="T9" fmla="*/ 3175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2" y="2"/>
                  </a:moveTo>
                  <a:cubicBezTo>
                    <a:pt x="3" y="2"/>
                    <a:pt x="3" y="2"/>
                    <a:pt x="3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1" y="0"/>
                    <a:pt x="2" y="1"/>
                    <a:pt x="2" y="2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48" name="Freeform 1149"/>
            <p:cNvSpPr>
              <a:spLocks noChangeAspect="1"/>
            </p:cNvSpPr>
            <p:nvPr/>
          </p:nvSpPr>
          <p:spPr bwMode="auto">
            <a:xfrm>
              <a:off x="3098800" y="5819775"/>
              <a:ext cx="23813" cy="9525"/>
            </a:xfrm>
            <a:custGeom>
              <a:avLst/>
              <a:gdLst>
                <a:gd name="T0" fmla="*/ 1832 w 13"/>
                <a:gd name="T1" fmla="*/ 5715 h 5"/>
                <a:gd name="T2" fmla="*/ 7327 w 13"/>
                <a:gd name="T3" fmla="*/ 1905 h 5"/>
                <a:gd name="T4" fmla="*/ 21981 w 13"/>
                <a:gd name="T5" fmla="*/ 1905 h 5"/>
                <a:gd name="T6" fmla="*/ 18318 w 13"/>
                <a:gd name="T7" fmla="*/ 5715 h 5"/>
                <a:gd name="T8" fmla="*/ 9159 w 13"/>
                <a:gd name="T9" fmla="*/ 5715 h 5"/>
                <a:gd name="T10" fmla="*/ 5495 w 13"/>
                <a:gd name="T11" fmla="*/ 9525 h 5"/>
                <a:gd name="T12" fmla="*/ 1832 w 13"/>
                <a:gd name="T13" fmla="*/ 5715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5"/>
                <a:gd name="T23" fmla="*/ 13 w 13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5">
                  <a:moveTo>
                    <a:pt x="1" y="3"/>
                  </a:moveTo>
                  <a:cubicBezTo>
                    <a:pt x="1" y="2"/>
                    <a:pt x="3" y="1"/>
                    <a:pt x="4" y="1"/>
                  </a:cubicBezTo>
                  <a:cubicBezTo>
                    <a:pt x="7" y="1"/>
                    <a:pt x="10" y="0"/>
                    <a:pt x="12" y="1"/>
                  </a:cubicBezTo>
                  <a:cubicBezTo>
                    <a:pt x="13" y="2"/>
                    <a:pt x="11" y="3"/>
                    <a:pt x="10" y="3"/>
                  </a:cubicBezTo>
                  <a:cubicBezTo>
                    <a:pt x="8" y="4"/>
                    <a:pt x="7" y="3"/>
                    <a:pt x="5" y="3"/>
                  </a:cubicBezTo>
                  <a:cubicBezTo>
                    <a:pt x="4" y="3"/>
                    <a:pt x="4" y="5"/>
                    <a:pt x="3" y="5"/>
                  </a:cubicBezTo>
                  <a:cubicBezTo>
                    <a:pt x="2" y="4"/>
                    <a:pt x="0" y="4"/>
                    <a:pt x="1" y="3"/>
                  </a:cubicBezTo>
                  <a:close/>
                </a:path>
              </a:pathLst>
            </a:custGeom>
            <a:solidFill>
              <a:sysClr val="window" lastClr="FFFFFF">
                <a:lumMod val="95000"/>
              </a:sys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50" name="Freeform 289"/>
            <p:cNvSpPr>
              <a:spLocks noChangeAspect="1"/>
            </p:cNvSpPr>
            <p:nvPr/>
          </p:nvSpPr>
          <p:spPr bwMode="auto">
            <a:xfrm>
              <a:off x="6265862" y="3157538"/>
              <a:ext cx="163513" cy="132557"/>
            </a:xfrm>
            <a:custGeom>
              <a:avLst/>
              <a:gdLst>
                <a:gd name="T0" fmla="*/ 1 w 805"/>
                <a:gd name="T1" fmla="*/ 1 h 649"/>
                <a:gd name="T2" fmla="*/ 1 w 805"/>
                <a:gd name="T3" fmla="*/ 1 h 649"/>
                <a:gd name="T4" fmla="*/ 1 w 805"/>
                <a:gd name="T5" fmla="*/ 1 h 649"/>
                <a:gd name="T6" fmla="*/ 1 w 805"/>
                <a:gd name="T7" fmla="*/ 1 h 649"/>
                <a:gd name="T8" fmla="*/ 1 w 805"/>
                <a:gd name="T9" fmla="*/ 1 h 649"/>
                <a:gd name="T10" fmla="*/ 1 w 805"/>
                <a:gd name="T11" fmla="*/ 1 h 649"/>
                <a:gd name="T12" fmla="*/ 1 w 805"/>
                <a:gd name="T13" fmla="*/ 0 h 649"/>
                <a:gd name="T14" fmla="*/ 1 w 805"/>
                <a:gd name="T15" fmla="*/ 1 h 649"/>
                <a:gd name="T16" fmla="*/ 1 w 805"/>
                <a:gd name="T17" fmla="*/ 1 h 649"/>
                <a:gd name="T18" fmla="*/ 1 w 805"/>
                <a:gd name="T19" fmla="*/ 1 h 649"/>
                <a:gd name="T20" fmla="*/ 1 w 805"/>
                <a:gd name="T21" fmla="*/ 1 h 649"/>
                <a:gd name="T22" fmla="*/ 1 w 805"/>
                <a:gd name="T23" fmla="*/ 1 h 649"/>
                <a:gd name="T24" fmla="*/ 1 w 805"/>
                <a:gd name="T25" fmla="*/ 1 h 649"/>
                <a:gd name="T26" fmla="*/ 1 w 805"/>
                <a:gd name="T27" fmla="*/ 1 h 649"/>
                <a:gd name="T28" fmla="*/ 1 w 805"/>
                <a:gd name="T29" fmla="*/ 1 h 649"/>
                <a:gd name="T30" fmla="*/ 1 w 805"/>
                <a:gd name="T31" fmla="*/ 1 h 649"/>
                <a:gd name="T32" fmla="*/ 1 w 805"/>
                <a:gd name="T33" fmla="*/ 1 h 649"/>
                <a:gd name="T34" fmla="*/ 1 w 805"/>
                <a:gd name="T35" fmla="*/ 1 h 649"/>
                <a:gd name="T36" fmla="*/ 1 w 805"/>
                <a:gd name="T37" fmla="*/ 1 h 649"/>
                <a:gd name="T38" fmla="*/ 1 w 805"/>
                <a:gd name="T39" fmla="*/ 1 h 649"/>
                <a:gd name="T40" fmla="*/ 1 w 805"/>
                <a:gd name="T41" fmla="*/ 1 h 649"/>
                <a:gd name="T42" fmla="*/ 1 w 805"/>
                <a:gd name="T43" fmla="*/ 1 h 649"/>
                <a:gd name="T44" fmla="*/ 1 w 805"/>
                <a:gd name="T45" fmla="*/ 1 h 649"/>
                <a:gd name="T46" fmla="*/ 1 w 805"/>
                <a:gd name="T47" fmla="*/ 1 h 649"/>
                <a:gd name="T48" fmla="*/ 1 w 805"/>
                <a:gd name="T49" fmla="*/ 1 h 649"/>
                <a:gd name="T50" fmla="*/ 1 w 805"/>
                <a:gd name="T51" fmla="*/ 1 h 649"/>
                <a:gd name="T52" fmla="*/ 1 w 805"/>
                <a:gd name="T53" fmla="*/ 1 h 649"/>
                <a:gd name="T54" fmla="*/ 1 w 805"/>
                <a:gd name="T55" fmla="*/ 1 h 649"/>
                <a:gd name="T56" fmla="*/ 1 w 805"/>
                <a:gd name="T57" fmla="*/ 1 h 649"/>
                <a:gd name="T58" fmla="*/ 1 w 805"/>
                <a:gd name="T59" fmla="*/ 1 h 649"/>
                <a:gd name="T60" fmla="*/ 1 w 805"/>
                <a:gd name="T61" fmla="*/ 1 h 649"/>
                <a:gd name="T62" fmla="*/ 1 w 805"/>
                <a:gd name="T63" fmla="*/ 1 h 649"/>
                <a:gd name="T64" fmla="*/ 1 w 805"/>
                <a:gd name="T65" fmla="*/ 1 h 64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05"/>
                <a:gd name="T100" fmla="*/ 0 h 649"/>
                <a:gd name="T101" fmla="*/ 805 w 805"/>
                <a:gd name="T102" fmla="*/ 649 h 64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05" h="649">
                  <a:moveTo>
                    <a:pt x="128" y="239"/>
                  </a:moveTo>
                  <a:lnTo>
                    <a:pt x="120" y="231"/>
                  </a:lnTo>
                  <a:lnTo>
                    <a:pt x="120" y="202"/>
                  </a:lnTo>
                  <a:lnTo>
                    <a:pt x="88" y="180"/>
                  </a:lnTo>
                  <a:lnTo>
                    <a:pt x="78" y="183"/>
                  </a:lnTo>
                  <a:lnTo>
                    <a:pt x="43" y="137"/>
                  </a:lnTo>
                  <a:lnTo>
                    <a:pt x="0" y="120"/>
                  </a:lnTo>
                  <a:lnTo>
                    <a:pt x="37" y="64"/>
                  </a:lnTo>
                  <a:lnTo>
                    <a:pt x="134" y="20"/>
                  </a:lnTo>
                  <a:lnTo>
                    <a:pt x="169" y="33"/>
                  </a:lnTo>
                  <a:lnTo>
                    <a:pt x="230" y="0"/>
                  </a:lnTo>
                  <a:lnTo>
                    <a:pt x="252" y="7"/>
                  </a:lnTo>
                  <a:lnTo>
                    <a:pt x="270" y="21"/>
                  </a:lnTo>
                  <a:lnTo>
                    <a:pt x="307" y="0"/>
                  </a:lnTo>
                  <a:lnTo>
                    <a:pt x="344" y="71"/>
                  </a:lnTo>
                  <a:lnTo>
                    <a:pt x="425" y="110"/>
                  </a:lnTo>
                  <a:lnTo>
                    <a:pt x="464" y="192"/>
                  </a:lnTo>
                  <a:lnTo>
                    <a:pt x="522" y="227"/>
                  </a:lnTo>
                  <a:lnTo>
                    <a:pt x="578" y="230"/>
                  </a:lnTo>
                  <a:lnTo>
                    <a:pt x="645" y="188"/>
                  </a:lnTo>
                  <a:lnTo>
                    <a:pt x="712" y="168"/>
                  </a:lnTo>
                  <a:lnTo>
                    <a:pt x="746" y="183"/>
                  </a:lnTo>
                  <a:lnTo>
                    <a:pt x="770" y="182"/>
                  </a:lnTo>
                  <a:lnTo>
                    <a:pt x="792" y="196"/>
                  </a:lnTo>
                  <a:lnTo>
                    <a:pt x="804" y="286"/>
                  </a:lnTo>
                  <a:lnTo>
                    <a:pt x="794" y="325"/>
                  </a:lnTo>
                  <a:lnTo>
                    <a:pt x="757" y="370"/>
                  </a:lnTo>
                  <a:lnTo>
                    <a:pt x="741" y="371"/>
                  </a:lnTo>
                  <a:lnTo>
                    <a:pt x="719" y="406"/>
                  </a:lnTo>
                  <a:lnTo>
                    <a:pt x="665" y="425"/>
                  </a:lnTo>
                  <a:lnTo>
                    <a:pt x="674" y="479"/>
                  </a:lnTo>
                  <a:lnTo>
                    <a:pt x="663" y="498"/>
                  </a:lnTo>
                  <a:lnTo>
                    <a:pt x="664" y="519"/>
                  </a:lnTo>
                  <a:lnTo>
                    <a:pt x="677" y="535"/>
                  </a:lnTo>
                  <a:lnTo>
                    <a:pt x="697" y="536"/>
                  </a:lnTo>
                  <a:lnTo>
                    <a:pt x="716" y="572"/>
                  </a:lnTo>
                  <a:lnTo>
                    <a:pt x="717" y="610"/>
                  </a:lnTo>
                  <a:lnTo>
                    <a:pt x="700" y="621"/>
                  </a:lnTo>
                  <a:lnTo>
                    <a:pt x="692" y="635"/>
                  </a:lnTo>
                  <a:lnTo>
                    <a:pt x="671" y="644"/>
                  </a:lnTo>
                  <a:lnTo>
                    <a:pt x="650" y="640"/>
                  </a:lnTo>
                  <a:lnTo>
                    <a:pt x="636" y="622"/>
                  </a:lnTo>
                  <a:lnTo>
                    <a:pt x="594" y="608"/>
                  </a:lnTo>
                  <a:lnTo>
                    <a:pt x="556" y="577"/>
                  </a:lnTo>
                  <a:lnTo>
                    <a:pt x="522" y="548"/>
                  </a:lnTo>
                  <a:lnTo>
                    <a:pt x="441" y="525"/>
                  </a:lnTo>
                  <a:lnTo>
                    <a:pt x="413" y="524"/>
                  </a:lnTo>
                  <a:lnTo>
                    <a:pt x="373" y="547"/>
                  </a:lnTo>
                  <a:lnTo>
                    <a:pt x="348" y="566"/>
                  </a:lnTo>
                  <a:lnTo>
                    <a:pt x="332" y="592"/>
                  </a:lnTo>
                  <a:lnTo>
                    <a:pt x="329" y="621"/>
                  </a:lnTo>
                  <a:lnTo>
                    <a:pt x="274" y="648"/>
                  </a:lnTo>
                  <a:lnTo>
                    <a:pt x="251" y="630"/>
                  </a:lnTo>
                  <a:lnTo>
                    <a:pt x="219" y="622"/>
                  </a:lnTo>
                  <a:lnTo>
                    <a:pt x="208" y="601"/>
                  </a:lnTo>
                  <a:lnTo>
                    <a:pt x="210" y="578"/>
                  </a:lnTo>
                  <a:lnTo>
                    <a:pt x="183" y="587"/>
                  </a:lnTo>
                  <a:lnTo>
                    <a:pt x="150" y="572"/>
                  </a:lnTo>
                  <a:lnTo>
                    <a:pt x="124" y="545"/>
                  </a:lnTo>
                  <a:lnTo>
                    <a:pt x="100" y="544"/>
                  </a:lnTo>
                  <a:lnTo>
                    <a:pt x="72" y="397"/>
                  </a:lnTo>
                  <a:lnTo>
                    <a:pt x="82" y="339"/>
                  </a:lnTo>
                  <a:lnTo>
                    <a:pt x="105" y="313"/>
                  </a:lnTo>
                  <a:lnTo>
                    <a:pt x="139" y="292"/>
                  </a:lnTo>
                  <a:lnTo>
                    <a:pt x="144" y="262"/>
                  </a:lnTo>
                  <a:lnTo>
                    <a:pt x="123" y="240"/>
                  </a:lnTo>
                  <a:lnTo>
                    <a:pt x="128" y="23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12700" cap="rnd">
              <a:solidFill>
                <a:sysClr val="window" lastClr="FFFFFF">
                  <a:lumMod val="85000"/>
                </a:sysClr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914144">
                <a:defRPr/>
              </a:pPr>
              <a:endParaRPr lang="en-GB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51" name="Freeform 1150"/>
            <p:cNvSpPr>
              <a:spLocks noChangeAspect="1"/>
            </p:cNvSpPr>
            <p:nvPr/>
          </p:nvSpPr>
          <p:spPr>
            <a:xfrm>
              <a:off x="5112543" y="3880168"/>
              <a:ext cx="257175" cy="53657"/>
            </a:xfrm>
            <a:custGeom>
              <a:avLst/>
              <a:gdLst>
                <a:gd name="connsiteX0" fmla="*/ 0 w 235744"/>
                <a:gd name="connsiteY0" fmla="*/ 52388 h 59532"/>
                <a:gd name="connsiteX1" fmla="*/ 14288 w 235744"/>
                <a:gd name="connsiteY1" fmla="*/ 47625 h 59532"/>
                <a:gd name="connsiteX2" fmla="*/ 21431 w 235744"/>
                <a:gd name="connsiteY2" fmla="*/ 42863 h 59532"/>
                <a:gd name="connsiteX3" fmla="*/ 33338 w 235744"/>
                <a:gd name="connsiteY3" fmla="*/ 45244 h 59532"/>
                <a:gd name="connsiteX4" fmla="*/ 47625 w 235744"/>
                <a:gd name="connsiteY4" fmla="*/ 54769 h 59532"/>
                <a:gd name="connsiteX5" fmla="*/ 54769 w 235744"/>
                <a:gd name="connsiteY5" fmla="*/ 59532 h 59532"/>
                <a:gd name="connsiteX6" fmla="*/ 100013 w 235744"/>
                <a:gd name="connsiteY6" fmla="*/ 57150 h 59532"/>
                <a:gd name="connsiteX7" fmla="*/ 107156 w 235744"/>
                <a:gd name="connsiteY7" fmla="*/ 52388 h 59532"/>
                <a:gd name="connsiteX8" fmla="*/ 128588 w 235744"/>
                <a:gd name="connsiteY8" fmla="*/ 42863 h 59532"/>
                <a:gd name="connsiteX9" fmla="*/ 147638 w 235744"/>
                <a:gd name="connsiteY9" fmla="*/ 45244 h 59532"/>
                <a:gd name="connsiteX10" fmla="*/ 157163 w 235744"/>
                <a:gd name="connsiteY10" fmla="*/ 47625 h 59532"/>
                <a:gd name="connsiteX11" fmla="*/ 166688 w 235744"/>
                <a:gd name="connsiteY11" fmla="*/ 42863 h 59532"/>
                <a:gd name="connsiteX12" fmla="*/ 169069 w 235744"/>
                <a:gd name="connsiteY12" fmla="*/ 35719 h 59532"/>
                <a:gd name="connsiteX13" fmla="*/ 173831 w 235744"/>
                <a:gd name="connsiteY13" fmla="*/ 16669 h 59532"/>
                <a:gd name="connsiteX14" fmla="*/ 178594 w 235744"/>
                <a:gd name="connsiteY14" fmla="*/ 9525 h 59532"/>
                <a:gd name="connsiteX15" fmla="*/ 176213 w 235744"/>
                <a:gd name="connsiteY15" fmla="*/ 2382 h 59532"/>
                <a:gd name="connsiteX16" fmla="*/ 183356 w 235744"/>
                <a:gd name="connsiteY16" fmla="*/ 0 h 59532"/>
                <a:gd name="connsiteX17" fmla="*/ 200025 w 235744"/>
                <a:gd name="connsiteY17" fmla="*/ 2382 h 59532"/>
                <a:gd name="connsiteX18" fmla="*/ 202406 w 235744"/>
                <a:gd name="connsiteY18" fmla="*/ 11907 h 59532"/>
                <a:gd name="connsiteX19" fmla="*/ 204788 w 235744"/>
                <a:gd name="connsiteY19" fmla="*/ 23813 h 59532"/>
                <a:gd name="connsiteX20" fmla="*/ 207169 w 235744"/>
                <a:gd name="connsiteY20" fmla="*/ 35719 h 59532"/>
                <a:gd name="connsiteX21" fmla="*/ 235744 w 235744"/>
                <a:gd name="connsiteY21" fmla="*/ 42863 h 59532"/>
                <a:gd name="connsiteX22" fmla="*/ 235744 w 235744"/>
                <a:gd name="connsiteY22" fmla="*/ 45244 h 5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5744" h="59532">
                  <a:moveTo>
                    <a:pt x="0" y="52388"/>
                  </a:moveTo>
                  <a:cubicBezTo>
                    <a:pt x="4763" y="50800"/>
                    <a:pt x="9700" y="49664"/>
                    <a:pt x="14288" y="47625"/>
                  </a:cubicBezTo>
                  <a:cubicBezTo>
                    <a:pt x="16903" y="46463"/>
                    <a:pt x="18591" y="43218"/>
                    <a:pt x="21431" y="42863"/>
                  </a:cubicBezTo>
                  <a:cubicBezTo>
                    <a:pt x="25447" y="42361"/>
                    <a:pt x="29369" y="44450"/>
                    <a:pt x="33338" y="45244"/>
                  </a:cubicBezTo>
                  <a:lnTo>
                    <a:pt x="47625" y="54769"/>
                  </a:lnTo>
                  <a:lnTo>
                    <a:pt x="54769" y="59532"/>
                  </a:lnTo>
                  <a:cubicBezTo>
                    <a:pt x="87851" y="48503"/>
                    <a:pt x="45544" y="60554"/>
                    <a:pt x="100013" y="57150"/>
                  </a:cubicBezTo>
                  <a:cubicBezTo>
                    <a:pt x="102869" y="56972"/>
                    <a:pt x="104541" y="53550"/>
                    <a:pt x="107156" y="52388"/>
                  </a:cubicBezTo>
                  <a:cubicBezTo>
                    <a:pt x="132663" y="41051"/>
                    <a:pt x="112419" y="53641"/>
                    <a:pt x="128588" y="42863"/>
                  </a:cubicBezTo>
                  <a:cubicBezTo>
                    <a:pt x="134938" y="43657"/>
                    <a:pt x="141326" y="44192"/>
                    <a:pt x="147638" y="45244"/>
                  </a:cubicBezTo>
                  <a:cubicBezTo>
                    <a:pt x="150866" y="45782"/>
                    <a:pt x="153916" y="48031"/>
                    <a:pt x="157163" y="47625"/>
                  </a:cubicBezTo>
                  <a:cubicBezTo>
                    <a:pt x="160685" y="47185"/>
                    <a:pt x="163513" y="44450"/>
                    <a:pt x="166688" y="42863"/>
                  </a:cubicBezTo>
                  <a:cubicBezTo>
                    <a:pt x="167482" y="40482"/>
                    <a:pt x="168460" y="38154"/>
                    <a:pt x="169069" y="35719"/>
                  </a:cubicBezTo>
                  <a:cubicBezTo>
                    <a:pt x="170427" y="30288"/>
                    <a:pt x="171110" y="22111"/>
                    <a:pt x="173831" y="16669"/>
                  </a:cubicBezTo>
                  <a:cubicBezTo>
                    <a:pt x="175111" y="14109"/>
                    <a:pt x="177006" y="11906"/>
                    <a:pt x="178594" y="9525"/>
                  </a:cubicBezTo>
                  <a:cubicBezTo>
                    <a:pt x="177800" y="7144"/>
                    <a:pt x="175091" y="4627"/>
                    <a:pt x="176213" y="2382"/>
                  </a:cubicBezTo>
                  <a:cubicBezTo>
                    <a:pt x="177335" y="137"/>
                    <a:pt x="180846" y="0"/>
                    <a:pt x="183356" y="0"/>
                  </a:cubicBezTo>
                  <a:cubicBezTo>
                    <a:pt x="188969" y="0"/>
                    <a:pt x="194469" y="1588"/>
                    <a:pt x="200025" y="2382"/>
                  </a:cubicBezTo>
                  <a:cubicBezTo>
                    <a:pt x="200819" y="5557"/>
                    <a:pt x="200591" y="9184"/>
                    <a:pt x="202406" y="11907"/>
                  </a:cubicBezTo>
                  <a:cubicBezTo>
                    <a:pt x="209285" y="22226"/>
                    <a:pt x="213783" y="10318"/>
                    <a:pt x="204788" y="23813"/>
                  </a:cubicBezTo>
                  <a:cubicBezTo>
                    <a:pt x="205582" y="27782"/>
                    <a:pt x="203699" y="33637"/>
                    <a:pt x="207169" y="35719"/>
                  </a:cubicBezTo>
                  <a:cubicBezTo>
                    <a:pt x="233652" y="51609"/>
                    <a:pt x="221741" y="28860"/>
                    <a:pt x="235744" y="42863"/>
                  </a:cubicBezTo>
                  <a:lnTo>
                    <a:pt x="235744" y="45244"/>
                  </a:lnTo>
                </a:path>
              </a:pathLst>
            </a:cu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157" name="Freeform 1156"/>
            <p:cNvSpPr>
              <a:spLocks noChangeAspect="1"/>
            </p:cNvSpPr>
            <p:nvPr/>
          </p:nvSpPr>
          <p:spPr>
            <a:xfrm>
              <a:off x="5110955" y="3880168"/>
              <a:ext cx="257175" cy="53657"/>
            </a:xfrm>
            <a:custGeom>
              <a:avLst/>
              <a:gdLst>
                <a:gd name="connsiteX0" fmla="*/ 0 w 235744"/>
                <a:gd name="connsiteY0" fmla="*/ 52388 h 59532"/>
                <a:gd name="connsiteX1" fmla="*/ 14288 w 235744"/>
                <a:gd name="connsiteY1" fmla="*/ 47625 h 59532"/>
                <a:gd name="connsiteX2" fmla="*/ 21431 w 235744"/>
                <a:gd name="connsiteY2" fmla="*/ 42863 h 59532"/>
                <a:gd name="connsiteX3" fmla="*/ 33338 w 235744"/>
                <a:gd name="connsiteY3" fmla="*/ 45244 h 59532"/>
                <a:gd name="connsiteX4" fmla="*/ 47625 w 235744"/>
                <a:gd name="connsiteY4" fmla="*/ 54769 h 59532"/>
                <a:gd name="connsiteX5" fmla="*/ 54769 w 235744"/>
                <a:gd name="connsiteY5" fmla="*/ 59532 h 59532"/>
                <a:gd name="connsiteX6" fmla="*/ 100013 w 235744"/>
                <a:gd name="connsiteY6" fmla="*/ 57150 h 59532"/>
                <a:gd name="connsiteX7" fmla="*/ 107156 w 235744"/>
                <a:gd name="connsiteY7" fmla="*/ 52388 h 59532"/>
                <a:gd name="connsiteX8" fmla="*/ 128588 w 235744"/>
                <a:gd name="connsiteY8" fmla="*/ 42863 h 59532"/>
                <a:gd name="connsiteX9" fmla="*/ 147638 w 235744"/>
                <a:gd name="connsiteY9" fmla="*/ 45244 h 59532"/>
                <a:gd name="connsiteX10" fmla="*/ 157163 w 235744"/>
                <a:gd name="connsiteY10" fmla="*/ 47625 h 59532"/>
                <a:gd name="connsiteX11" fmla="*/ 166688 w 235744"/>
                <a:gd name="connsiteY11" fmla="*/ 42863 h 59532"/>
                <a:gd name="connsiteX12" fmla="*/ 169069 w 235744"/>
                <a:gd name="connsiteY12" fmla="*/ 35719 h 59532"/>
                <a:gd name="connsiteX13" fmla="*/ 173831 w 235744"/>
                <a:gd name="connsiteY13" fmla="*/ 16669 h 59532"/>
                <a:gd name="connsiteX14" fmla="*/ 178594 w 235744"/>
                <a:gd name="connsiteY14" fmla="*/ 9525 h 59532"/>
                <a:gd name="connsiteX15" fmla="*/ 176213 w 235744"/>
                <a:gd name="connsiteY15" fmla="*/ 2382 h 59532"/>
                <a:gd name="connsiteX16" fmla="*/ 183356 w 235744"/>
                <a:gd name="connsiteY16" fmla="*/ 0 h 59532"/>
                <a:gd name="connsiteX17" fmla="*/ 200025 w 235744"/>
                <a:gd name="connsiteY17" fmla="*/ 2382 h 59532"/>
                <a:gd name="connsiteX18" fmla="*/ 202406 w 235744"/>
                <a:gd name="connsiteY18" fmla="*/ 11907 h 59532"/>
                <a:gd name="connsiteX19" fmla="*/ 204788 w 235744"/>
                <a:gd name="connsiteY19" fmla="*/ 23813 h 59532"/>
                <a:gd name="connsiteX20" fmla="*/ 207169 w 235744"/>
                <a:gd name="connsiteY20" fmla="*/ 35719 h 59532"/>
                <a:gd name="connsiteX21" fmla="*/ 235744 w 235744"/>
                <a:gd name="connsiteY21" fmla="*/ 42863 h 59532"/>
                <a:gd name="connsiteX22" fmla="*/ 235744 w 235744"/>
                <a:gd name="connsiteY22" fmla="*/ 45244 h 5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5744" h="59532">
                  <a:moveTo>
                    <a:pt x="0" y="52388"/>
                  </a:moveTo>
                  <a:cubicBezTo>
                    <a:pt x="4763" y="50800"/>
                    <a:pt x="9700" y="49664"/>
                    <a:pt x="14288" y="47625"/>
                  </a:cubicBezTo>
                  <a:cubicBezTo>
                    <a:pt x="16903" y="46463"/>
                    <a:pt x="18591" y="43218"/>
                    <a:pt x="21431" y="42863"/>
                  </a:cubicBezTo>
                  <a:cubicBezTo>
                    <a:pt x="25447" y="42361"/>
                    <a:pt x="29369" y="44450"/>
                    <a:pt x="33338" y="45244"/>
                  </a:cubicBezTo>
                  <a:lnTo>
                    <a:pt x="47625" y="54769"/>
                  </a:lnTo>
                  <a:lnTo>
                    <a:pt x="54769" y="59532"/>
                  </a:lnTo>
                  <a:cubicBezTo>
                    <a:pt x="87851" y="48503"/>
                    <a:pt x="45544" y="60554"/>
                    <a:pt x="100013" y="57150"/>
                  </a:cubicBezTo>
                  <a:cubicBezTo>
                    <a:pt x="102869" y="56972"/>
                    <a:pt x="104541" y="53550"/>
                    <a:pt x="107156" y="52388"/>
                  </a:cubicBezTo>
                  <a:cubicBezTo>
                    <a:pt x="132663" y="41051"/>
                    <a:pt x="112419" y="53641"/>
                    <a:pt x="128588" y="42863"/>
                  </a:cubicBezTo>
                  <a:cubicBezTo>
                    <a:pt x="134938" y="43657"/>
                    <a:pt x="141326" y="44192"/>
                    <a:pt x="147638" y="45244"/>
                  </a:cubicBezTo>
                  <a:cubicBezTo>
                    <a:pt x="150866" y="45782"/>
                    <a:pt x="153916" y="48031"/>
                    <a:pt x="157163" y="47625"/>
                  </a:cubicBezTo>
                  <a:cubicBezTo>
                    <a:pt x="160685" y="47185"/>
                    <a:pt x="163513" y="44450"/>
                    <a:pt x="166688" y="42863"/>
                  </a:cubicBezTo>
                  <a:cubicBezTo>
                    <a:pt x="167482" y="40482"/>
                    <a:pt x="168460" y="38154"/>
                    <a:pt x="169069" y="35719"/>
                  </a:cubicBezTo>
                  <a:cubicBezTo>
                    <a:pt x="170427" y="30288"/>
                    <a:pt x="171110" y="22111"/>
                    <a:pt x="173831" y="16669"/>
                  </a:cubicBezTo>
                  <a:cubicBezTo>
                    <a:pt x="175111" y="14109"/>
                    <a:pt x="177006" y="11906"/>
                    <a:pt x="178594" y="9525"/>
                  </a:cubicBezTo>
                  <a:cubicBezTo>
                    <a:pt x="177800" y="7144"/>
                    <a:pt x="175091" y="4627"/>
                    <a:pt x="176213" y="2382"/>
                  </a:cubicBezTo>
                  <a:cubicBezTo>
                    <a:pt x="177335" y="137"/>
                    <a:pt x="180846" y="0"/>
                    <a:pt x="183356" y="0"/>
                  </a:cubicBezTo>
                  <a:cubicBezTo>
                    <a:pt x="188969" y="0"/>
                    <a:pt x="194469" y="1588"/>
                    <a:pt x="200025" y="2382"/>
                  </a:cubicBezTo>
                  <a:cubicBezTo>
                    <a:pt x="200819" y="5557"/>
                    <a:pt x="200591" y="9184"/>
                    <a:pt x="202406" y="11907"/>
                  </a:cubicBezTo>
                  <a:cubicBezTo>
                    <a:pt x="209285" y="22226"/>
                    <a:pt x="213783" y="10318"/>
                    <a:pt x="204788" y="23813"/>
                  </a:cubicBezTo>
                  <a:cubicBezTo>
                    <a:pt x="205582" y="27782"/>
                    <a:pt x="203699" y="33637"/>
                    <a:pt x="207169" y="35719"/>
                  </a:cubicBezTo>
                  <a:cubicBezTo>
                    <a:pt x="233652" y="51609"/>
                    <a:pt x="221741" y="28860"/>
                    <a:pt x="235744" y="42863"/>
                  </a:cubicBezTo>
                  <a:lnTo>
                    <a:pt x="235744" y="45244"/>
                  </a:lnTo>
                </a:path>
              </a:pathLst>
            </a:cu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144">
                <a:defRPr/>
              </a:pPr>
              <a:endParaRPr lang="en-US" kern="0">
                <a:solidFill>
                  <a:prstClr val="black"/>
                </a:solidFill>
                <a:latin typeface="Gill Sans MT"/>
              </a:endParaRPr>
            </a:p>
          </p:txBody>
        </p:sp>
        <p:sp>
          <p:nvSpPr>
            <p:cNvPr id="1206" name="Oval 1205"/>
            <p:cNvSpPr>
              <a:spLocks noChangeAspect="1"/>
            </p:cNvSpPr>
            <p:nvPr/>
          </p:nvSpPr>
          <p:spPr>
            <a:xfrm>
              <a:off x="6324601" y="3249613"/>
              <a:ext cx="68262" cy="50800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</p:grpSp>
      <p:sp>
        <p:nvSpPr>
          <p:cNvPr id="1207" name="Rectangle 1206"/>
          <p:cNvSpPr/>
          <p:nvPr/>
        </p:nvSpPr>
        <p:spPr>
          <a:xfrm>
            <a:off x="1847528" y="980729"/>
            <a:ext cx="1600150" cy="73504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08"/>
            <a:r>
              <a:rPr lang="en-IN" sz="2000">
                <a:solidFill>
                  <a:prstClr val="white"/>
                </a:solidFill>
                <a:latin typeface="Calibri"/>
              </a:rPr>
              <a:t>32 projects in 15 countries</a:t>
            </a:r>
          </a:p>
        </p:txBody>
      </p:sp>
      <p:sp>
        <p:nvSpPr>
          <p:cNvPr id="1208" name="Rectangle 1207"/>
          <p:cNvSpPr/>
          <p:nvPr/>
        </p:nvSpPr>
        <p:spPr>
          <a:xfrm>
            <a:off x="7160146" y="980729"/>
            <a:ext cx="1600150" cy="735049"/>
          </a:xfrm>
          <a:prstGeom prst="rect">
            <a:avLst/>
          </a:prstGeom>
          <a:solidFill>
            <a:srgbClr val="7030A0"/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08"/>
            <a:r>
              <a:rPr lang="en-IN" sz="2000">
                <a:solidFill>
                  <a:prstClr val="white"/>
                </a:solidFill>
                <a:latin typeface="Calibri"/>
              </a:rPr>
              <a:t>Exploration: 11</a:t>
            </a:r>
          </a:p>
        </p:txBody>
      </p:sp>
      <p:sp>
        <p:nvSpPr>
          <p:cNvPr id="1209" name="Rectangle 1208"/>
          <p:cNvSpPr/>
          <p:nvPr/>
        </p:nvSpPr>
        <p:spPr>
          <a:xfrm>
            <a:off x="5359946" y="980729"/>
            <a:ext cx="1600150" cy="735049"/>
          </a:xfrm>
          <a:prstGeom prst="rect">
            <a:avLst/>
          </a:prstGeom>
          <a:solidFill>
            <a:srgbClr val="00B0F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08"/>
            <a:r>
              <a:rPr lang="en-IN" sz="2000">
                <a:solidFill>
                  <a:prstClr val="white"/>
                </a:solidFill>
                <a:latin typeface="Calibri"/>
              </a:rPr>
              <a:t>Discovered/ Developing: 4</a:t>
            </a:r>
          </a:p>
        </p:txBody>
      </p:sp>
      <p:sp>
        <p:nvSpPr>
          <p:cNvPr id="1210" name="Rectangle 1209"/>
          <p:cNvSpPr/>
          <p:nvPr/>
        </p:nvSpPr>
        <p:spPr>
          <a:xfrm>
            <a:off x="3575720" y="980729"/>
            <a:ext cx="1600150" cy="735049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08"/>
            <a:r>
              <a:rPr lang="en-IN" sz="2000">
                <a:solidFill>
                  <a:prstClr val="white"/>
                </a:solidFill>
                <a:latin typeface="Calibri"/>
              </a:rPr>
              <a:t>Producing: 14</a:t>
            </a:r>
          </a:p>
        </p:txBody>
      </p:sp>
      <p:sp>
        <p:nvSpPr>
          <p:cNvPr id="1211" name="Rectangle 1210"/>
          <p:cNvSpPr/>
          <p:nvPr/>
        </p:nvSpPr>
        <p:spPr>
          <a:xfrm>
            <a:off x="8888338" y="980729"/>
            <a:ext cx="1600150" cy="735049"/>
          </a:xfrm>
          <a:prstGeom prst="rect">
            <a:avLst/>
          </a:prstGeom>
          <a:solidFill>
            <a:schemeClr val="accent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08"/>
            <a:r>
              <a:rPr lang="en-IN" sz="2000">
                <a:solidFill>
                  <a:prstClr val="white"/>
                </a:solidFill>
                <a:latin typeface="Calibri"/>
              </a:rPr>
              <a:t>Pipeline: 3</a:t>
            </a:r>
          </a:p>
        </p:txBody>
      </p:sp>
      <p:sp>
        <p:nvSpPr>
          <p:cNvPr id="1217" name="Rectangle 1216"/>
          <p:cNvSpPr/>
          <p:nvPr/>
        </p:nvSpPr>
        <p:spPr>
          <a:xfrm>
            <a:off x="8880800" y="2209871"/>
            <a:ext cx="1636776" cy="21031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608"/>
            <a:r>
              <a:rPr lang="en-IN" sz="1400" b="1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Russia BU</a:t>
            </a:r>
          </a:p>
        </p:txBody>
      </p:sp>
      <p:sp>
        <p:nvSpPr>
          <p:cNvPr id="1219" name="Rectangle 1218"/>
          <p:cNvSpPr/>
          <p:nvPr/>
        </p:nvSpPr>
        <p:spPr>
          <a:xfrm>
            <a:off x="9246984" y="3520711"/>
            <a:ext cx="1648395" cy="21816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608"/>
            <a:r>
              <a:rPr lang="en-IN" sz="1400" b="1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AP BU</a:t>
            </a:r>
          </a:p>
        </p:txBody>
      </p:sp>
      <p:sp>
        <p:nvSpPr>
          <p:cNvPr id="1221" name="Rectangle 1220"/>
          <p:cNvSpPr/>
          <p:nvPr/>
        </p:nvSpPr>
        <p:spPr>
          <a:xfrm>
            <a:off x="4552177" y="5106039"/>
            <a:ext cx="1979289" cy="23553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608"/>
            <a:r>
              <a:rPr lang="en-IN" sz="1400" b="1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MENA-CIS BU</a:t>
            </a:r>
          </a:p>
        </p:txBody>
      </p:sp>
      <p:sp>
        <p:nvSpPr>
          <p:cNvPr id="1233" name="Oval 1232"/>
          <p:cNvSpPr/>
          <p:nvPr/>
        </p:nvSpPr>
        <p:spPr>
          <a:xfrm rot="51216">
            <a:off x="5687601" y="3299621"/>
            <a:ext cx="613045" cy="1457061"/>
          </a:xfrm>
          <a:prstGeom prst="ellipse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240" name="Straight Arrow Connector 1239"/>
          <p:cNvCxnSpPr>
            <a:cxnSpLocks/>
            <a:stCxn id="1241" idx="2"/>
          </p:cNvCxnSpPr>
          <p:nvPr/>
        </p:nvCxnSpPr>
        <p:spPr>
          <a:xfrm flipH="1">
            <a:off x="6283635" y="3674874"/>
            <a:ext cx="201790" cy="181192"/>
          </a:xfrm>
          <a:prstGeom prst="straightConnector1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41" name="Oval 1240"/>
          <p:cNvSpPr/>
          <p:nvPr/>
        </p:nvSpPr>
        <p:spPr>
          <a:xfrm rot="-4080000">
            <a:off x="6352474" y="3137353"/>
            <a:ext cx="425173" cy="680829"/>
          </a:xfrm>
          <a:prstGeom prst="ellipse">
            <a:avLst/>
          </a:prstGeom>
          <a:noFill/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269" name="Straight Arrow Connector 1268"/>
          <p:cNvCxnSpPr>
            <a:stCxn id="1270" idx="5"/>
            <a:endCxn id="1219" idx="1"/>
          </p:cNvCxnSpPr>
          <p:nvPr/>
        </p:nvCxnSpPr>
        <p:spPr>
          <a:xfrm flipV="1">
            <a:off x="7847305" y="3629792"/>
            <a:ext cx="1399679" cy="63384"/>
          </a:xfrm>
          <a:prstGeom prst="straightConnector1">
            <a:avLst/>
          </a:prstGeom>
          <a:ln w="12700">
            <a:solidFill>
              <a:srgbClr val="0070C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70" name="Oval 1269"/>
          <p:cNvSpPr/>
          <p:nvPr/>
        </p:nvSpPr>
        <p:spPr>
          <a:xfrm rot="-4080000">
            <a:off x="7426388" y="3424735"/>
            <a:ext cx="351190" cy="606480"/>
          </a:xfrm>
          <a:prstGeom prst="ellipse">
            <a:avLst/>
          </a:prstGeom>
          <a:noFill/>
          <a:ln w="127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84" name="Freeform 101"/>
          <p:cNvSpPr>
            <a:spLocks noChangeAspect="1"/>
          </p:cNvSpPr>
          <p:nvPr/>
        </p:nvSpPr>
        <p:spPr bwMode="auto">
          <a:xfrm>
            <a:off x="6259221" y="3383871"/>
            <a:ext cx="28581" cy="89871"/>
          </a:xfrm>
          <a:custGeom>
            <a:avLst/>
            <a:gdLst>
              <a:gd name="T0" fmla="*/ 0 w 18"/>
              <a:gd name="T1" fmla="*/ 63226 h 58"/>
              <a:gd name="T2" fmla="*/ 21343 w 18"/>
              <a:gd name="T3" fmla="*/ 111125 h 58"/>
              <a:gd name="T4" fmla="*/ 21343 w 18"/>
              <a:gd name="T5" fmla="*/ 95797 h 58"/>
              <a:gd name="T6" fmla="*/ 25224 w 18"/>
              <a:gd name="T7" fmla="*/ 72806 h 58"/>
              <a:gd name="T8" fmla="*/ 27164 w 18"/>
              <a:gd name="T9" fmla="*/ 61310 h 58"/>
              <a:gd name="T10" fmla="*/ 21343 w 18"/>
              <a:gd name="T11" fmla="*/ 61310 h 58"/>
              <a:gd name="T12" fmla="*/ 19403 w 18"/>
              <a:gd name="T13" fmla="*/ 55563 h 58"/>
              <a:gd name="T14" fmla="*/ 21343 w 18"/>
              <a:gd name="T15" fmla="*/ 44067 h 58"/>
              <a:gd name="T16" fmla="*/ 19403 w 18"/>
              <a:gd name="T17" fmla="*/ 34487 h 58"/>
              <a:gd name="T18" fmla="*/ 23283 w 18"/>
              <a:gd name="T19" fmla="*/ 26823 h 58"/>
              <a:gd name="T20" fmla="*/ 31044 w 18"/>
              <a:gd name="T21" fmla="*/ 22991 h 58"/>
              <a:gd name="T22" fmla="*/ 32985 w 18"/>
              <a:gd name="T23" fmla="*/ 13412 h 58"/>
              <a:gd name="T24" fmla="*/ 34925 w 18"/>
              <a:gd name="T25" fmla="*/ 0 h 58"/>
              <a:gd name="T26" fmla="*/ 29104 w 18"/>
              <a:gd name="T27" fmla="*/ 1916 h 58"/>
              <a:gd name="T28" fmla="*/ 23283 w 18"/>
              <a:gd name="T29" fmla="*/ 3832 h 58"/>
              <a:gd name="T30" fmla="*/ 19403 w 18"/>
              <a:gd name="T31" fmla="*/ 15328 h 58"/>
              <a:gd name="T32" fmla="*/ 15522 w 18"/>
              <a:gd name="T33" fmla="*/ 28739 h 58"/>
              <a:gd name="T34" fmla="*/ 11642 w 18"/>
              <a:gd name="T35" fmla="*/ 45983 h 58"/>
              <a:gd name="T36" fmla="*/ 7761 w 18"/>
              <a:gd name="T37" fmla="*/ 55563 h 58"/>
              <a:gd name="T38" fmla="*/ 0 w 18"/>
              <a:gd name="T39" fmla="*/ 63226 h 5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8"/>
              <a:gd name="T61" fmla="*/ 0 h 58"/>
              <a:gd name="T62" fmla="*/ 18 w 18"/>
              <a:gd name="T63" fmla="*/ 58 h 5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8" h="58">
                <a:moveTo>
                  <a:pt x="0" y="33"/>
                </a:moveTo>
                <a:lnTo>
                  <a:pt x="11" y="58"/>
                </a:lnTo>
                <a:cubicBezTo>
                  <a:pt x="11" y="56"/>
                  <a:pt x="11" y="53"/>
                  <a:pt x="11" y="50"/>
                </a:cubicBezTo>
                <a:cubicBezTo>
                  <a:pt x="12" y="46"/>
                  <a:pt x="12" y="42"/>
                  <a:pt x="13" y="38"/>
                </a:cubicBezTo>
                <a:cubicBezTo>
                  <a:pt x="13" y="36"/>
                  <a:pt x="14" y="34"/>
                  <a:pt x="14" y="32"/>
                </a:cubicBezTo>
                <a:cubicBezTo>
                  <a:pt x="13" y="32"/>
                  <a:pt x="11" y="33"/>
                  <a:pt x="11" y="32"/>
                </a:cubicBezTo>
                <a:cubicBezTo>
                  <a:pt x="10" y="31"/>
                  <a:pt x="10" y="30"/>
                  <a:pt x="10" y="29"/>
                </a:cubicBezTo>
                <a:cubicBezTo>
                  <a:pt x="10" y="27"/>
                  <a:pt x="11" y="25"/>
                  <a:pt x="11" y="23"/>
                </a:cubicBezTo>
                <a:cubicBezTo>
                  <a:pt x="11" y="21"/>
                  <a:pt x="10" y="19"/>
                  <a:pt x="10" y="18"/>
                </a:cubicBezTo>
                <a:cubicBezTo>
                  <a:pt x="10" y="16"/>
                  <a:pt x="11" y="15"/>
                  <a:pt x="12" y="14"/>
                </a:cubicBezTo>
                <a:cubicBezTo>
                  <a:pt x="13" y="13"/>
                  <a:pt x="14" y="13"/>
                  <a:pt x="16" y="12"/>
                </a:cubicBezTo>
                <a:cubicBezTo>
                  <a:pt x="16" y="10"/>
                  <a:pt x="16" y="8"/>
                  <a:pt x="17" y="7"/>
                </a:cubicBezTo>
                <a:cubicBezTo>
                  <a:pt x="17" y="5"/>
                  <a:pt x="17" y="2"/>
                  <a:pt x="18" y="0"/>
                </a:cubicBezTo>
                <a:cubicBezTo>
                  <a:pt x="17" y="0"/>
                  <a:pt x="16" y="0"/>
                  <a:pt x="15" y="1"/>
                </a:cubicBezTo>
                <a:cubicBezTo>
                  <a:pt x="14" y="1"/>
                  <a:pt x="13" y="2"/>
                  <a:pt x="12" y="2"/>
                </a:cubicBezTo>
                <a:cubicBezTo>
                  <a:pt x="11" y="4"/>
                  <a:pt x="10" y="6"/>
                  <a:pt x="10" y="8"/>
                </a:cubicBezTo>
                <a:cubicBezTo>
                  <a:pt x="9" y="10"/>
                  <a:pt x="8" y="13"/>
                  <a:pt x="8" y="15"/>
                </a:cubicBezTo>
                <a:cubicBezTo>
                  <a:pt x="7" y="18"/>
                  <a:pt x="7" y="21"/>
                  <a:pt x="6" y="24"/>
                </a:cubicBezTo>
                <a:cubicBezTo>
                  <a:pt x="5" y="26"/>
                  <a:pt x="5" y="28"/>
                  <a:pt x="4" y="29"/>
                </a:cubicBezTo>
                <a:cubicBezTo>
                  <a:pt x="3" y="31"/>
                  <a:pt x="1" y="32"/>
                  <a:pt x="0" y="33"/>
                </a:cubicBezTo>
                <a:close/>
              </a:path>
            </a:pathLst>
          </a:custGeom>
          <a:noFill/>
          <a:ln w="3175" cap="rnd">
            <a:solidFill>
              <a:sysClr val="window" lastClr="FFFFFF">
                <a:lumMod val="85000"/>
              </a:sysClr>
            </a:solidFill>
            <a:round/>
            <a:headEnd/>
            <a:tailEnd/>
          </a:ln>
        </p:spPr>
        <p:txBody>
          <a:bodyPr/>
          <a:lstStyle/>
          <a:p>
            <a:pPr defTabSz="914144">
              <a:defRPr/>
            </a:pPr>
            <a:endParaRPr lang="en-US" kern="0">
              <a:solidFill>
                <a:prstClr val="black"/>
              </a:solidFill>
              <a:latin typeface="Gill Sans MT"/>
            </a:endParaRPr>
          </a:p>
        </p:txBody>
      </p:sp>
      <p:cxnSp>
        <p:nvCxnSpPr>
          <p:cNvPr id="1161" name="Straight Arrow Connector 1160"/>
          <p:cNvCxnSpPr>
            <a:endCxn id="1233" idx="0"/>
          </p:cNvCxnSpPr>
          <p:nvPr/>
        </p:nvCxnSpPr>
        <p:spPr>
          <a:xfrm flipH="1">
            <a:off x="6004977" y="2970519"/>
            <a:ext cx="337739" cy="329183"/>
          </a:xfrm>
          <a:prstGeom prst="straightConnector1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26" name="Rectangle 1225"/>
          <p:cNvSpPr/>
          <p:nvPr/>
        </p:nvSpPr>
        <p:spPr>
          <a:xfrm>
            <a:off x="7297254" y="5162843"/>
            <a:ext cx="1629375" cy="20252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608"/>
            <a:r>
              <a:rPr lang="en-IN" sz="1400" b="1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MOZAMBIQUE BU</a:t>
            </a:r>
          </a:p>
        </p:txBody>
      </p:sp>
      <p:cxnSp>
        <p:nvCxnSpPr>
          <p:cNvPr id="1173" name="Straight Arrow Connector 1172"/>
          <p:cNvCxnSpPr/>
          <p:nvPr/>
        </p:nvCxnSpPr>
        <p:spPr>
          <a:xfrm flipH="1">
            <a:off x="5556458" y="4551610"/>
            <a:ext cx="214790" cy="502256"/>
          </a:xfrm>
          <a:prstGeom prst="straightConnector1">
            <a:avLst/>
          </a:prstGeom>
          <a:ln w="12700">
            <a:solidFill>
              <a:schemeClr val="accent2">
                <a:lumMod val="60000"/>
                <a:lumOff val="40000"/>
              </a:schemeClr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30" name="Straight Arrow Connector 1229"/>
          <p:cNvCxnSpPr>
            <a:cxnSpLocks/>
            <a:stCxn id="1183" idx="3"/>
          </p:cNvCxnSpPr>
          <p:nvPr/>
        </p:nvCxnSpPr>
        <p:spPr>
          <a:xfrm flipH="1">
            <a:off x="2802712" y="4804775"/>
            <a:ext cx="1617391" cy="277505"/>
          </a:xfrm>
          <a:prstGeom prst="straightConnector1">
            <a:avLst/>
          </a:prstGeom>
          <a:ln w="9525">
            <a:solidFill>
              <a:srgbClr val="7030A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31" name="Rectangle 1230"/>
          <p:cNvSpPr/>
          <p:nvPr/>
        </p:nvSpPr>
        <p:spPr>
          <a:xfrm>
            <a:off x="1134221" y="4666609"/>
            <a:ext cx="1623436" cy="265093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608"/>
            <a:r>
              <a:rPr lang="en-IN" sz="1400" b="1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LAC BU</a:t>
            </a:r>
          </a:p>
        </p:txBody>
      </p:sp>
      <p:sp>
        <p:nvSpPr>
          <p:cNvPr id="1238" name="Oval 1237"/>
          <p:cNvSpPr/>
          <p:nvPr/>
        </p:nvSpPr>
        <p:spPr>
          <a:xfrm rot="1449391">
            <a:off x="6208135" y="4378578"/>
            <a:ext cx="269161" cy="419864"/>
          </a:xfrm>
          <a:prstGeom prst="ellipse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239" name="Straight Arrow Connector 1238"/>
          <p:cNvCxnSpPr>
            <a:cxnSpLocks/>
            <a:stCxn id="1238" idx="6"/>
            <a:endCxn id="1226" idx="0"/>
          </p:cNvCxnSpPr>
          <p:nvPr/>
        </p:nvCxnSpPr>
        <p:spPr>
          <a:xfrm>
            <a:off x="6465511" y="4643584"/>
            <a:ext cx="1646431" cy="519259"/>
          </a:xfrm>
          <a:prstGeom prst="straightConnector1">
            <a:avLst/>
          </a:prstGeom>
          <a:ln w="12700">
            <a:solidFill>
              <a:schemeClr val="tx2">
                <a:lumMod val="40000"/>
                <a:lumOff val="60000"/>
              </a:schemeClr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46" name="Oval 1245"/>
          <p:cNvSpPr/>
          <p:nvPr/>
        </p:nvSpPr>
        <p:spPr>
          <a:xfrm rot="-4080000">
            <a:off x="6209213" y="2857541"/>
            <a:ext cx="519956" cy="350521"/>
          </a:xfrm>
          <a:prstGeom prst="ellipse">
            <a:avLst/>
          </a:prstGeom>
          <a:noFill/>
          <a:ln w="127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83" name="Oval 1182"/>
          <p:cNvSpPr/>
          <p:nvPr/>
        </p:nvSpPr>
        <p:spPr>
          <a:xfrm rot="21321107">
            <a:off x="4292580" y="3546141"/>
            <a:ext cx="581109" cy="1457061"/>
          </a:xfrm>
          <a:prstGeom prst="ellipse">
            <a:avLst/>
          </a:prstGeom>
          <a:ln w="9525">
            <a:solidFill>
              <a:srgbClr val="7030A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82" name="Rectangle 1181">
            <a:extLst>
              <a:ext uri="{FF2B5EF4-FFF2-40B4-BE49-F238E27FC236}">
                <a16:creationId xmlns:a16="http://schemas.microsoft.com/office/drawing/2014/main" id="{D35106F6-FDF8-4A39-9AB0-F9C692DF3BF1}"/>
              </a:ext>
            </a:extLst>
          </p:cNvPr>
          <p:cNvSpPr/>
          <p:nvPr/>
        </p:nvSpPr>
        <p:spPr>
          <a:xfrm>
            <a:off x="1138210" y="3677096"/>
            <a:ext cx="1623436" cy="265093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85608"/>
            <a:r>
              <a:rPr lang="en-IN" sz="1400" b="1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Colombia BU</a:t>
            </a:r>
          </a:p>
        </p:txBody>
      </p:sp>
      <p:cxnSp>
        <p:nvCxnSpPr>
          <p:cNvPr id="1186" name="Straight Arrow Connector 1185">
            <a:extLst>
              <a:ext uri="{FF2B5EF4-FFF2-40B4-BE49-F238E27FC236}">
                <a16:creationId xmlns:a16="http://schemas.microsoft.com/office/drawing/2014/main" id="{C134A71E-5289-4FCE-8EEE-3C8247C882C6}"/>
              </a:ext>
            </a:extLst>
          </p:cNvPr>
          <p:cNvCxnSpPr>
            <a:cxnSpLocks/>
          </p:cNvCxnSpPr>
          <p:nvPr/>
        </p:nvCxnSpPr>
        <p:spPr>
          <a:xfrm flipH="1" flipV="1">
            <a:off x="2761646" y="4000117"/>
            <a:ext cx="1240806" cy="203149"/>
          </a:xfrm>
          <a:prstGeom prst="straightConnector1">
            <a:avLst/>
          </a:prstGeom>
          <a:ln w="12700">
            <a:solidFill>
              <a:srgbClr val="00B05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88" name="Oval 1187">
            <a:extLst>
              <a:ext uri="{FF2B5EF4-FFF2-40B4-BE49-F238E27FC236}">
                <a16:creationId xmlns:a16="http://schemas.microsoft.com/office/drawing/2014/main" id="{9880199B-0890-468C-9CE5-158FB6B17948}"/>
              </a:ext>
            </a:extLst>
          </p:cNvPr>
          <p:cNvSpPr/>
          <p:nvPr/>
        </p:nvSpPr>
        <p:spPr>
          <a:xfrm rot="-4080000">
            <a:off x="3944223" y="3923415"/>
            <a:ext cx="351190" cy="273165"/>
          </a:xfrm>
          <a:prstGeom prst="ellipse">
            <a:avLst/>
          </a:prstGeom>
          <a:noFill/>
          <a:ln w="127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3" name="Group 3933">
            <a:extLst>
              <a:ext uri="{FF2B5EF4-FFF2-40B4-BE49-F238E27FC236}">
                <a16:creationId xmlns:a16="http://schemas.microsoft.com/office/drawing/2014/main" id="{E33768A0-BCD7-38AE-08FD-C1BB3D03F47E}"/>
              </a:ext>
            </a:extLst>
          </p:cNvPr>
          <p:cNvGraphicFramePr>
            <a:graphicFrameLocks noGrp="1"/>
          </p:cNvGraphicFramePr>
          <p:nvPr/>
        </p:nvGraphicFramePr>
        <p:xfrm>
          <a:off x="1143707" y="4956845"/>
          <a:ext cx="1621618" cy="638479"/>
        </p:xfrm>
        <a:graphic>
          <a:graphicData uri="http://schemas.openxmlformats.org/drawingml/2006/table">
            <a:tbl>
              <a:tblPr/>
              <a:tblGrid>
                <a:gridCol w="936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5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4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30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75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506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Venezuela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85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Brazil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4" name="Group 3933">
            <a:extLst>
              <a:ext uri="{FF2B5EF4-FFF2-40B4-BE49-F238E27FC236}">
                <a16:creationId xmlns:a16="http://schemas.microsoft.com/office/drawing/2014/main" id="{015B3568-CD66-067A-2A13-921614913A9B}"/>
              </a:ext>
            </a:extLst>
          </p:cNvPr>
          <p:cNvGraphicFramePr>
            <a:graphicFrameLocks noGrp="1"/>
          </p:cNvGraphicFramePr>
          <p:nvPr/>
        </p:nvGraphicFramePr>
        <p:xfrm>
          <a:off x="1138211" y="3972530"/>
          <a:ext cx="1626063" cy="287872"/>
        </p:xfrm>
        <a:graphic>
          <a:graphicData uri="http://schemas.openxmlformats.org/drawingml/2006/table">
            <a:tbl>
              <a:tblPr/>
              <a:tblGrid>
                <a:gridCol w="936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75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64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75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75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85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Colombia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3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49" name="Group 3933">
            <a:extLst>
              <a:ext uri="{FF2B5EF4-FFF2-40B4-BE49-F238E27FC236}">
                <a16:creationId xmlns:a16="http://schemas.microsoft.com/office/drawing/2014/main" id="{5F8161D4-B045-A4DC-88AB-28DD789023AB}"/>
              </a:ext>
            </a:extLst>
          </p:cNvPr>
          <p:cNvGraphicFramePr>
            <a:graphicFrameLocks noGrp="1"/>
          </p:cNvGraphicFramePr>
          <p:nvPr/>
        </p:nvGraphicFramePr>
        <p:xfrm>
          <a:off x="4552177" y="5370837"/>
          <a:ext cx="1979289" cy="911476"/>
        </p:xfrm>
        <a:graphic>
          <a:graphicData uri="http://schemas.openxmlformats.org/drawingml/2006/table">
            <a:tbl>
              <a:tblPr/>
              <a:tblGrid>
                <a:gridCol w="979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30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3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177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75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7774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Azerbaijan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472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UAE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10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IN" sz="110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573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South Sudan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2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52" name="TextBox 1151">
            <a:extLst>
              <a:ext uri="{FF2B5EF4-FFF2-40B4-BE49-F238E27FC236}">
                <a16:creationId xmlns:a16="http://schemas.microsoft.com/office/drawing/2014/main" id="{DC164D20-54DB-5F33-7793-304F21D4CBDC}"/>
              </a:ext>
            </a:extLst>
          </p:cNvPr>
          <p:cNvSpPr txBox="1"/>
          <p:nvPr/>
        </p:nvSpPr>
        <p:spPr>
          <a:xfrm>
            <a:off x="6485425" y="6079585"/>
            <a:ext cx="1586541" cy="22521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457200"/>
            <a:r>
              <a:rPr lang="en-US" sz="1100" b="1">
                <a:solidFill>
                  <a:srgbClr val="575757"/>
                </a:solidFill>
                <a:latin typeface="Calibri"/>
              </a:rPr>
              <a:t>D</a:t>
            </a:r>
            <a:r>
              <a:rPr lang="en-US" sz="1050" b="1">
                <a:solidFill>
                  <a:srgbClr val="575757"/>
                </a:solidFill>
                <a:latin typeface="Calibri"/>
              </a:rPr>
              <a:t>ormant Projects: 5 </a:t>
            </a:r>
            <a:endParaRPr lang="en-US" sz="1000" b="1">
              <a:solidFill>
                <a:srgbClr val="575757"/>
              </a:solidFill>
              <a:latin typeface="Calibri"/>
            </a:endParaRPr>
          </a:p>
        </p:txBody>
      </p:sp>
      <p:graphicFrame>
        <p:nvGraphicFramePr>
          <p:cNvPr id="1153" name="Group 3933">
            <a:extLst>
              <a:ext uri="{FF2B5EF4-FFF2-40B4-BE49-F238E27FC236}">
                <a16:creationId xmlns:a16="http://schemas.microsoft.com/office/drawing/2014/main" id="{70A7848E-6E4A-AFB1-A1E7-2D8C33EBF0DC}"/>
              </a:ext>
            </a:extLst>
          </p:cNvPr>
          <p:cNvGraphicFramePr>
            <a:graphicFrameLocks noGrp="1"/>
          </p:cNvGraphicFramePr>
          <p:nvPr/>
        </p:nvGraphicFramePr>
        <p:xfrm>
          <a:off x="7297254" y="5391745"/>
          <a:ext cx="1638003" cy="306518"/>
        </p:xfrm>
        <a:graphic>
          <a:graphicData uri="http://schemas.openxmlformats.org/drawingml/2006/table">
            <a:tbl>
              <a:tblPr/>
              <a:tblGrid>
                <a:gridCol w="943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7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8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8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7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065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Mozambique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54" name="Group 3933">
            <a:extLst>
              <a:ext uri="{FF2B5EF4-FFF2-40B4-BE49-F238E27FC236}">
                <a16:creationId xmlns:a16="http://schemas.microsoft.com/office/drawing/2014/main" id="{E48A7044-8284-FFAC-8954-95A5A73B690A}"/>
              </a:ext>
            </a:extLst>
          </p:cNvPr>
          <p:cNvGraphicFramePr>
            <a:graphicFrameLocks noGrp="1"/>
          </p:cNvGraphicFramePr>
          <p:nvPr/>
        </p:nvGraphicFramePr>
        <p:xfrm>
          <a:off x="9246984" y="3770055"/>
          <a:ext cx="1638003" cy="909336"/>
        </p:xfrm>
        <a:graphic>
          <a:graphicData uri="http://schemas.openxmlformats.org/drawingml/2006/table">
            <a:tbl>
              <a:tblPr/>
              <a:tblGrid>
                <a:gridCol w="8978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56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5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7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81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865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Vietnam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1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65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Myanmar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2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2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2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65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Bangladesh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2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155" name="Group 3933">
            <a:extLst>
              <a:ext uri="{FF2B5EF4-FFF2-40B4-BE49-F238E27FC236}">
                <a16:creationId xmlns:a16="http://schemas.microsoft.com/office/drawing/2014/main" id="{C38DA385-3A83-B27F-7F86-AC10CC096ACB}"/>
              </a:ext>
            </a:extLst>
          </p:cNvPr>
          <p:cNvGraphicFramePr>
            <a:graphicFrameLocks noGrp="1"/>
          </p:cNvGraphicFramePr>
          <p:nvPr/>
        </p:nvGraphicFramePr>
        <p:xfrm>
          <a:off x="8889190" y="2456119"/>
          <a:ext cx="1638003" cy="287872"/>
        </p:xfrm>
        <a:graphic>
          <a:graphicData uri="http://schemas.openxmlformats.org/drawingml/2006/table">
            <a:tbl>
              <a:tblPr/>
              <a:tblGrid>
                <a:gridCol w="943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7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8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87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877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5334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Russia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ebuchet MS" pitchFamily="34" charset="0"/>
                          <a:ea typeface="Arial Unicode MS" pitchFamily="34" charset="-128"/>
                          <a:cs typeface="Arial Unicode MS" pitchFamily="34" charset="-128"/>
                        </a:rPr>
                        <a:t>3</a:t>
                      </a: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kern="1200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kern="1200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663300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1" i="0" u="none" strike="noStrike" kern="1200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rebuchet MS" pitchFamily="34" charset="0"/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60116" marR="60116" marT="60116" marB="60116" horzOverflow="overflow">
                    <a:lnL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333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1166" name="Group 1165">
            <a:extLst>
              <a:ext uri="{FF2B5EF4-FFF2-40B4-BE49-F238E27FC236}">
                <a16:creationId xmlns:a16="http://schemas.microsoft.com/office/drawing/2014/main" id="{4ABA05B4-5C6E-E34F-C680-FB6B02BBADBA}"/>
              </a:ext>
            </a:extLst>
          </p:cNvPr>
          <p:cNvGrpSpPr/>
          <p:nvPr/>
        </p:nvGrpSpPr>
        <p:grpSpPr>
          <a:xfrm>
            <a:off x="3833371" y="3200494"/>
            <a:ext cx="180000" cy="180000"/>
            <a:chOff x="7411967" y="5613119"/>
            <a:chExt cx="494737" cy="488950"/>
          </a:xfrm>
        </p:grpSpPr>
        <p:sp>
          <p:nvSpPr>
            <p:cNvPr id="1167" name="Teardrop 1166">
              <a:extLst>
                <a:ext uri="{FF2B5EF4-FFF2-40B4-BE49-F238E27FC236}">
                  <a16:creationId xmlns:a16="http://schemas.microsoft.com/office/drawing/2014/main" id="{621E2ED2-FD4A-9A26-9E04-A8F2841074C3}"/>
                </a:ext>
              </a:extLst>
            </p:cNvPr>
            <p:cNvSpPr/>
            <p:nvPr/>
          </p:nvSpPr>
          <p:spPr>
            <a:xfrm rot="8039523">
              <a:off x="7414861" y="5610225"/>
              <a:ext cx="488950" cy="494737"/>
            </a:xfrm>
            <a:prstGeom prst="teardrop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1168" name="Flowchart: Connector 1167">
              <a:extLst>
                <a:ext uri="{FF2B5EF4-FFF2-40B4-BE49-F238E27FC236}">
                  <a16:creationId xmlns:a16="http://schemas.microsoft.com/office/drawing/2014/main" id="{B7B185FF-0175-95C1-8B8C-987D88333E6B}"/>
                </a:ext>
              </a:extLst>
            </p:cNvPr>
            <p:cNvSpPr/>
            <p:nvPr/>
          </p:nvSpPr>
          <p:spPr>
            <a:xfrm>
              <a:off x="7551336" y="5742699"/>
              <a:ext cx="216000" cy="216000"/>
            </a:xfrm>
            <a:prstGeom prst="flowChartConnector">
              <a:avLst/>
            </a:prstGeom>
            <a:solidFill>
              <a:srgbClr val="FF0000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58" name="Group 1157">
            <a:extLst>
              <a:ext uri="{FF2B5EF4-FFF2-40B4-BE49-F238E27FC236}">
                <a16:creationId xmlns:a16="http://schemas.microsoft.com/office/drawing/2014/main" id="{08B95176-68D6-BB6D-80AF-21FA59817E80}"/>
              </a:ext>
            </a:extLst>
          </p:cNvPr>
          <p:cNvGrpSpPr/>
          <p:nvPr/>
        </p:nvGrpSpPr>
        <p:grpSpPr>
          <a:xfrm>
            <a:off x="5580361" y="2638386"/>
            <a:ext cx="180000" cy="180000"/>
            <a:chOff x="7411967" y="5613119"/>
            <a:chExt cx="494737" cy="488950"/>
          </a:xfrm>
        </p:grpSpPr>
        <p:sp>
          <p:nvSpPr>
            <p:cNvPr id="1159" name="Teardrop 1158">
              <a:extLst>
                <a:ext uri="{FF2B5EF4-FFF2-40B4-BE49-F238E27FC236}">
                  <a16:creationId xmlns:a16="http://schemas.microsoft.com/office/drawing/2014/main" id="{38F8037F-AB79-30BA-BA07-3EEBCD1DC432}"/>
                </a:ext>
              </a:extLst>
            </p:cNvPr>
            <p:cNvSpPr/>
            <p:nvPr/>
          </p:nvSpPr>
          <p:spPr>
            <a:xfrm rot="8039523">
              <a:off x="7414861" y="5610225"/>
              <a:ext cx="488950" cy="494737"/>
            </a:xfrm>
            <a:prstGeom prst="teardrop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1160" name="Flowchart: Connector 1159">
              <a:extLst>
                <a:ext uri="{FF2B5EF4-FFF2-40B4-BE49-F238E27FC236}">
                  <a16:creationId xmlns:a16="http://schemas.microsoft.com/office/drawing/2014/main" id="{722FF5D1-E55B-A72E-7CBE-1C795F6A3829}"/>
                </a:ext>
              </a:extLst>
            </p:cNvPr>
            <p:cNvSpPr/>
            <p:nvPr/>
          </p:nvSpPr>
          <p:spPr>
            <a:xfrm>
              <a:off x="7551336" y="5742699"/>
              <a:ext cx="216000" cy="216000"/>
            </a:xfrm>
            <a:prstGeom prst="flowChartConnector">
              <a:avLst/>
            </a:prstGeom>
            <a:solidFill>
              <a:srgbClr val="FF0000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65" name="Group 1164">
            <a:extLst>
              <a:ext uri="{FF2B5EF4-FFF2-40B4-BE49-F238E27FC236}">
                <a16:creationId xmlns:a16="http://schemas.microsoft.com/office/drawing/2014/main" id="{C2E2DCDF-DB48-033E-255C-627429117357}"/>
              </a:ext>
            </a:extLst>
          </p:cNvPr>
          <p:cNvGrpSpPr/>
          <p:nvPr/>
        </p:nvGrpSpPr>
        <p:grpSpPr>
          <a:xfrm>
            <a:off x="6928387" y="3377613"/>
            <a:ext cx="180000" cy="180000"/>
            <a:chOff x="7411967" y="5613119"/>
            <a:chExt cx="494737" cy="488950"/>
          </a:xfrm>
        </p:grpSpPr>
        <p:sp>
          <p:nvSpPr>
            <p:cNvPr id="1169" name="Teardrop 1168">
              <a:extLst>
                <a:ext uri="{FF2B5EF4-FFF2-40B4-BE49-F238E27FC236}">
                  <a16:creationId xmlns:a16="http://schemas.microsoft.com/office/drawing/2014/main" id="{7EE7D783-ED7C-408F-0D43-BB1B637796A9}"/>
                </a:ext>
              </a:extLst>
            </p:cNvPr>
            <p:cNvSpPr/>
            <p:nvPr/>
          </p:nvSpPr>
          <p:spPr>
            <a:xfrm rot="8039523">
              <a:off x="7414861" y="5610225"/>
              <a:ext cx="488950" cy="494737"/>
            </a:xfrm>
            <a:prstGeom prst="teardrop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1170" name="Flowchart: Connector 1169">
              <a:extLst>
                <a:ext uri="{FF2B5EF4-FFF2-40B4-BE49-F238E27FC236}">
                  <a16:creationId xmlns:a16="http://schemas.microsoft.com/office/drawing/2014/main" id="{653FA72D-EE60-3FC1-D421-CFE9EA0CC5AD}"/>
                </a:ext>
              </a:extLst>
            </p:cNvPr>
            <p:cNvSpPr/>
            <p:nvPr/>
          </p:nvSpPr>
          <p:spPr>
            <a:xfrm>
              <a:off x="7551336" y="5742699"/>
              <a:ext cx="216000" cy="216000"/>
            </a:xfrm>
            <a:prstGeom prst="flowChartConnector">
              <a:avLst/>
            </a:prstGeom>
            <a:solidFill>
              <a:srgbClr val="FF0000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171" name="Group 1170">
            <a:extLst>
              <a:ext uri="{FF2B5EF4-FFF2-40B4-BE49-F238E27FC236}">
                <a16:creationId xmlns:a16="http://schemas.microsoft.com/office/drawing/2014/main" id="{2B2181B6-24D9-13BE-C407-86154F8D10D8}"/>
              </a:ext>
            </a:extLst>
          </p:cNvPr>
          <p:cNvGrpSpPr/>
          <p:nvPr/>
        </p:nvGrpSpPr>
        <p:grpSpPr>
          <a:xfrm>
            <a:off x="7562425" y="3833906"/>
            <a:ext cx="180000" cy="180000"/>
            <a:chOff x="7411967" y="5613119"/>
            <a:chExt cx="494737" cy="488950"/>
          </a:xfrm>
        </p:grpSpPr>
        <p:sp>
          <p:nvSpPr>
            <p:cNvPr id="1172" name="Teardrop 1171">
              <a:extLst>
                <a:ext uri="{FF2B5EF4-FFF2-40B4-BE49-F238E27FC236}">
                  <a16:creationId xmlns:a16="http://schemas.microsoft.com/office/drawing/2014/main" id="{DE8BFD0E-ADD7-9DDE-92D2-EADEEC810928}"/>
                </a:ext>
              </a:extLst>
            </p:cNvPr>
            <p:cNvSpPr/>
            <p:nvPr/>
          </p:nvSpPr>
          <p:spPr>
            <a:xfrm rot="8039523">
              <a:off x="7414861" y="5610225"/>
              <a:ext cx="488950" cy="494737"/>
            </a:xfrm>
            <a:prstGeom prst="teardrop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1174" name="Flowchart: Connector 1173">
              <a:extLst>
                <a:ext uri="{FF2B5EF4-FFF2-40B4-BE49-F238E27FC236}">
                  <a16:creationId xmlns:a16="http://schemas.microsoft.com/office/drawing/2014/main" id="{AEC9D4DE-8093-8F1B-2F2C-8F1581930C59}"/>
                </a:ext>
              </a:extLst>
            </p:cNvPr>
            <p:cNvSpPr/>
            <p:nvPr/>
          </p:nvSpPr>
          <p:spPr>
            <a:xfrm>
              <a:off x="7551336" y="5742699"/>
              <a:ext cx="216000" cy="216000"/>
            </a:xfrm>
            <a:prstGeom prst="flowChartConnector">
              <a:avLst/>
            </a:prstGeom>
            <a:solidFill>
              <a:srgbClr val="FF0000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175" name="TextBox 1174">
            <a:extLst>
              <a:ext uri="{FF2B5EF4-FFF2-40B4-BE49-F238E27FC236}">
                <a16:creationId xmlns:a16="http://schemas.microsoft.com/office/drawing/2014/main" id="{3C974CDC-3894-1C90-BBE0-FBE146BA8D99}"/>
              </a:ext>
            </a:extLst>
          </p:cNvPr>
          <p:cNvSpPr txBox="1"/>
          <p:nvPr/>
        </p:nvSpPr>
        <p:spPr>
          <a:xfrm>
            <a:off x="1800225" y="6404218"/>
            <a:ext cx="8228677" cy="2685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000" b="0" i="0" u="none" strike="noStrike" kern="1200" cap="none" spc="0" normalizeH="0" baseline="0" noProof="0">
                <a:ln>
                  <a:noFill/>
                </a:ln>
                <a:solidFill>
                  <a:srgbClr val="3333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usiness Presence in 19 Countries across 5 Continents  </a:t>
            </a:r>
          </a:p>
        </p:txBody>
      </p:sp>
      <p:sp>
        <p:nvSpPr>
          <p:cNvPr id="1156" name="Slide Number Placeholder 1">
            <a:extLst>
              <a:ext uri="{FF2B5EF4-FFF2-40B4-BE49-F238E27FC236}">
                <a16:creationId xmlns:a16="http://schemas.microsoft.com/office/drawing/2014/main" id="{F936BBE7-1A67-0C97-5495-C48B49A199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78488" y="6501365"/>
            <a:ext cx="413512" cy="35663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3D9EA4B-A161-4483-89F9-6F4160F155F1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62" name="Group 1161">
            <a:extLst>
              <a:ext uri="{FF2B5EF4-FFF2-40B4-BE49-F238E27FC236}">
                <a16:creationId xmlns:a16="http://schemas.microsoft.com/office/drawing/2014/main" id="{071F5656-D684-D967-0470-91789084FB69}"/>
              </a:ext>
            </a:extLst>
          </p:cNvPr>
          <p:cNvGrpSpPr/>
          <p:nvPr/>
        </p:nvGrpSpPr>
        <p:grpSpPr>
          <a:xfrm>
            <a:off x="9598413" y="5983041"/>
            <a:ext cx="180000" cy="180000"/>
            <a:chOff x="7411967" y="5613119"/>
            <a:chExt cx="494737" cy="488950"/>
          </a:xfrm>
        </p:grpSpPr>
        <p:sp>
          <p:nvSpPr>
            <p:cNvPr id="1163" name="Teardrop 1162">
              <a:extLst>
                <a:ext uri="{FF2B5EF4-FFF2-40B4-BE49-F238E27FC236}">
                  <a16:creationId xmlns:a16="http://schemas.microsoft.com/office/drawing/2014/main" id="{28325075-0FED-FD54-2E76-445AF7EB8184}"/>
                </a:ext>
              </a:extLst>
            </p:cNvPr>
            <p:cNvSpPr/>
            <p:nvPr/>
          </p:nvSpPr>
          <p:spPr>
            <a:xfrm rot="8039523">
              <a:off x="7414861" y="5610225"/>
              <a:ext cx="488950" cy="494737"/>
            </a:xfrm>
            <a:prstGeom prst="teardrop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1164" name="Flowchart: Connector 1163">
              <a:extLst>
                <a:ext uri="{FF2B5EF4-FFF2-40B4-BE49-F238E27FC236}">
                  <a16:creationId xmlns:a16="http://schemas.microsoft.com/office/drawing/2014/main" id="{B88856C4-C53C-EE7E-BF3B-19A0C26B4AFB}"/>
                </a:ext>
              </a:extLst>
            </p:cNvPr>
            <p:cNvSpPr/>
            <p:nvPr/>
          </p:nvSpPr>
          <p:spPr>
            <a:xfrm>
              <a:off x="7551336" y="5742699"/>
              <a:ext cx="216000" cy="216000"/>
            </a:xfrm>
            <a:prstGeom prst="flowChartConnector">
              <a:avLst/>
            </a:prstGeom>
            <a:solidFill>
              <a:srgbClr val="FF0000"/>
            </a:solidFill>
            <a:ln w="9525" cap="rnd">
              <a:noFill/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176" name="TextBox 1175">
            <a:extLst>
              <a:ext uri="{FF2B5EF4-FFF2-40B4-BE49-F238E27FC236}">
                <a16:creationId xmlns:a16="http://schemas.microsoft.com/office/drawing/2014/main" id="{3EEDC58E-257C-A0D9-A288-31F482FC79E0}"/>
              </a:ext>
            </a:extLst>
          </p:cNvPr>
          <p:cNvSpPr txBox="1"/>
          <p:nvPr/>
        </p:nvSpPr>
        <p:spPr>
          <a:xfrm>
            <a:off x="9754492" y="5922797"/>
            <a:ext cx="19234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/>
              <a:t>Business Excellence Centres</a:t>
            </a:r>
          </a:p>
        </p:txBody>
      </p:sp>
    </p:spTree>
    <p:extLst>
      <p:ext uri="{BB962C8B-B14F-4D97-AF65-F5344CB8AC3E}">
        <p14:creationId xmlns:p14="http://schemas.microsoft.com/office/powerpoint/2010/main" val="31904889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223BD76-707F-0E77-CA88-724DD6A49323}"/>
              </a:ext>
            </a:extLst>
          </p:cNvPr>
          <p:cNvGrpSpPr/>
          <p:nvPr/>
        </p:nvGrpSpPr>
        <p:grpSpPr>
          <a:xfrm>
            <a:off x="2400300" y="1219200"/>
            <a:ext cx="7096125" cy="4401424"/>
            <a:chOff x="2734444" y="1219200"/>
            <a:chExt cx="6104756" cy="2838450"/>
          </a:xfrm>
        </p:grpSpPr>
        <p:sp>
          <p:nvSpPr>
            <p:cNvPr id="5" name="Rounded Rectangle 4"/>
            <p:cNvSpPr/>
            <p:nvPr/>
          </p:nvSpPr>
          <p:spPr>
            <a:xfrm>
              <a:off x="3574157" y="1219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oduction of ONGC Videsh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574157" y="16764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Footprints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3574157" y="2133600"/>
              <a:ext cx="5257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erves and Production 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574157" y="2619375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 Partners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3574157" y="312420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endParaRPr lang="en-US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perience @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3581400" y="3676650"/>
              <a:ext cx="5257800" cy="381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ing attractiveness of GIFT IFSC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2734444" y="1219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734444" y="16764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2734444" y="2133600"/>
              <a:ext cx="685800" cy="3810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srgbClr val="FFFF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IN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734444" y="25908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2734444" y="31242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2734444" y="3657600"/>
              <a:ext cx="685800" cy="381000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1420" tIns="45711" rIns="91420" bIns="45711" rtlCol="0" anchor="ctr"/>
            <a:lstStyle/>
            <a:p>
              <a:pPr algn="ctr"/>
              <a:r>
                <a:rPr lang="en-US" sz="2400" b="1" dirty="0">
                  <a:solidFill>
                    <a:prstClr val="white">
                      <a:lumMod val="65000"/>
                    </a:prst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IN" sz="2400" b="1" dirty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457200"/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8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4CBE5B8-1820-0FAA-F356-18BA92E116D2}"/>
              </a:ext>
            </a:extLst>
          </p:cNvPr>
          <p:cNvSpPr txBox="1">
            <a:spLocks/>
          </p:cNvSpPr>
          <p:nvPr/>
        </p:nvSpPr>
        <p:spPr>
          <a:xfrm>
            <a:off x="601107" y="63279"/>
            <a:ext cx="9144000" cy="53340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algn="ctr" defTabSz="914400">
              <a:spcBef>
                <a:spcPct val="0"/>
              </a:spcBef>
              <a:buNone/>
              <a:defRPr sz="4400">
                <a:solidFill>
                  <a:srgbClr val="0070C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b="1" dirty="0">
                <a:solidFill>
                  <a:schemeClr val="tx1"/>
                </a:solidFill>
                <a:latin typeface="Calibri"/>
                <a:ea typeface="+mn-ea"/>
                <a:cs typeface="Calibri"/>
              </a:rPr>
              <a:t>Presentation Overview</a:t>
            </a:r>
            <a:endParaRPr lang="en-IN" sz="3200" b="1" dirty="0">
              <a:solidFill>
                <a:schemeClr val="tx1"/>
              </a:solidFill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750122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F15528-21DE-4FAA-801E-634DDDAF4B2B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44664" y="-17253"/>
            <a:ext cx="92591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3200" b="1">
                <a:latin typeface="Calibri"/>
                <a:cs typeface="Calibri"/>
              </a:defRPr>
            </a:lvl1pPr>
          </a:lstStyle>
          <a:p>
            <a:r>
              <a:rPr lang="en-IN" sz="2400"/>
              <a:t>2P Reserves Spread </a:t>
            </a:r>
          </a:p>
          <a:p>
            <a:r>
              <a:rPr lang="en-IN" sz="1800"/>
              <a:t>476.329 </a:t>
            </a:r>
            <a:r>
              <a:rPr lang="en-IN" sz="1800" err="1"/>
              <a:t>MMToE</a:t>
            </a:r>
            <a:r>
              <a:rPr lang="en-IN" sz="1800"/>
              <a:t> as on 01.04.2024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7837313-1878-A073-81A2-D6E7642BC8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0305017"/>
              </p:ext>
            </p:extLst>
          </p:nvPr>
        </p:nvGraphicFramePr>
        <p:xfrm>
          <a:off x="130113" y="888023"/>
          <a:ext cx="6033295" cy="5613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944DFC4-F44A-198A-836A-12E2B28F41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7568529"/>
              </p:ext>
            </p:extLst>
          </p:nvPr>
        </p:nvGraphicFramePr>
        <p:xfrm>
          <a:off x="6355068" y="921174"/>
          <a:ext cx="5706820" cy="5580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81504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XqfUCCEai69khiask4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FAaZv6yZ0Mp9CmIbDe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Oceg8SRvncmmJX1V_D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XTVYd1Z1VIBkEUFFNe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SExaAA5Oy.MUFH6vpp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2Zc3B8xxzz_ZQus3BMW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Fp4tdKXMpB3gwkWUw9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rtXx1dOsBbV1PmYNew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H1CKx2._qgvlwj.xka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iZDhJOtohvZn.1kcKA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Rx2g8WMSHP9kOadtG7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WvmtRniXWh1iLZQqZu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h8d3WbhBj8SH3nLxs.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cf2hQccnOkLnb_..y0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IEaAVj3ekD3Ictq3dy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9Dw.tTGeqYklcWxyg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hkvxi1U78MX6ZPY1Lg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qdkvJhbsxHLfycnYh4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ElaYY3e_KcTOY0HeZN0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LKnRekLh.1Q9GbCsY8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47PPnDaVEAoWwiwkR9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f.xhy4hvGet16qHYZn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B7tabgP8C8hiRiicHk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pWoKlsPIVbiVZSxcc4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Qck3ZWhB83xsX7jj782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foXHzjpTsvitqr.mN0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_YpXypsegQKB_blOAO3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pQmtM6opKy9iCHr7zg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f61rfJGARxiEd3FxfD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sGqv9QA4KBvnD7o0DD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DNSFsYxRRApHvCkxbZ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gjUbAf_SIlSXd2_Kka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P8qpWFSkLasO7Wq3m7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PyhcMNevt4Ah0CMQ12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uT9TIxT1WrKybvZk2b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4THwpxq6E3K0hutQac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94m0VcA55AYfBbSuyu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u4kihbEJwm5uK_ssqN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md.1ayi1M__lltdw_Su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2007 - 2010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Theme">
    <a:dk1>
      <a:srgbClr val="000000"/>
    </a:dk1>
    <a:lt1>
      <a:srgbClr val="FFFFFF"/>
    </a:lt1>
    <a:dk2>
      <a:srgbClr val="A7A7A7"/>
    </a:dk2>
    <a:lt2>
      <a:srgbClr val="535353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FF00FF"/>
    </a:folHlink>
  </a:clrScheme>
  <a:fontScheme name="Office Theme">
    <a:majorFont>
      <a:latin typeface="Helvetica Neue"/>
      <a:ea typeface="Helvetica Neue"/>
      <a:cs typeface="Helvetica Neue"/>
    </a:majorFont>
    <a:minorFont>
      <a:latin typeface="Helvetica Neue"/>
      <a:ea typeface="Helvetica Neue"/>
      <a:cs typeface="Helvetica Neue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29999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4999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381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381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38100" dist="20000" dir="5400000" rotWithShape="0">
            <a:srgbClr val="000000">
              <a:alpha val="38000"/>
            </a:srgbClr>
          </a:outerShdw>
        </a:effectLst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7acd1a2-78cf-44e8-9fc0-15e3ca364bf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1A9E5E8FF19342BF178D19786004D7" ma:contentTypeVersion="12" ma:contentTypeDescription="Create a new document." ma:contentTypeScope="" ma:versionID="67e58b9e9f4204914646f45972ffccd7">
  <xsd:schema xmlns:xsd="http://www.w3.org/2001/XMLSchema" xmlns:xs="http://www.w3.org/2001/XMLSchema" xmlns:p="http://schemas.microsoft.com/office/2006/metadata/properties" xmlns:ns3="57acd1a2-78cf-44e8-9fc0-15e3ca364bf6" targetNamespace="http://schemas.microsoft.com/office/2006/metadata/properties" ma:root="true" ma:fieldsID="d48c726a8281f832055b5d7dc97f2571" ns3:_="">
    <xsd:import namespace="57acd1a2-78cf-44e8-9fc0-15e3ca364b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SearchProperties" minOccurs="0"/>
                <xsd:element ref="ns3:MediaServiceObjectDetectorVersions" minOccurs="0"/>
                <xsd:element ref="ns3:_activity" minOccurs="0"/>
                <xsd:element ref="ns3:MediaServiceDateTaken" minOccurs="0"/>
                <xsd:element ref="ns3:MediaServiceSystemTags" minOccurs="0"/>
                <xsd:element ref="ns3:MediaServiceGenerationTime" minOccurs="0"/>
                <xsd:element ref="ns3:MediaServiceEventHashCode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acd1a2-78cf-44e8-9fc0-15e3ca364b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ystemTags" ma:index="16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1359C98-A613-470C-A622-35FCB2A7B140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57acd1a2-78cf-44e8-9fc0-15e3ca364bf6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D3290A0-9BCB-4DC9-83C8-B34BDC0375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0D612D5-37C3-4377-9683-F0FD473A52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7acd1a2-78cf-44e8-9fc0-15e3ca364b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7</TotalTime>
  <Words>911</Words>
  <Application>Microsoft Office PowerPoint</Application>
  <PresentationFormat>Widescreen</PresentationFormat>
  <Paragraphs>325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Aptos</vt:lpstr>
      <vt:lpstr>Arial</vt:lpstr>
      <vt:lpstr>Arial Black</vt:lpstr>
      <vt:lpstr>Calibri</vt:lpstr>
      <vt:lpstr>Candara</vt:lpstr>
      <vt:lpstr>Gill Sans MT</vt:lpstr>
      <vt:lpstr>Helvetica Neue</vt:lpstr>
      <vt:lpstr>Trebuchet MS</vt:lpstr>
      <vt:lpstr>Webdings</vt:lpstr>
      <vt:lpstr>Wingdings</vt:lpstr>
      <vt:lpstr>Wingdings 3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lobal Footprints</vt:lpstr>
      <vt:lpstr>PowerPoint Presentation</vt:lpstr>
      <vt:lpstr>PowerPoint Presentation</vt:lpstr>
      <vt:lpstr>Production vis-à-vis National Production</vt:lpstr>
      <vt:lpstr>PowerPoint Presentation</vt:lpstr>
      <vt:lpstr>PowerPoint Presentation</vt:lpstr>
      <vt:lpstr>Global Partne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char Ravi Kumar  (गरचर,रविकुमार)</dc:creator>
  <cp:lastModifiedBy>Kaveesh  Syal (कवीश स्याल)</cp:lastModifiedBy>
  <cp:revision>16</cp:revision>
  <dcterms:created xsi:type="dcterms:W3CDTF">2023-08-31T07:34:59Z</dcterms:created>
  <dcterms:modified xsi:type="dcterms:W3CDTF">2025-01-30T14:0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1A9E5E8FF19342BF178D19786004D7</vt:lpwstr>
  </property>
</Properties>
</file>